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gif" ContentType="image/gi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heme/theme2.xml" ContentType="application/vnd.openxmlformats-officedocument.theme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heme/theme3.xml" ContentType="application/vnd.openxmlformats-officedocument.theme+xml"/>
  <Override PartName="/ppt/slideLayouts/slideLayout6.xml" ContentType="application/vnd.openxmlformats-officedocument.presentationml.slideLayout+xml"/>
  <Override PartName="/ppt/theme/theme4.xml" ContentType="application/vnd.openxmlformats-officedocument.theme+xml"/>
  <Override PartName="/ppt/slideLayouts/slideLayout7.xml" ContentType="application/vnd.openxmlformats-officedocument.presentationml.slideLayout+xml"/>
  <Override PartName="/ppt/theme/theme5.xml" ContentType="application/vnd.openxmlformats-officedocument.theme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6.xml" ContentType="application/vnd.openxmlformats-officedocument.theme+xml"/>
  <Override PartName="/ppt/slideLayouts/slideLayout10.xml" ContentType="application/vnd.openxmlformats-officedocument.presentationml.slideLayout+xml"/>
  <Override PartName="/ppt/theme/theme7.xml" ContentType="application/vnd.openxmlformats-officedocument.theme+xml"/>
  <Override PartName="/ppt/slideLayouts/slideLayout11.xml" ContentType="application/vnd.openxmlformats-officedocument.presentationml.slideLayout+xml"/>
  <Override PartName="/ppt/theme/theme8.xml" ContentType="application/vnd.openxmlformats-officedocument.theme+xml"/>
  <Override PartName="/ppt/theme/theme9.xml" ContentType="application/vnd.openxmlformats-officedocument.theme+xml"/>
  <Override PartName="/ppt/theme/theme10.xml" ContentType="application/vnd.openxmlformats-officedocument.theme+xml"/>
  <Override PartName="/ppt/theme/themeOverride1.xml" ContentType="application/vnd.openxmlformats-officedocument.themeOverrid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media/image94.jpg" ContentType="image/png"/>
  <Override PartName="/ppt/media/image98.jpg" ContentType="image/png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1" r:id="rId1"/>
    <p:sldMasterId id="2147483669" r:id="rId2"/>
    <p:sldMasterId id="2147483715" r:id="rId3"/>
    <p:sldMasterId id="2147483718" r:id="rId4"/>
    <p:sldMasterId id="2147483729" r:id="rId5"/>
    <p:sldMasterId id="2147483731" r:id="rId6"/>
    <p:sldMasterId id="2147483740" r:id="rId7"/>
    <p:sldMasterId id="2147483755" r:id="rId8"/>
  </p:sldMasterIdLst>
  <p:notesMasterIdLst>
    <p:notesMasterId r:id="rId39"/>
  </p:notesMasterIdLst>
  <p:handoutMasterIdLst>
    <p:handoutMasterId r:id="rId40"/>
  </p:handoutMasterIdLst>
  <p:sldIdLst>
    <p:sldId id="313" r:id="rId9"/>
    <p:sldId id="263" r:id="rId10"/>
    <p:sldId id="264" r:id="rId11"/>
    <p:sldId id="394" r:id="rId12"/>
    <p:sldId id="322" r:id="rId13"/>
    <p:sldId id="401" r:id="rId14"/>
    <p:sldId id="367" r:id="rId15"/>
    <p:sldId id="398" r:id="rId16"/>
    <p:sldId id="374" r:id="rId17"/>
    <p:sldId id="287" r:id="rId18"/>
    <p:sldId id="348" r:id="rId19"/>
    <p:sldId id="349" r:id="rId20"/>
    <p:sldId id="368" r:id="rId21"/>
    <p:sldId id="288" r:id="rId22"/>
    <p:sldId id="308" r:id="rId23"/>
    <p:sldId id="396" r:id="rId24"/>
    <p:sldId id="312" r:id="rId25"/>
    <p:sldId id="397" r:id="rId26"/>
    <p:sldId id="350" r:id="rId27"/>
    <p:sldId id="317" r:id="rId28"/>
    <p:sldId id="360" r:id="rId29"/>
    <p:sldId id="380" r:id="rId30"/>
    <p:sldId id="381" r:id="rId31"/>
    <p:sldId id="318" r:id="rId32"/>
    <p:sldId id="362" r:id="rId33"/>
    <p:sldId id="385" r:id="rId34"/>
    <p:sldId id="399" r:id="rId35"/>
    <p:sldId id="400" r:id="rId36"/>
    <p:sldId id="382" r:id="rId37"/>
    <p:sldId id="361" r:id="rId38"/>
  </p:sldIdLst>
  <p:sldSz cx="9144000" cy="6858000" type="screen4x3"/>
  <p:notesSz cx="7099300" cy="10234613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33" userDrawn="1">
          <p15:clr>
            <a:srgbClr val="A4A3A4"/>
          </p15:clr>
        </p15:guide>
        <p15:guide id="2" pos="2163" userDrawn="1">
          <p15:clr>
            <a:srgbClr val="A4A3A4"/>
          </p15:clr>
        </p15:guide>
        <p15:guide id="3" orient="horz" pos="3224" userDrawn="1">
          <p15:clr>
            <a:srgbClr val="A4A3A4"/>
          </p15:clr>
        </p15:guide>
        <p15:guide id="4" pos="2239" userDrawn="1">
          <p15:clr>
            <a:srgbClr val="A4A3A4"/>
          </p15:clr>
        </p15:guide>
        <p15:guide id="5" pos="2162" userDrawn="1">
          <p15:clr>
            <a:srgbClr val="A4A3A4"/>
          </p15:clr>
        </p15:guide>
        <p15:guide id="6" pos="2238" userDrawn="1">
          <p15:clr>
            <a:srgbClr val="A4A3A4"/>
          </p15:clr>
        </p15:guide>
        <p15:guide id="7" pos="2161" userDrawn="1">
          <p15:clr>
            <a:srgbClr val="A4A3A4"/>
          </p15:clr>
        </p15:guide>
        <p15:guide id="8" pos="2237" userDrawn="1">
          <p15:clr>
            <a:srgbClr val="A4A3A4"/>
          </p15:clr>
        </p15:guide>
        <p15:guide id="9" pos="2160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RENAUDIN" initials="RR" lastIdx="2" clrIdx="0"/>
  <p:cmAuthor id="1" name="Actuate Plus" initials="AP [3]" lastIdx="1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97CC"/>
    <a:srgbClr val="21C5FF"/>
    <a:srgbClr val="3174C5"/>
    <a:srgbClr val="81DEFF"/>
    <a:srgbClr val="9FE6FF"/>
    <a:srgbClr val="009ED6"/>
    <a:srgbClr val="003EEE"/>
    <a:srgbClr val="213A8B"/>
    <a:srgbClr val="18286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588" autoAdjust="0"/>
    <p:restoredTop sz="90844" autoAdjust="0"/>
  </p:normalViewPr>
  <p:slideViewPr>
    <p:cSldViewPr>
      <p:cViewPr varScale="1">
        <p:scale>
          <a:sx n="64" d="100"/>
          <a:sy n="64" d="100"/>
        </p:scale>
        <p:origin x="1482" y="66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4440"/>
    </p:cViewPr>
  </p:sorterViewPr>
  <p:notesViewPr>
    <p:cSldViewPr>
      <p:cViewPr varScale="1">
        <p:scale>
          <a:sx n="57" d="100"/>
          <a:sy n="57" d="100"/>
        </p:scale>
        <p:origin x="-2778" y="-90"/>
      </p:cViewPr>
      <p:guideLst>
        <p:guide orient="horz" pos="3133"/>
        <p:guide pos="2163"/>
        <p:guide orient="horz" pos="3224"/>
        <p:guide pos="2239"/>
        <p:guide pos="2162"/>
        <p:guide pos="2238"/>
        <p:guide pos="2161"/>
        <p:guide pos="2237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26" Type="http://schemas.openxmlformats.org/officeDocument/2006/relationships/slide" Target="slides/slide18.xml"/><Relationship Id="rId39" Type="http://schemas.openxmlformats.org/officeDocument/2006/relationships/notesMaster" Target="notesMasters/notesMaster1.xml"/><Relationship Id="rId21" Type="http://schemas.openxmlformats.org/officeDocument/2006/relationships/slide" Target="slides/slide13.xml"/><Relationship Id="rId34" Type="http://schemas.openxmlformats.org/officeDocument/2006/relationships/slide" Target="slides/slide26.xml"/><Relationship Id="rId42" Type="http://schemas.openxmlformats.org/officeDocument/2006/relationships/presProps" Target="presProps.xml"/><Relationship Id="rId7" Type="http://schemas.openxmlformats.org/officeDocument/2006/relationships/slideMaster" Target="slideMasters/slideMaster7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8.xml"/><Relationship Id="rId29" Type="http://schemas.openxmlformats.org/officeDocument/2006/relationships/slide" Target="slides/slide2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3.xml"/><Relationship Id="rId24" Type="http://schemas.openxmlformats.org/officeDocument/2006/relationships/slide" Target="slides/slide16.xml"/><Relationship Id="rId32" Type="http://schemas.openxmlformats.org/officeDocument/2006/relationships/slide" Target="slides/slide24.xml"/><Relationship Id="rId37" Type="http://schemas.openxmlformats.org/officeDocument/2006/relationships/slide" Target="slides/slide29.xml"/><Relationship Id="rId40" Type="http://schemas.openxmlformats.org/officeDocument/2006/relationships/handoutMaster" Target="handoutMasters/handoutMaster1.xml"/><Relationship Id="rId45" Type="http://schemas.openxmlformats.org/officeDocument/2006/relationships/tableStyles" Target="tableStyle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7.xml"/><Relationship Id="rId23" Type="http://schemas.openxmlformats.org/officeDocument/2006/relationships/slide" Target="slides/slide15.xml"/><Relationship Id="rId28" Type="http://schemas.openxmlformats.org/officeDocument/2006/relationships/slide" Target="slides/slide20.xml"/><Relationship Id="rId36" Type="http://schemas.openxmlformats.org/officeDocument/2006/relationships/slide" Target="slides/slide28.xml"/><Relationship Id="rId10" Type="http://schemas.openxmlformats.org/officeDocument/2006/relationships/slide" Target="slides/slide2.xml"/><Relationship Id="rId19" Type="http://schemas.openxmlformats.org/officeDocument/2006/relationships/slide" Target="slides/slide11.xml"/><Relationship Id="rId31" Type="http://schemas.openxmlformats.org/officeDocument/2006/relationships/slide" Target="slides/slide23.xml"/><Relationship Id="rId44" Type="http://schemas.openxmlformats.org/officeDocument/2006/relationships/theme" Target="theme/theme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slide" Target="slides/slide14.xml"/><Relationship Id="rId27" Type="http://schemas.openxmlformats.org/officeDocument/2006/relationships/slide" Target="slides/slide19.xml"/><Relationship Id="rId30" Type="http://schemas.openxmlformats.org/officeDocument/2006/relationships/slide" Target="slides/slide22.xml"/><Relationship Id="rId35" Type="http://schemas.openxmlformats.org/officeDocument/2006/relationships/slide" Target="slides/slide27.xml"/><Relationship Id="rId43" Type="http://schemas.openxmlformats.org/officeDocument/2006/relationships/viewProps" Target="viewProps.xml"/><Relationship Id="rId8" Type="http://schemas.openxmlformats.org/officeDocument/2006/relationships/slideMaster" Target="slideMasters/slideMaster8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slide" Target="slides/slide17.xml"/><Relationship Id="rId33" Type="http://schemas.openxmlformats.org/officeDocument/2006/relationships/slide" Target="slides/slide25.xml"/><Relationship Id="rId38" Type="http://schemas.openxmlformats.org/officeDocument/2006/relationships/slide" Target="slides/slide30.xml"/><Relationship Id="rId20" Type="http://schemas.openxmlformats.org/officeDocument/2006/relationships/slide" Target="slides/slide12.xml"/><Relationship Id="rId41" Type="http://schemas.openxmlformats.org/officeDocument/2006/relationships/commentAuthors" Target="commentAuthor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FB25BE3D-A5B5-4E6D-A03B-03ABC9684561}" type="doc">
      <dgm:prSet loTypeId="urn:microsoft.com/office/officeart/2005/8/layout/chevron2" loCatId="list" qsTypeId="urn:microsoft.com/office/officeart/2005/8/quickstyle/3d1" qsCatId="3D" csTypeId="urn:microsoft.com/office/officeart/2005/8/colors/accent1_2" csCatId="accent1" phldr="1"/>
      <dgm:spPr/>
      <dgm:t>
        <a:bodyPr/>
        <a:lstStyle/>
        <a:p>
          <a:endParaRPr lang="fr-FR"/>
        </a:p>
      </dgm:t>
    </dgm:pt>
    <dgm:pt modelId="{68EDE5EC-9612-4C65-8798-BB2832EB50EA}">
      <dgm:prSet phldrT="[Texte]"/>
      <dgm:spPr/>
      <dgm:t>
        <a:bodyPr/>
        <a:lstStyle/>
        <a:p>
          <a:r>
            <a:rPr lang="fr-FR" dirty="0"/>
            <a:t>Basic </a:t>
          </a:r>
          <a:r>
            <a:rPr lang="en-GB" noProof="0" dirty="0" smtClean="0"/>
            <a:t>Principles</a:t>
          </a:r>
          <a:endParaRPr lang="en-GB" noProof="0" dirty="0"/>
        </a:p>
      </dgm:t>
    </dgm:pt>
    <dgm:pt modelId="{6E1D1461-A3C4-4EB7-B616-C891344B6885}" type="parTrans" cxnId="{D576F341-2751-4F88-9CC8-3E8007CFDEBB}">
      <dgm:prSet/>
      <dgm:spPr/>
      <dgm:t>
        <a:bodyPr/>
        <a:lstStyle/>
        <a:p>
          <a:endParaRPr lang="fr-FR"/>
        </a:p>
      </dgm:t>
    </dgm:pt>
    <dgm:pt modelId="{FE3C218F-A019-4191-9A64-C9B7FD7FF67D}" type="sibTrans" cxnId="{D576F341-2751-4F88-9CC8-3E8007CFDEBB}">
      <dgm:prSet/>
      <dgm:spPr/>
      <dgm:t>
        <a:bodyPr/>
        <a:lstStyle/>
        <a:p>
          <a:endParaRPr lang="fr-FR"/>
        </a:p>
      </dgm:t>
    </dgm:pt>
    <dgm:pt modelId="{16F29EEB-30A9-48BF-B255-7A0EF2452FF2}">
      <dgm:prSet phldrT="[Texte]"/>
      <dgm:spPr>
        <a:gradFill rotWithShape="0">
          <a:gsLst>
            <a:gs pos="0">
              <a:schemeClr val="bg1">
                <a:lumMod val="85000"/>
              </a:schemeClr>
            </a:gs>
            <a:gs pos="39999">
              <a:srgbClr val="85C2FF"/>
            </a:gs>
            <a:gs pos="70000">
              <a:srgbClr val="C4D6EB"/>
            </a:gs>
            <a:gs pos="100000">
              <a:srgbClr val="FFEBFA"/>
            </a:gs>
          </a:gsLst>
        </a:gradFill>
      </dgm:spPr>
      <dgm:t>
        <a:bodyPr/>
        <a:lstStyle/>
        <a:p>
          <a:r>
            <a:rPr lang="fr-FR" dirty="0"/>
            <a:t>TRL 2</a:t>
          </a:r>
        </a:p>
      </dgm:t>
    </dgm:pt>
    <dgm:pt modelId="{0EAA8282-33FD-4653-BBF3-D28C0B90C9E0}" type="parTrans" cxnId="{82F6CD47-E63F-450F-9708-B279394823C1}">
      <dgm:prSet/>
      <dgm:spPr/>
      <dgm:t>
        <a:bodyPr/>
        <a:lstStyle/>
        <a:p>
          <a:endParaRPr lang="fr-FR"/>
        </a:p>
      </dgm:t>
    </dgm:pt>
    <dgm:pt modelId="{8FAEDE2F-46DB-4F9B-93CA-698B2F302DD1}" type="sibTrans" cxnId="{82F6CD47-E63F-450F-9708-B279394823C1}">
      <dgm:prSet/>
      <dgm:spPr/>
      <dgm:t>
        <a:bodyPr/>
        <a:lstStyle/>
        <a:p>
          <a:endParaRPr lang="fr-FR"/>
        </a:p>
      </dgm:t>
    </dgm:pt>
    <dgm:pt modelId="{5882222A-F678-4598-BDD3-35AAA28ABA69}">
      <dgm:prSet phldrT="[Texte]"/>
      <dgm:spPr/>
      <dgm:t>
        <a:bodyPr/>
        <a:lstStyle/>
        <a:p>
          <a:r>
            <a:rPr lang="en-GB" noProof="0" dirty="0" smtClean="0"/>
            <a:t>Technology Concept</a:t>
          </a:r>
          <a:endParaRPr lang="en-GB" noProof="0" dirty="0"/>
        </a:p>
      </dgm:t>
    </dgm:pt>
    <dgm:pt modelId="{34FB7E25-35AD-43B6-8803-B1888A6DE1CB}" type="parTrans" cxnId="{E1FD9027-5926-4964-9DED-A179BC81011A}">
      <dgm:prSet/>
      <dgm:spPr/>
      <dgm:t>
        <a:bodyPr/>
        <a:lstStyle/>
        <a:p>
          <a:endParaRPr lang="fr-FR"/>
        </a:p>
      </dgm:t>
    </dgm:pt>
    <dgm:pt modelId="{12E2958D-B075-4232-A200-02FDF476CA96}" type="sibTrans" cxnId="{E1FD9027-5926-4964-9DED-A179BC81011A}">
      <dgm:prSet/>
      <dgm:spPr/>
      <dgm:t>
        <a:bodyPr/>
        <a:lstStyle/>
        <a:p>
          <a:endParaRPr lang="fr-FR"/>
        </a:p>
      </dgm:t>
    </dgm:pt>
    <dgm:pt modelId="{5BAA728B-4B46-4A17-B1AB-DE2D44A9D86F}">
      <dgm:prSet phldrT="[Texte]"/>
      <dgm:spPr/>
      <dgm:t>
        <a:bodyPr/>
        <a:lstStyle/>
        <a:p>
          <a:r>
            <a:rPr lang="fr-FR" dirty="0"/>
            <a:t> Proof of Concept</a:t>
          </a:r>
        </a:p>
      </dgm:t>
    </dgm:pt>
    <dgm:pt modelId="{82A73F3E-7688-4BAD-923B-4B91D619B957}" type="parTrans" cxnId="{8DCC00A6-B8B6-4861-88EB-E1AA570E1D16}">
      <dgm:prSet/>
      <dgm:spPr/>
      <dgm:t>
        <a:bodyPr/>
        <a:lstStyle/>
        <a:p>
          <a:endParaRPr lang="fr-FR"/>
        </a:p>
      </dgm:t>
    </dgm:pt>
    <dgm:pt modelId="{489C85C5-7B7D-4B52-AF11-9AFFF965A398}" type="sibTrans" cxnId="{8DCC00A6-B8B6-4861-88EB-E1AA570E1D16}">
      <dgm:prSet/>
      <dgm:spPr/>
      <dgm:t>
        <a:bodyPr/>
        <a:lstStyle/>
        <a:p>
          <a:endParaRPr lang="fr-FR"/>
        </a:p>
      </dgm:t>
    </dgm:pt>
    <dgm:pt modelId="{68BE4145-EFF4-49E6-BBC2-638C04B6905E}">
      <dgm:prSet phldrT="[Texte]"/>
      <dgm:spPr>
        <a:gradFill rotWithShape="0">
          <a:gsLst>
            <a:gs pos="0">
              <a:schemeClr val="bg1">
                <a:lumMod val="85000"/>
              </a:schemeClr>
            </a:gs>
            <a:gs pos="39999">
              <a:srgbClr val="85C2FF"/>
            </a:gs>
            <a:gs pos="70000">
              <a:srgbClr val="C4D6EB"/>
            </a:gs>
            <a:gs pos="100000">
              <a:srgbClr val="FFEBFA"/>
            </a:gs>
          </a:gsLst>
          <a:lin ang="16200000" scaled="0"/>
        </a:gradFill>
      </dgm:spPr>
      <dgm:t>
        <a:bodyPr/>
        <a:lstStyle/>
        <a:p>
          <a:r>
            <a:rPr lang="fr-FR" dirty="0"/>
            <a:t>TRL 1</a:t>
          </a:r>
        </a:p>
      </dgm:t>
    </dgm:pt>
    <dgm:pt modelId="{05A71051-4F9D-4812-A077-E3A33342DDCF}" type="sibTrans" cxnId="{E44DB6DB-8BE8-4896-8298-66487604939C}">
      <dgm:prSet/>
      <dgm:spPr/>
      <dgm:t>
        <a:bodyPr/>
        <a:lstStyle/>
        <a:p>
          <a:endParaRPr lang="fr-FR"/>
        </a:p>
      </dgm:t>
    </dgm:pt>
    <dgm:pt modelId="{7EC1A2D8-98AA-4117-BEEE-D2214FE0E40C}" type="parTrans" cxnId="{E44DB6DB-8BE8-4896-8298-66487604939C}">
      <dgm:prSet/>
      <dgm:spPr/>
      <dgm:t>
        <a:bodyPr/>
        <a:lstStyle/>
        <a:p>
          <a:endParaRPr lang="fr-FR"/>
        </a:p>
      </dgm:t>
    </dgm:pt>
    <dgm:pt modelId="{4531C6DF-BC22-47D6-91DA-CB06AE540B67}">
      <dgm:prSet phldrT="[Texte]"/>
      <dgm:spPr>
        <a:gradFill rotWithShape="0">
          <a:gsLst>
            <a:gs pos="0">
              <a:schemeClr val="bg1">
                <a:lumMod val="85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</a:gradFill>
      </dgm:spPr>
      <dgm:t>
        <a:bodyPr/>
        <a:lstStyle/>
        <a:p>
          <a:r>
            <a:rPr lang="fr-FR" dirty="0"/>
            <a:t>TRL 3</a:t>
          </a:r>
        </a:p>
      </dgm:t>
    </dgm:pt>
    <dgm:pt modelId="{0BB0A2DB-56B1-4C49-AB31-882829A63D7D}" type="sibTrans" cxnId="{4939D621-5907-4C8B-878B-BFFB14B046EF}">
      <dgm:prSet/>
      <dgm:spPr/>
      <dgm:t>
        <a:bodyPr/>
        <a:lstStyle/>
        <a:p>
          <a:endParaRPr lang="fr-FR"/>
        </a:p>
      </dgm:t>
    </dgm:pt>
    <dgm:pt modelId="{903EEE98-B277-4A64-BF2E-EAD65433A350}" type="parTrans" cxnId="{4939D621-5907-4C8B-878B-BFFB14B046EF}">
      <dgm:prSet/>
      <dgm:spPr/>
      <dgm:t>
        <a:bodyPr/>
        <a:lstStyle/>
        <a:p>
          <a:endParaRPr lang="fr-FR"/>
        </a:p>
      </dgm:t>
    </dgm:pt>
    <dgm:pt modelId="{DA2DB2FE-219E-4AA6-94CA-69EAC4D2179C}">
      <dgm:prSet/>
      <dgm:spPr>
        <a:gradFill rotWithShape="0">
          <a:gsLst>
            <a:gs pos="0">
              <a:srgbClr val="002060"/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</a:gradFill>
      </dgm:spPr>
      <dgm:t>
        <a:bodyPr/>
        <a:lstStyle/>
        <a:p>
          <a:r>
            <a:rPr lang="fr-FR" dirty="0"/>
            <a:t>TRL 4</a:t>
          </a:r>
        </a:p>
      </dgm:t>
    </dgm:pt>
    <dgm:pt modelId="{578EE7D6-3D1E-4C15-8D96-D5EFA46BDAF9}" type="parTrans" cxnId="{B3C99E42-0C0F-4D7C-9E62-706CD6BB2E60}">
      <dgm:prSet/>
      <dgm:spPr/>
      <dgm:t>
        <a:bodyPr/>
        <a:lstStyle/>
        <a:p>
          <a:endParaRPr lang="fr-FR"/>
        </a:p>
      </dgm:t>
    </dgm:pt>
    <dgm:pt modelId="{6A4D6636-8EE5-4AD1-9832-3038CED5D471}" type="sibTrans" cxnId="{B3C99E42-0C0F-4D7C-9E62-706CD6BB2E60}">
      <dgm:prSet/>
      <dgm:spPr/>
      <dgm:t>
        <a:bodyPr/>
        <a:lstStyle/>
        <a:p>
          <a:endParaRPr lang="fr-FR"/>
        </a:p>
      </dgm:t>
    </dgm:pt>
    <dgm:pt modelId="{7FD32AAF-6461-488D-BC08-66DC77E8E8A3}">
      <dgm:prSet/>
      <dgm:spPr>
        <a:gradFill rotWithShape="0">
          <a:gsLst>
            <a:gs pos="0">
              <a:srgbClr val="002060"/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</a:gradFill>
      </dgm:spPr>
      <dgm:t>
        <a:bodyPr/>
        <a:lstStyle/>
        <a:p>
          <a:r>
            <a:rPr lang="fr-FR" dirty="0"/>
            <a:t>TRL 5</a:t>
          </a:r>
        </a:p>
      </dgm:t>
    </dgm:pt>
    <dgm:pt modelId="{4E496514-DCAD-4A3E-9DAC-561A061E372B}" type="parTrans" cxnId="{892A5505-643E-4C7C-BFC2-FAFB22047450}">
      <dgm:prSet/>
      <dgm:spPr/>
      <dgm:t>
        <a:bodyPr/>
        <a:lstStyle/>
        <a:p>
          <a:endParaRPr lang="fr-FR"/>
        </a:p>
      </dgm:t>
    </dgm:pt>
    <dgm:pt modelId="{F05D23D6-C0F1-4C01-89A8-BCF817B666C0}" type="sibTrans" cxnId="{892A5505-643E-4C7C-BFC2-FAFB22047450}">
      <dgm:prSet/>
      <dgm:spPr/>
      <dgm:t>
        <a:bodyPr/>
        <a:lstStyle/>
        <a:p>
          <a:endParaRPr lang="fr-FR"/>
        </a:p>
      </dgm:t>
    </dgm:pt>
    <dgm:pt modelId="{1D6B01DA-B17D-4BDC-A500-20B3A2375405}">
      <dgm:prSet/>
      <dgm:spPr>
        <a:gradFill rotWithShape="0">
          <a:gsLst>
            <a:gs pos="0">
              <a:srgbClr val="002060"/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</a:gradFill>
      </dgm:spPr>
      <dgm:t>
        <a:bodyPr/>
        <a:lstStyle/>
        <a:p>
          <a:r>
            <a:rPr lang="fr-FR" dirty="0"/>
            <a:t>TRL 6</a:t>
          </a:r>
        </a:p>
      </dgm:t>
    </dgm:pt>
    <dgm:pt modelId="{703F1361-148E-4C9E-9441-DC4641507CE9}" type="parTrans" cxnId="{6B618530-C107-40E9-A85E-B809D6EE7086}">
      <dgm:prSet/>
      <dgm:spPr/>
      <dgm:t>
        <a:bodyPr/>
        <a:lstStyle/>
        <a:p>
          <a:endParaRPr lang="fr-FR"/>
        </a:p>
      </dgm:t>
    </dgm:pt>
    <dgm:pt modelId="{BC47F4C4-6EA5-4F66-AB4D-186BEF894926}" type="sibTrans" cxnId="{6B618530-C107-40E9-A85E-B809D6EE7086}">
      <dgm:prSet/>
      <dgm:spPr/>
      <dgm:t>
        <a:bodyPr/>
        <a:lstStyle/>
        <a:p>
          <a:endParaRPr lang="fr-FR"/>
        </a:p>
      </dgm:t>
    </dgm:pt>
    <dgm:pt modelId="{DD888717-3E33-413B-B29F-3BFACC4DFAA0}">
      <dgm:prSet/>
      <dgm:spPr>
        <a:gradFill rotWithShape="0">
          <a:gsLst>
            <a:gs pos="0">
              <a:schemeClr val="bg1">
                <a:lumMod val="85000"/>
              </a:schemeClr>
            </a:gs>
            <a:gs pos="39999">
              <a:srgbClr val="85C2FF"/>
            </a:gs>
            <a:gs pos="70000">
              <a:srgbClr val="C4D6EB"/>
            </a:gs>
            <a:gs pos="100000">
              <a:srgbClr val="FFEBFA"/>
            </a:gs>
          </a:gsLst>
        </a:gradFill>
      </dgm:spPr>
      <dgm:t>
        <a:bodyPr/>
        <a:lstStyle/>
        <a:p>
          <a:r>
            <a:rPr lang="fr-FR" dirty="0"/>
            <a:t>TRL 7</a:t>
          </a:r>
        </a:p>
      </dgm:t>
    </dgm:pt>
    <dgm:pt modelId="{9C6C7506-C20E-4669-A360-09CEF9C8C179}" type="parTrans" cxnId="{7C577AC6-DAE1-48D1-AF36-02CC85CAFC37}">
      <dgm:prSet/>
      <dgm:spPr/>
      <dgm:t>
        <a:bodyPr/>
        <a:lstStyle/>
        <a:p>
          <a:endParaRPr lang="fr-FR"/>
        </a:p>
      </dgm:t>
    </dgm:pt>
    <dgm:pt modelId="{A991CD08-3B7C-4FC8-8B9C-4D15EA365088}" type="sibTrans" cxnId="{7C577AC6-DAE1-48D1-AF36-02CC85CAFC37}">
      <dgm:prSet/>
      <dgm:spPr/>
      <dgm:t>
        <a:bodyPr/>
        <a:lstStyle/>
        <a:p>
          <a:endParaRPr lang="fr-FR"/>
        </a:p>
      </dgm:t>
    </dgm:pt>
    <dgm:pt modelId="{F420C95D-A05F-41A4-8BDD-BEF7939E1497}">
      <dgm:prSet/>
      <dgm:spPr>
        <a:gradFill rotWithShape="0">
          <a:gsLst>
            <a:gs pos="0">
              <a:schemeClr val="bg1">
                <a:lumMod val="85000"/>
              </a:schemeClr>
            </a:gs>
            <a:gs pos="39999">
              <a:srgbClr val="85C2FF"/>
            </a:gs>
            <a:gs pos="70000">
              <a:srgbClr val="C4D6EB"/>
            </a:gs>
            <a:gs pos="100000">
              <a:srgbClr val="FFEBFA"/>
            </a:gs>
          </a:gsLst>
        </a:gradFill>
      </dgm:spPr>
      <dgm:t>
        <a:bodyPr/>
        <a:lstStyle/>
        <a:p>
          <a:r>
            <a:rPr lang="fr-FR" dirty="0"/>
            <a:t>TRL 8</a:t>
          </a:r>
        </a:p>
      </dgm:t>
    </dgm:pt>
    <dgm:pt modelId="{968E31E7-EBA7-40B0-AE4D-47ACC3E086EE}" type="parTrans" cxnId="{7806B640-4F16-4F61-90C8-92209963698F}">
      <dgm:prSet/>
      <dgm:spPr/>
      <dgm:t>
        <a:bodyPr/>
        <a:lstStyle/>
        <a:p>
          <a:endParaRPr lang="fr-FR"/>
        </a:p>
      </dgm:t>
    </dgm:pt>
    <dgm:pt modelId="{EBB6E742-1C48-42F1-BE17-AA286D416809}" type="sibTrans" cxnId="{7806B640-4F16-4F61-90C8-92209963698F}">
      <dgm:prSet/>
      <dgm:spPr/>
      <dgm:t>
        <a:bodyPr/>
        <a:lstStyle/>
        <a:p>
          <a:endParaRPr lang="fr-FR"/>
        </a:p>
      </dgm:t>
    </dgm:pt>
    <dgm:pt modelId="{6607C63E-4635-4FBE-9782-58DE675DE1BF}">
      <dgm:prSet/>
      <dgm:spPr>
        <a:gradFill rotWithShape="0">
          <a:gsLst>
            <a:gs pos="0">
              <a:schemeClr val="bg1">
                <a:lumMod val="85000"/>
              </a:schemeClr>
            </a:gs>
            <a:gs pos="39999">
              <a:srgbClr val="85C2FF"/>
            </a:gs>
            <a:gs pos="70000">
              <a:srgbClr val="C4D6EB"/>
            </a:gs>
            <a:gs pos="100000">
              <a:srgbClr val="FFEBFA"/>
            </a:gs>
          </a:gsLst>
        </a:gradFill>
      </dgm:spPr>
      <dgm:t>
        <a:bodyPr/>
        <a:lstStyle/>
        <a:p>
          <a:r>
            <a:rPr lang="fr-FR" dirty="0"/>
            <a:t>TRL 9</a:t>
          </a:r>
        </a:p>
      </dgm:t>
    </dgm:pt>
    <dgm:pt modelId="{6AF5A5E5-605F-4E5A-8D4A-8B038AF60C38}" type="parTrans" cxnId="{65ACBE7D-0540-4A0D-B517-1C0FAF611BA3}">
      <dgm:prSet/>
      <dgm:spPr/>
      <dgm:t>
        <a:bodyPr/>
        <a:lstStyle/>
        <a:p>
          <a:endParaRPr lang="fr-FR"/>
        </a:p>
      </dgm:t>
    </dgm:pt>
    <dgm:pt modelId="{3829D38A-43AD-43B0-9406-98478416A56B}" type="sibTrans" cxnId="{65ACBE7D-0540-4A0D-B517-1C0FAF611BA3}">
      <dgm:prSet/>
      <dgm:spPr/>
      <dgm:t>
        <a:bodyPr/>
        <a:lstStyle/>
        <a:p>
          <a:endParaRPr lang="fr-FR"/>
        </a:p>
      </dgm:t>
    </dgm:pt>
    <dgm:pt modelId="{59C938C2-755B-49DD-8D46-98EC0D873BC7}">
      <dgm:prSet/>
      <dgm:spPr/>
      <dgm:t>
        <a:bodyPr/>
        <a:lstStyle/>
        <a:p>
          <a:r>
            <a:rPr lang="en-GB" noProof="0" dirty="0" smtClean="0"/>
            <a:t>Laboratory</a:t>
          </a:r>
          <a:r>
            <a:rPr lang="fr-FR" dirty="0" smtClean="0"/>
            <a:t> </a:t>
          </a:r>
          <a:r>
            <a:rPr lang="fr-FR" dirty="0"/>
            <a:t>Validation</a:t>
          </a:r>
        </a:p>
      </dgm:t>
    </dgm:pt>
    <dgm:pt modelId="{C5E4AF96-B971-4C5D-99DE-733F5FBD8CD2}" type="parTrans" cxnId="{6C529E50-1A3B-44C7-9B8A-720E4AD51403}">
      <dgm:prSet/>
      <dgm:spPr/>
      <dgm:t>
        <a:bodyPr/>
        <a:lstStyle/>
        <a:p>
          <a:endParaRPr lang="fr-FR"/>
        </a:p>
      </dgm:t>
    </dgm:pt>
    <dgm:pt modelId="{296302A5-4815-4836-BA6D-3B3FD18C7C22}" type="sibTrans" cxnId="{6C529E50-1A3B-44C7-9B8A-720E4AD51403}">
      <dgm:prSet/>
      <dgm:spPr/>
      <dgm:t>
        <a:bodyPr/>
        <a:lstStyle/>
        <a:p>
          <a:endParaRPr lang="fr-FR"/>
        </a:p>
      </dgm:t>
    </dgm:pt>
    <dgm:pt modelId="{609E9B47-5C42-4AB8-98F2-37E3E3D87300}">
      <dgm:prSet/>
      <dgm:spPr/>
      <dgm:t>
        <a:bodyPr/>
        <a:lstStyle/>
        <a:p>
          <a:r>
            <a:rPr lang="en-GB" noProof="0" dirty="0" smtClean="0"/>
            <a:t>Environment Validation</a:t>
          </a:r>
          <a:endParaRPr lang="en-GB" noProof="0" dirty="0"/>
        </a:p>
      </dgm:t>
    </dgm:pt>
    <dgm:pt modelId="{90C06766-9339-48B0-86E6-0EF7750A8989}" type="parTrans" cxnId="{742766B3-E99C-4433-B3E6-7785B6E1529C}">
      <dgm:prSet/>
      <dgm:spPr/>
      <dgm:t>
        <a:bodyPr/>
        <a:lstStyle/>
        <a:p>
          <a:endParaRPr lang="fr-FR"/>
        </a:p>
      </dgm:t>
    </dgm:pt>
    <dgm:pt modelId="{D4C32D9F-ED06-4DB7-AFC5-484BDBEB2727}" type="sibTrans" cxnId="{742766B3-E99C-4433-B3E6-7785B6E1529C}">
      <dgm:prSet/>
      <dgm:spPr/>
      <dgm:t>
        <a:bodyPr/>
        <a:lstStyle/>
        <a:p>
          <a:endParaRPr lang="fr-FR"/>
        </a:p>
      </dgm:t>
    </dgm:pt>
    <dgm:pt modelId="{44846284-6D6C-4BB1-85C4-074F4A962822}">
      <dgm:prSet/>
      <dgm:spPr/>
      <dgm:t>
        <a:bodyPr/>
        <a:lstStyle/>
        <a:p>
          <a:r>
            <a:rPr lang="en-GB" noProof="0" dirty="0" smtClean="0"/>
            <a:t>Prototype or demonstration</a:t>
          </a:r>
          <a:endParaRPr lang="en-GB" noProof="0" dirty="0"/>
        </a:p>
      </dgm:t>
    </dgm:pt>
    <dgm:pt modelId="{76C91FCA-8EA3-4633-A771-2F06A03FDE1D}" type="parTrans" cxnId="{F52E331B-1FCC-4E6E-B287-5B57CDF97CAA}">
      <dgm:prSet/>
      <dgm:spPr/>
      <dgm:t>
        <a:bodyPr/>
        <a:lstStyle/>
        <a:p>
          <a:endParaRPr lang="fr-FR"/>
        </a:p>
      </dgm:t>
    </dgm:pt>
    <dgm:pt modelId="{48FFDEE1-C8DF-4579-B842-9B7A4FD6BD14}" type="sibTrans" cxnId="{F52E331B-1FCC-4E6E-B287-5B57CDF97CAA}">
      <dgm:prSet/>
      <dgm:spPr/>
      <dgm:t>
        <a:bodyPr/>
        <a:lstStyle/>
        <a:p>
          <a:endParaRPr lang="fr-FR"/>
        </a:p>
      </dgm:t>
    </dgm:pt>
    <dgm:pt modelId="{7292AF5D-3A66-4746-8B03-5395A6CE0132}">
      <dgm:prSet/>
      <dgm:spPr/>
      <dgm:t>
        <a:bodyPr/>
        <a:lstStyle/>
        <a:p>
          <a:r>
            <a:rPr lang="en-GB" noProof="0" dirty="0" smtClean="0"/>
            <a:t>System in Environment</a:t>
          </a:r>
          <a:endParaRPr lang="en-GB" noProof="0" dirty="0"/>
        </a:p>
      </dgm:t>
    </dgm:pt>
    <dgm:pt modelId="{276A636C-0A76-4A77-ABB2-B9B4AA0D976A}" type="parTrans" cxnId="{86D1AD48-CC3A-4CCD-9E31-075B29DA1B6C}">
      <dgm:prSet/>
      <dgm:spPr/>
      <dgm:t>
        <a:bodyPr/>
        <a:lstStyle/>
        <a:p>
          <a:endParaRPr lang="fr-FR"/>
        </a:p>
      </dgm:t>
    </dgm:pt>
    <dgm:pt modelId="{DD03C17D-13B7-417F-A141-01CFDEBA7BC0}" type="sibTrans" cxnId="{86D1AD48-CC3A-4CCD-9E31-075B29DA1B6C}">
      <dgm:prSet/>
      <dgm:spPr/>
      <dgm:t>
        <a:bodyPr/>
        <a:lstStyle/>
        <a:p>
          <a:endParaRPr lang="fr-FR"/>
        </a:p>
      </dgm:t>
    </dgm:pt>
    <dgm:pt modelId="{135BD05B-FAB6-45DB-B436-9E6D4368654E}">
      <dgm:prSet/>
      <dgm:spPr/>
      <dgm:t>
        <a:bodyPr/>
        <a:lstStyle/>
        <a:p>
          <a:r>
            <a:rPr lang="en-GB" noProof="0" dirty="0" smtClean="0"/>
            <a:t>Test and Demonstration</a:t>
          </a:r>
          <a:endParaRPr lang="en-GB" noProof="0" dirty="0"/>
        </a:p>
      </dgm:t>
    </dgm:pt>
    <dgm:pt modelId="{8DB64B80-60FE-4168-93C0-B708F96FD326}" type="parTrans" cxnId="{A5CEF81B-7DF8-4D40-92C2-15106183CF8B}">
      <dgm:prSet/>
      <dgm:spPr/>
      <dgm:t>
        <a:bodyPr/>
        <a:lstStyle/>
        <a:p>
          <a:endParaRPr lang="fr-FR"/>
        </a:p>
      </dgm:t>
    </dgm:pt>
    <dgm:pt modelId="{BDAFA4A8-0B21-47E3-9D4C-1192FDAD4DA9}" type="sibTrans" cxnId="{A5CEF81B-7DF8-4D40-92C2-15106183CF8B}">
      <dgm:prSet/>
      <dgm:spPr/>
      <dgm:t>
        <a:bodyPr/>
        <a:lstStyle/>
        <a:p>
          <a:endParaRPr lang="fr-FR"/>
        </a:p>
      </dgm:t>
    </dgm:pt>
    <dgm:pt modelId="{24611478-DBBB-4F13-BBF8-5B299D13250E}">
      <dgm:prSet/>
      <dgm:spPr/>
      <dgm:t>
        <a:bodyPr/>
        <a:lstStyle/>
        <a:p>
          <a:r>
            <a:rPr lang="en-GB" noProof="0" dirty="0" smtClean="0"/>
            <a:t>Successful tests</a:t>
          </a:r>
          <a:endParaRPr lang="en-GB" noProof="0" dirty="0"/>
        </a:p>
      </dgm:t>
    </dgm:pt>
    <dgm:pt modelId="{F11649F3-DC4C-4A85-AE1A-18471A917860}" type="parTrans" cxnId="{2C8922CD-1A99-4BFC-B757-941554B7393C}">
      <dgm:prSet/>
      <dgm:spPr/>
      <dgm:t>
        <a:bodyPr/>
        <a:lstStyle/>
        <a:p>
          <a:endParaRPr lang="fr-FR"/>
        </a:p>
      </dgm:t>
    </dgm:pt>
    <dgm:pt modelId="{40A5A3F8-DFFA-44E5-9C23-87D4BA8A3C71}" type="sibTrans" cxnId="{2C8922CD-1A99-4BFC-B757-941554B7393C}">
      <dgm:prSet/>
      <dgm:spPr/>
      <dgm:t>
        <a:bodyPr/>
        <a:lstStyle/>
        <a:p>
          <a:endParaRPr lang="fr-FR"/>
        </a:p>
      </dgm:t>
    </dgm:pt>
    <dgm:pt modelId="{3AE05C6E-8CED-4331-8143-7945987548B3}" type="pres">
      <dgm:prSet presAssocID="{FB25BE3D-A5B5-4E6D-A03B-03ABC9684561}" presName="linearFlow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fr-FR"/>
        </a:p>
      </dgm:t>
    </dgm:pt>
    <dgm:pt modelId="{8016AE2A-485F-44FD-8422-204D66AF919C}" type="pres">
      <dgm:prSet presAssocID="{68BE4145-EFF4-49E6-BBC2-638C04B6905E}" presName="composite" presStyleCnt="0"/>
      <dgm:spPr/>
    </dgm:pt>
    <dgm:pt modelId="{FB907307-E40C-40D5-8E5A-358796FF36EB}" type="pres">
      <dgm:prSet presAssocID="{68BE4145-EFF4-49E6-BBC2-638C04B6905E}" presName="parentText" presStyleLbl="alignNode1" presStyleIdx="0" presStyleCnt="9">
        <dgm:presLayoutVars>
          <dgm:chMax val="1"/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B0A641CF-7997-485E-B24F-2BE2B3E08E72}" type="pres">
      <dgm:prSet presAssocID="{68BE4145-EFF4-49E6-BBC2-638C04B6905E}" presName="descendantText" presStyleLbl="alignAcc1" presStyleIdx="0" presStyleCnt="9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E95E6B00-1483-480F-899F-DADD3A0D8636}" type="pres">
      <dgm:prSet presAssocID="{05A71051-4F9D-4812-A077-E3A33342DDCF}" presName="sp" presStyleCnt="0"/>
      <dgm:spPr/>
    </dgm:pt>
    <dgm:pt modelId="{C8FB1D5D-7EBF-4DBA-A520-5C658BE93B33}" type="pres">
      <dgm:prSet presAssocID="{16F29EEB-30A9-48BF-B255-7A0EF2452FF2}" presName="composite" presStyleCnt="0"/>
      <dgm:spPr/>
    </dgm:pt>
    <dgm:pt modelId="{07CFC520-8A38-4D16-B299-A7C6AD22DEE4}" type="pres">
      <dgm:prSet presAssocID="{16F29EEB-30A9-48BF-B255-7A0EF2452FF2}" presName="parentText" presStyleLbl="alignNode1" presStyleIdx="1" presStyleCnt="9">
        <dgm:presLayoutVars>
          <dgm:chMax val="1"/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DE02032D-E73C-4631-9016-5DE23B0569E9}" type="pres">
      <dgm:prSet presAssocID="{16F29EEB-30A9-48BF-B255-7A0EF2452FF2}" presName="descendantText" presStyleLbl="alignAcc1" presStyleIdx="1" presStyleCnt="9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B68BF796-53E5-4DAD-BD3E-A26828E3C9C2}" type="pres">
      <dgm:prSet presAssocID="{8FAEDE2F-46DB-4F9B-93CA-698B2F302DD1}" presName="sp" presStyleCnt="0"/>
      <dgm:spPr/>
    </dgm:pt>
    <dgm:pt modelId="{B4FAD63C-2EDE-41DB-946B-46B24B36914B}" type="pres">
      <dgm:prSet presAssocID="{4531C6DF-BC22-47D6-91DA-CB06AE540B67}" presName="composite" presStyleCnt="0"/>
      <dgm:spPr/>
    </dgm:pt>
    <dgm:pt modelId="{41BF7C5E-41AA-4316-A4E2-03B692459C1B}" type="pres">
      <dgm:prSet presAssocID="{4531C6DF-BC22-47D6-91DA-CB06AE540B67}" presName="parentText" presStyleLbl="alignNode1" presStyleIdx="2" presStyleCnt="9">
        <dgm:presLayoutVars>
          <dgm:chMax val="1"/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2A16AF64-756F-473A-BB1B-11037BC546DC}" type="pres">
      <dgm:prSet presAssocID="{4531C6DF-BC22-47D6-91DA-CB06AE540B67}" presName="descendantText" presStyleLbl="alignAcc1" presStyleIdx="2" presStyleCnt="9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77B53905-0ECB-409E-A678-EF18DF41D097}" type="pres">
      <dgm:prSet presAssocID="{0BB0A2DB-56B1-4C49-AB31-882829A63D7D}" presName="sp" presStyleCnt="0"/>
      <dgm:spPr/>
    </dgm:pt>
    <dgm:pt modelId="{DAF5BD24-6335-49CB-8326-B02E927ABFA6}" type="pres">
      <dgm:prSet presAssocID="{DA2DB2FE-219E-4AA6-94CA-69EAC4D2179C}" presName="composite" presStyleCnt="0"/>
      <dgm:spPr/>
    </dgm:pt>
    <dgm:pt modelId="{24E2DF5C-D3A7-40BA-94E1-0289577C28FB}" type="pres">
      <dgm:prSet presAssocID="{DA2DB2FE-219E-4AA6-94CA-69EAC4D2179C}" presName="parentText" presStyleLbl="alignNode1" presStyleIdx="3" presStyleCnt="9">
        <dgm:presLayoutVars>
          <dgm:chMax val="1"/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81028CFD-0F5E-491E-9ECA-E14997A1396F}" type="pres">
      <dgm:prSet presAssocID="{DA2DB2FE-219E-4AA6-94CA-69EAC4D2179C}" presName="descendantText" presStyleLbl="alignAcc1" presStyleIdx="3" presStyleCnt="9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6D066766-2564-40F6-8A88-8CB8E07025AD}" type="pres">
      <dgm:prSet presAssocID="{6A4D6636-8EE5-4AD1-9832-3038CED5D471}" presName="sp" presStyleCnt="0"/>
      <dgm:spPr/>
    </dgm:pt>
    <dgm:pt modelId="{1A912C5C-4082-4CA2-A743-677060243E0E}" type="pres">
      <dgm:prSet presAssocID="{7FD32AAF-6461-488D-BC08-66DC77E8E8A3}" presName="composite" presStyleCnt="0"/>
      <dgm:spPr/>
    </dgm:pt>
    <dgm:pt modelId="{AE60A6CE-ADE2-4FE8-9FDA-65D46BD985F9}" type="pres">
      <dgm:prSet presAssocID="{7FD32AAF-6461-488D-BC08-66DC77E8E8A3}" presName="parentText" presStyleLbl="alignNode1" presStyleIdx="4" presStyleCnt="9">
        <dgm:presLayoutVars>
          <dgm:chMax val="1"/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91792383-E3C9-400C-99B7-476C7DC54CB6}" type="pres">
      <dgm:prSet presAssocID="{7FD32AAF-6461-488D-BC08-66DC77E8E8A3}" presName="descendantText" presStyleLbl="alignAcc1" presStyleIdx="4" presStyleCnt="9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EAFA3FAB-39C1-437C-A07A-D4F36865683D}" type="pres">
      <dgm:prSet presAssocID="{F05D23D6-C0F1-4C01-89A8-BCF817B666C0}" presName="sp" presStyleCnt="0"/>
      <dgm:spPr/>
    </dgm:pt>
    <dgm:pt modelId="{FCA5816A-7AB2-4ADF-AC27-AFC1E76317DD}" type="pres">
      <dgm:prSet presAssocID="{1D6B01DA-B17D-4BDC-A500-20B3A2375405}" presName="composite" presStyleCnt="0"/>
      <dgm:spPr/>
    </dgm:pt>
    <dgm:pt modelId="{BFA879D6-B7EF-4728-8916-C108D207DF07}" type="pres">
      <dgm:prSet presAssocID="{1D6B01DA-B17D-4BDC-A500-20B3A2375405}" presName="parentText" presStyleLbl="alignNode1" presStyleIdx="5" presStyleCnt="9">
        <dgm:presLayoutVars>
          <dgm:chMax val="1"/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4D037B26-1CD3-48B6-AB5F-979D63B16869}" type="pres">
      <dgm:prSet presAssocID="{1D6B01DA-B17D-4BDC-A500-20B3A2375405}" presName="descendantText" presStyleLbl="alignAcc1" presStyleIdx="5" presStyleCnt="9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9AC52C43-0EA0-42D3-AAD3-52D7E1E575EA}" type="pres">
      <dgm:prSet presAssocID="{BC47F4C4-6EA5-4F66-AB4D-186BEF894926}" presName="sp" presStyleCnt="0"/>
      <dgm:spPr/>
    </dgm:pt>
    <dgm:pt modelId="{CD74C9C5-16EA-4016-9103-0C6A9DEFB0C5}" type="pres">
      <dgm:prSet presAssocID="{DD888717-3E33-413B-B29F-3BFACC4DFAA0}" presName="composite" presStyleCnt="0"/>
      <dgm:spPr/>
    </dgm:pt>
    <dgm:pt modelId="{086F3863-7C02-4DAB-BE9D-0E646A6D6BBE}" type="pres">
      <dgm:prSet presAssocID="{DD888717-3E33-413B-B29F-3BFACC4DFAA0}" presName="parentText" presStyleLbl="alignNode1" presStyleIdx="6" presStyleCnt="9">
        <dgm:presLayoutVars>
          <dgm:chMax val="1"/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40F67FAB-CAE9-4AC7-92F3-B6FB9EFBDCBC}" type="pres">
      <dgm:prSet presAssocID="{DD888717-3E33-413B-B29F-3BFACC4DFAA0}" presName="descendantText" presStyleLbl="alignAcc1" presStyleIdx="6" presStyleCnt="9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E4C2D05B-E5D1-4A9A-B589-258F8FE287BB}" type="pres">
      <dgm:prSet presAssocID="{A991CD08-3B7C-4FC8-8B9C-4D15EA365088}" presName="sp" presStyleCnt="0"/>
      <dgm:spPr/>
    </dgm:pt>
    <dgm:pt modelId="{625D6754-36E0-43E1-8B6A-20B582CE87AA}" type="pres">
      <dgm:prSet presAssocID="{F420C95D-A05F-41A4-8BDD-BEF7939E1497}" presName="composite" presStyleCnt="0"/>
      <dgm:spPr/>
    </dgm:pt>
    <dgm:pt modelId="{F87EE507-527F-4258-8E4F-630BD51F6C11}" type="pres">
      <dgm:prSet presAssocID="{F420C95D-A05F-41A4-8BDD-BEF7939E1497}" presName="parentText" presStyleLbl="alignNode1" presStyleIdx="7" presStyleCnt="9">
        <dgm:presLayoutVars>
          <dgm:chMax val="1"/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CE1B5F40-EB36-42CD-8495-EB272292D463}" type="pres">
      <dgm:prSet presAssocID="{F420C95D-A05F-41A4-8BDD-BEF7939E1497}" presName="descendantText" presStyleLbl="alignAcc1" presStyleIdx="7" presStyleCnt="9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308CDF69-C81F-4AFE-A842-8184BC5E71A7}" type="pres">
      <dgm:prSet presAssocID="{EBB6E742-1C48-42F1-BE17-AA286D416809}" presName="sp" presStyleCnt="0"/>
      <dgm:spPr/>
    </dgm:pt>
    <dgm:pt modelId="{6183DFDD-79ED-445A-8052-D575724E86C3}" type="pres">
      <dgm:prSet presAssocID="{6607C63E-4635-4FBE-9782-58DE675DE1BF}" presName="composite" presStyleCnt="0"/>
      <dgm:spPr/>
    </dgm:pt>
    <dgm:pt modelId="{D85DDC1F-8468-47C0-A2C6-47FFCC3AF221}" type="pres">
      <dgm:prSet presAssocID="{6607C63E-4635-4FBE-9782-58DE675DE1BF}" presName="parentText" presStyleLbl="alignNode1" presStyleIdx="8" presStyleCnt="9">
        <dgm:presLayoutVars>
          <dgm:chMax val="1"/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2331E6B5-B376-4C5A-BF45-B22CFB8E5E32}" type="pres">
      <dgm:prSet presAssocID="{6607C63E-4635-4FBE-9782-58DE675DE1BF}" presName="descendantText" presStyleLbl="alignAcc1" presStyleIdx="8" presStyleCnt="9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</dgm:ptLst>
  <dgm:cxnLst>
    <dgm:cxn modelId="{7C577AC6-DAE1-48D1-AF36-02CC85CAFC37}" srcId="{FB25BE3D-A5B5-4E6D-A03B-03ABC9684561}" destId="{DD888717-3E33-413B-B29F-3BFACC4DFAA0}" srcOrd="6" destOrd="0" parTransId="{9C6C7506-C20E-4669-A360-09CEF9C8C179}" sibTransId="{A991CD08-3B7C-4FC8-8B9C-4D15EA365088}"/>
    <dgm:cxn modelId="{4939D621-5907-4C8B-878B-BFFB14B046EF}" srcId="{FB25BE3D-A5B5-4E6D-A03B-03ABC9684561}" destId="{4531C6DF-BC22-47D6-91DA-CB06AE540B67}" srcOrd="2" destOrd="0" parTransId="{903EEE98-B277-4A64-BF2E-EAD65433A350}" sibTransId="{0BB0A2DB-56B1-4C49-AB31-882829A63D7D}"/>
    <dgm:cxn modelId="{6C529E50-1A3B-44C7-9B8A-720E4AD51403}" srcId="{DA2DB2FE-219E-4AA6-94CA-69EAC4D2179C}" destId="{59C938C2-755B-49DD-8D46-98EC0D873BC7}" srcOrd="0" destOrd="0" parTransId="{C5E4AF96-B971-4C5D-99DE-733F5FBD8CD2}" sibTransId="{296302A5-4815-4836-BA6D-3B3FD18C7C22}"/>
    <dgm:cxn modelId="{C4DEF3EF-846F-487A-BC4C-806673C4929A}" type="presOf" srcId="{59C938C2-755B-49DD-8D46-98EC0D873BC7}" destId="{81028CFD-0F5E-491E-9ECA-E14997A1396F}" srcOrd="0" destOrd="0" presId="urn:microsoft.com/office/officeart/2005/8/layout/chevron2"/>
    <dgm:cxn modelId="{94BF879A-0145-45A2-B7F1-236E1BEAAF65}" type="presOf" srcId="{4531C6DF-BC22-47D6-91DA-CB06AE540B67}" destId="{41BF7C5E-41AA-4316-A4E2-03B692459C1B}" srcOrd="0" destOrd="0" presId="urn:microsoft.com/office/officeart/2005/8/layout/chevron2"/>
    <dgm:cxn modelId="{82F6CD47-E63F-450F-9708-B279394823C1}" srcId="{FB25BE3D-A5B5-4E6D-A03B-03ABC9684561}" destId="{16F29EEB-30A9-48BF-B255-7A0EF2452FF2}" srcOrd="1" destOrd="0" parTransId="{0EAA8282-33FD-4653-BBF3-D28C0B90C9E0}" sibTransId="{8FAEDE2F-46DB-4F9B-93CA-698B2F302DD1}"/>
    <dgm:cxn modelId="{892A5505-643E-4C7C-BFC2-FAFB22047450}" srcId="{FB25BE3D-A5B5-4E6D-A03B-03ABC9684561}" destId="{7FD32AAF-6461-488D-BC08-66DC77E8E8A3}" srcOrd="4" destOrd="0" parTransId="{4E496514-DCAD-4A3E-9DAC-561A061E372B}" sibTransId="{F05D23D6-C0F1-4C01-89A8-BCF817B666C0}"/>
    <dgm:cxn modelId="{0FACBC41-9F54-4AE9-8AE5-B7E974EF8C2A}" type="presOf" srcId="{609E9B47-5C42-4AB8-98F2-37E3E3D87300}" destId="{91792383-E3C9-400C-99B7-476C7DC54CB6}" srcOrd="0" destOrd="0" presId="urn:microsoft.com/office/officeart/2005/8/layout/chevron2"/>
    <dgm:cxn modelId="{0370C653-A0F2-4FBB-9500-2381EB812BA5}" type="presOf" srcId="{6607C63E-4635-4FBE-9782-58DE675DE1BF}" destId="{D85DDC1F-8468-47C0-A2C6-47FFCC3AF221}" srcOrd="0" destOrd="0" presId="urn:microsoft.com/office/officeart/2005/8/layout/chevron2"/>
    <dgm:cxn modelId="{EDB61C8D-9FBE-421F-AE29-B9E159581B3B}" type="presOf" srcId="{DD888717-3E33-413B-B29F-3BFACC4DFAA0}" destId="{086F3863-7C02-4DAB-BE9D-0E646A6D6BBE}" srcOrd="0" destOrd="0" presId="urn:microsoft.com/office/officeart/2005/8/layout/chevron2"/>
    <dgm:cxn modelId="{86D1AD48-CC3A-4CCD-9E31-075B29DA1B6C}" srcId="{DD888717-3E33-413B-B29F-3BFACC4DFAA0}" destId="{7292AF5D-3A66-4746-8B03-5395A6CE0132}" srcOrd="0" destOrd="0" parTransId="{276A636C-0A76-4A77-ABB2-B9B4AA0D976A}" sibTransId="{DD03C17D-13B7-417F-A141-01CFDEBA7BC0}"/>
    <dgm:cxn modelId="{368CBF70-7483-41C0-A424-630A1027EABB}" type="presOf" srcId="{5882222A-F678-4598-BDD3-35AAA28ABA69}" destId="{DE02032D-E73C-4631-9016-5DE23B0569E9}" srcOrd="0" destOrd="0" presId="urn:microsoft.com/office/officeart/2005/8/layout/chevron2"/>
    <dgm:cxn modelId="{DF3C4F97-D8C2-4789-99EC-4B5C4F7D6490}" type="presOf" srcId="{FB25BE3D-A5B5-4E6D-A03B-03ABC9684561}" destId="{3AE05C6E-8CED-4331-8143-7945987548B3}" srcOrd="0" destOrd="0" presId="urn:microsoft.com/office/officeart/2005/8/layout/chevron2"/>
    <dgm:cxn modelId="{7806B640-4F16-4F61-90C8-92209963698F}" srcId="{FB25BE3D-A5B5-4E6D-A03B-03ABC9684561}" destId="{F420C95D-A05F-41A4-8BDD-BEF7939E1497}" srcOrd="7" destOrd="0" parTransId="{968E31E7-EBA7-40B0-AE4D-47ACC3E086EE}" sibTransId="{EBB6E742-1C48-42F1-BE17-AA286D416809}"/>
    <dgm:cxn modelId="{F306851C-F261-4D36-8630-36FB2ADA9FEF}" type="presOf" srcId="{1D6B01DA-B17D-4BDC-A500-20B3A2375405}" destId="{BFA879D6-B7EF-4728-8916-C108D207DF07}" srcOrd="0" destOrd="0" presId="urn:microsoft.com/office/officeart/2005/8/layout/chevron2"/>
    <dgm:cxn modelId="{E1FD9027-5926-4964-9DED-A179BC81011A}" srcId="{16F29EEB-30A9-48BF-B255-7A0EF2452FF2}" destId="{5882222A-F678-4598-BDD3-35AAA28ABA69}" srcOrd="0" destOrd="0" parTransId="{34FB7E25-35AD-43B6-8803-B1888A6DE1CB}" sibTransId="{12E2958D-B075-4232-A200-02FDF476CA96}"/>
    <dgm:cxn modelId="{742766B3-E99C-4433-B3E6-7785B6E1529C}" srcId="{7FD32AAF-6461-488D-BC08-66DC77E8E8A3}" destId="{609E9B47-5C42-4AB8-98F2-37E3E3D87300}" srcOrd="0" destOrd="0" parTransId="{90C06766-9339-48B0-86E6-0EF7750A8989}" sibTransId="{D4C32D9F-ED06-4DB7-AFC5-484BDBEB2727}"/>
    <dgm:cxn modelId="{F52E331B-1FCC-4E6E-B287-5B57CDF97CAA}" srcId="{1D6B01DA-B17D-4BDC-A500-20B3A2375405}" destId="{44846284-6D6C-4BB1-85C4-074F4A962822}" srcOrd="0" destOrd="0" parTransId="{76C91FCA-8EA3-4633-A771-2F06A03FDE1D}" sibTransId="{48FFDEE1-C8DF-4579-B842-9B7A4FD6BD14}"/>
    <dgm:cxn modelId="{CA166210-0DDE-477F-9920-98BD9FA24AF8}" type="presOf" srcId="{5BAA728B-4B46-4A17-B1AB-DE2D44A9D86F}" destId="{2A16AF64-756F-473A-BB1B-11037BC546DC}" srcOrd="0" destOrd="0" presId="urn:microsoft.com/office/officeart/2005/8/layout/chevron2"/>
    <dgm:cxn modelId="{A5CEF81B-7DF8-4D40-92C2-15106183CF8B}" srcId="{F420C95D-A05F-41A4-8BDD-BEF7939E1497}" destId="{135BD05B-FAB6-45DB-B436-9E6D4368654E}" srcOrd="0" destOrd="0" parTransId="{8DB64B80-60FE-4168-93C0-B708F96FD326}" sibTransId="{BDAFA4A8-0B21-47E3-9D4C-1192FDAD4DA9}"/>
    <dgm:cxn modelId="{EF10FD15-E63E-4902-87CA-B033B8916DE2}" type="presOf" srcId="{135BD05B-FAB6-45DB-B436-9E6D4368654E}" destId="{CE1B5F40-EB36-42CD-8495-EB272292D463}" srcOrd="0" destOrd="0" presId="urn:microsoft.com/office/officeart/2005/8/layout/chevron2"/>
    <dgm:cxn modelId="{AE4FEDAA-F511-4986-AFB6-831CA6C4C4EB}" type="presOf" srcId="{DA2DB2FE-219E-4AA6-94CA-69EAC4D2179C}" destId="{24E2DF5C-D3A7-40BA-94E1-0289577C28FB}" srcOrd="0" destOrd="0" presId="urn:microsoft.com/office/officeart/2005/8/layout/chevron2"/>
    <dgm:cxn modelId="{43D8C9EA-A905-43EC-AD84-8C50F38AC062}" type="presOf" srcId="{24611478-DBBB-4F13-BBF8-5B299D13250E}" destId="{2331E6B5-B376-4C5A-BF45-B22CFB8E5E32}" srcOrd="0" destOrd="0" presId="urn:microsoft.com/office/officeart/2005/8/layout/chevron2"/>
    <dgm:cxn modelId="{611FD509-7009-4E24-88A6-9C0FDF1187B7}" type="presOf" srcId="{7292AF5D-3A66-4746-8B03-5395A6CE0132}" destId="{40F67FAB-CAE9-4AC7-92F3-B6FB9EFBDCBC}" srcOrd="0" destOrd="0" presId="urn:microsoft.com/office/officeart/2005/8/layout/chevron2"/>
    <dgm:cxn modelId="{E44DB6DB-8BE8-4896-8298-66487604939C}" srcId="{FB25BE3D-A5B5-4E6D-A03B-03ABC9684561}" destId="{68BE4145-EFF4-49E6-BBC2-638C04B6905E}" srcOrd="0" destOrd="0" parTransId="{7EC1A2D8-98AA-4117-BEEE-D2214FE0E40C}" sibTransId="{05A71051-4F9D-4812-A077-E3A33342DDCF}"/>
    <dgm:cxn modelId="{8DCC00A6-B8B6-4861-88EB-E1AA570E1D16}" srcId="{4531C6DF-BC22-47D6-91DA-CB06AE540B67}" destId="{5BAA728B-4B46-4A17-B1AB-DE2D44A9D86F}" srcOrd="0" destOrd="0" parTransId="{82A73F3E-7688-4BAD-923B-4B91D619B957}" sibTransId="{489C85C5-7B7D-4B52-AF11-9AFFF965A398}"/>
    <dgm:cxn modelId="{76424CF6-7F93-491E-BB56-90D33C32C22C}" type="presOf" srcId="{16F29EEB-30A9-48BF-B255-7A0EF2452FF2}" destId="{07CFC520-8A38-4D16-B299-A7C6AD22DEE4}" srcOrd="0" destOrd="0" presId="urn:microsoft.com/office/officeart/2005/8/layout/chevron2"/>
    <dgm:cxn modelId="{6B618530-C107-40E9-A85E-B809D6EE7086}" srcId="{FB25BE3D-A5B5-4E6D-A03B-03ABC9684561}" destId="{1D6B01DA-B17D-4BDC-A500-20B3A2375405}" srcOrd="5" destOrd="0" parTransId="{703F1361-148E-4C9E-9441-DC4641507CE9}" sibTransId="{BC47F4C4-6EA5-4F66-AB4D-186BEF894926}"/>
    <dgm:cxn modelId="{D36A383D-F4B4-439F-94A2-AE2409B6F89E}" type="presOf" srcId="{68EDE5EC-9612-4C65-8798-BB2832EB50EA}" destId="{B0A641CF-7997-485E-B24F-2BE2B3E08E72}" srcOrd="0" destOrd="0" presId="urn:microsoft.com/office/officeart/2005/8/layout/chevron2"/>
    <dgm:cxn modelId="{70864BEF-F717-4FEA-AF59-EE79F4E6449A}" type="presOf" srcId="{44846284-6D6C-4BB1-85C4-074F4A962822}" destId="{4D037B26-1CD3-48B6-AB5F-979D63B16869}" srcOrd="0" destOrd="0" presId="urn:microsoft.com/office/officeart/2005/8/layout/chevron2"/>
    <dgm:cxn modelId="{65ACBE7D-0540-4A0D-B517-1C0FAF611BA3}" srcId="{FB25BE3D-A5B5-4E6D-A03B-03ABC9684561}" destId="{6607C63E-4635-4FBE-9782-58DE675DE1BF}" srcOrd="8" destOrd="0" parTransId="{6AF5A5E5-605F-4E5A-8D4A-8B038AF60C38}" sibTransId="{3829D38A-43AD-43B0-9406-98478416A56B}"/>
    <dgm:cxn modelId="{5EB290EA-FC49-47C3-BE70-FE4BF3441B75}" type="presOf" srcId="{68BE4145-EFF4-49E6-BBC2-638C04B6905E}" destId="{FB907307-E40C-40D5-8E5A-358796FF36EB}" srcOrd="0" destOrd="0" presId="urn:microsoft.com/office/officeart/2005/8/layout/chevron2"/>
    <dgm:cxn modelId="{46DA0E47-847F-4554-B982-9E4FF0C577C3}" type="presOf" srcId="{7FD32AAF-6461-488D-BC08-66DC77E8E8A3}" destId="{AE60A6CE-ADE2-4FE8-9FDA-65D46BD985F9}" srcOrd="0" destOrd="0" presId="urn:microsoft.com/office/officeart/2005/8/layout/chevron2"/>
    <dgm:cxn modelId="{2B0155FF-C491-4C3F-A1B9-0CE433257D7D}" type="presOf" srcId="{F420C95D-A05F-41A4-8BDD-BEF7939E1497}" destId="{F87EE507-527F-4258-8E4F-630BD51F6C11}" srcOrd="0" destOrd="0" presId="urn:microsoft.com/office/officeart/2005/8/layout/chevron2"/>
    <dgm:cxn modelId="{B3C99E42-0C0F-4D7C-9E62-706CD6BB2E60}" srcId="{FB25BE3D-A5B5-4E6D-A03B-03ABC9684561}" destId="{DA2DB2FE-219E-4AA6-94CA-69EAC4D2179C}" srcOrd="3" destOrd="0" parTransId="{578EE7D6-3D1E-4C15-8D96-D5EFA46BDAF9}" sibTransId="{6A4D6636-8EE5-4AD1-9832-3038CED5D471}"/>
    <dgm:cxn modelId="{D576F341-2751-4F88-9CC8-3E8007CFDEBB}" srcId="{68BE4145-EFF4-49E6-BBC2-638C04B6905E}" destId="{68EDE5EC-9612-4C65-8798-BB2832EB50EA}" srcOrd="0" destOrd="0" parTransId="{6E1D1461-A3C4-4EB7-B616-C891344B6885}" sibTransId="{FE3C218F-A019-4191-9A64-C9B7FD7FF67D}"/>
    <dgm:cxn modelId="{2C8922CD-1A99-4BFC-B757-941554B7393C}" srcId="{6607C63E-4635-4FBE-9782-58DE675DE1BF}" destId="{24611478-DBBB-4F13-BBF8-5B299D13250E}" srcOrd="0" destOrd="0" parTransId="{F11649F3-DC4C-4A85-AE1A-18471A917860}" sibTransId="{40A5A3F8-DFFA-44E5-9C23-87D4BA8A3C71}"/>
    <dgm:cxn modelId="{C594C3A4-FB9A-433F-BF8A-6FFD0953800D}" type="presParOf" srcId="{3AE05C6E-8CED-4331-8143-7945987548B3}" destId="{8016AE2A-485F-44FD-8422-204D66AF919C}" srcOrd="0" destOrd="0" presId="urn:microsoft.com/office/officeart/2005/8/layout/chevron2"/>
    <dgm:cxn modelId="{5B6D10F1-0F51-462A-B376-87AF6DFCC996}" type="presParOf" srcId="{8016AE2A-485F-44FD-8422-204D66AF919C}" destId="{FB907307-E40C-40D5-8E5A-358796FF36EB}" srcOrd="0" destOrd="0" presId="urn:microsoft.com/office/officeart/2005/8/layout/chevron2"/>
    <dgm:cxn modelId="{05D31993-237F-415D-9160-9C789ADCF64E}" type="presParOf" srcId="{8016AE2A-485F-44FD-8422-204D66AF919C}" destId="{B0A641CF-7997-485E-B24F-2BE2B3E08E72}" srcOrd="1" destOrd="0" presId="urn:microsoft.com/office/officeart/2005/8/layout/chevron2"/>
    <dgm:cxn modelId="{EB5B28BD-601B-472A-8CCB-EB22C4DD9354}" type="presParOf" srcId="{3AE05C6E-8CED-4331-8143-7945987548B3}" destId="{E95E6B00-1483-480F-899F-DADD3A0D8636}" srcOrd="1" destOrd="0" presId="urn:microsoft.com/office/officeart/2005/8/layout/chevron2"/>
    <dgm:cxn modelId="{BC62F96E-A3F0-4CD3-AE00-82C4E37775D2}" type="presParOf" srcId="{3AE05C6E-8CED-4331-8143-7945987548B3}" destId="{C8FB1D5D-7EBF-4DBA-A520-5C658BE93B33}" srcOrd="2" destOrd="0" presId="urn:microsoft.com/office/officeart/2005/8/layout/chevron2"/>
    <dgm:cxn modelId="{D5F0B3CC-9EE7-42B0-9251-B9F1B3053362}" type="presParOf" srcId="{C8FB1D5D-7EBF-4DBA-A520-5C658BE93B33}" destId="{07CFC520-8A38-4D16-B299-A7C6AD22DEE4}" srcOrd="0" destOrd="0" presId="urn:microsoft.com/office/officeart/2005/8/layout/chevron2"/>
    <dgm:cxn modelId="{5CBA9A00-9E6A-46D1-9D30-C8A3D9156DF3}" type="presParOf" srcId="{C8FB1D5D-7EBF-4DBA-A520-5C658BE93B33}" destId="{DE02032D-E73C-4631-9016-5DE23B0569E9}" srcOrd="1" destOrd="0" presId="urn:microsoft.com/office/officeart/2005/8/layout/chevron2"/>
    <dgm:cxn modelId="{4DC4F916-BBD1-4CBF-83FB-002D7131AC9E}" type="presParOf" srcId="{3AE05C6E-8CED-4331-8143-7945987548B3}" destId="{B68BF796-53E5-4DAD-BD3E-A26828E3C9C2}" srcOrd="3" destOrd="0" presId="urn:microsoft.com/office/officeart/2005/8/layout/chevron2"/>
    <dgm:cxn modelId="{EAF18D4B-C138-4112-B5E5-DD4152B88327}" type="presParOf" srcId="{3AE05C6E-8CED-4331-8143-7945987548B3}" destId="{B4FAD63C-2EDE-41DB-946B-46B24B36914B}" srcOrd="4" destOrd="0" presId="urn:microsoft.com/office/officeart/2005/8/layout/chevron2"/>
    <dgm:cxn modelId="{AEFF21A7-7AD6-4E47-BAC4-792435687EFD}" type="presParOf" srcId="{B4FAD63C-2EDE-41DB-946B-46B24B36914B}" destId="{41BF7C5E-41AA-4316-A4E2-03B692459C1B}" srcOrd="0" destOrd="0" presId="urn:microsoft.com/office/officeart/2005/8/layout/chevron2"/>
    <dgm:cxn modelId="{E1647767-BE6A-4D98-8C74-C6AB8B255F09}" type="presParOf" srcId="{B4FAD63C-2EDE-41DB-946B-46B24B36914B}" destId="{2A16AF64-756F-473A-BB1B-11037BC546DC}" srcOrd="1" destOrd="0" presId="urn:microsoft.com/office/officeart/2005/8/layout/chevron2"/>
    <dgm:cxn modelId="{869CE071-EC78-4901-ACA0-BCF00D9A6A14}" type="presParOf" srcId="{3AE05C6E-8CED-4331-8143-7945987548B3}" destId="{77B53905-0ECB-409E-A678-EF18DF41D097}" srcOrd="5" destOrd="0" presId="urn:microsoft.com/office/officeart/2005/8/layout/chevron2"/>
    <dgm:cxn modelId="{2A248409-1BC6-44B4-83EC-D96801DC4640}" type="presParOf" srcId="{3AE05C6E-8CED-4331-8143-7945987548B3}" destId="{DAF5BD24-6335-49CB-8326-B02E927ABFA6}" srcOrd="6" destOrd="0" presId="urn:microsoft.com/office/officeart/2005/8/layout/chevron2"/>
    <dgm:cxn modelId="{A95AC49F-45E8-4F42-BF73-4D260E8BE4AF}" type="presParOf" srcId="{DAF5BD24-6335-49CB-8326-B02E927ABFA6}" destId="{24E2DF5C-D3A7-40BA-94E1-0289577C28FB}" srcOrd="0" destOrd="0" presId="urn:microsoft.com/office/officeart/2005/8/layout/chevron2"/>
    <dgm:cxn modelId="{5F14DB76-5C90-4D15-989C-242BF57C7B58}" type="presParOf" srcId="{DAF5BD24-6335-49CB-8326-B02E927ABFA6}" destId="{81028CFD-0F5E-491E-9ECA-E14997A1396F}" srcOrd="1" destOrd="0" presId="urn:microsoft.com/office/officeart/2005/8/layout/chevron2"/>
    <dgm:cxn modelId="{38028439-16C6-4139-9785-D336C531362E}" type="presParOf" srcId="{3AE05C6E-8CED-4331-8143-7945987548B3}" destId="{6D066766-2564-40F6-8A88-8CB8E07025AD}" srcOrd="7" destOrd="0" presId="urn:microsoft.com/office/officeart/2005/8/layout/chevron2"/>
    <dgm:cxn modelId="{CC5B3D3B-99C1-47F0-8079-AB607A8DD046}" type="presParOf" srcId="{3AE05C6E-8CED-4331-8143-7945987548B3}" destId="{1A912C5C-4082-4CA2-A743-677060243E0E}" srcOrd="8" destOrd="0" presId="urn:microsoft.com/office/officeart/2005/8/layout/chevron2"/>
    <dgm:cxn modelId="{3126F349-C492-4653-BFAD-CD590E535E5C}" type="presParOf" srcId="{1A912C5C-4082-4CA2-A743-677060243E0E}" destId="{AE60A6CE-ADE2-4FE8-9FDA-65D46BD985F9}" srcOrd="0" destOrd="0" presId="urn:microsoft.com/office/officeart/2005/8/layout/chevron2"/>
    <dgm:cxn modelId="{A1E86AFA-C403-4924-B17D-E3D332AD814A}" type="presParOf" srcId="{1A912C5C-4082-4CA2-A743-677060243E0E}" destId="{91792383-E3C9-400C-99B7-476C7DC54CB6}" srcOrd="1" destOrd="0" presId="urn:microsoft.com/office/officeart/2005/8/layout/chevron2"/>
    <dgm:cxn modelId="{DE31580A-D80D-4CC3-B3DB-9819372BD0C7}" type="presParOf" srcId="{3AE05C6E-8CED-4331-8143-7945987548B3}" destId="{EAFA3FAB-39C1-437C-A07A-D4F36865683D}" srcOrd="9" destOrd="0" presId="urn:microsoft.com/office/officeart/2005/8/layout/chevron2"/>
    <dgm:cxn modelId="{AF16946D-8962-4F46-8816-131241F57996}" type="presParOf" srcId="{3AE05C6E-8CED-4331-8143-7945987548B3}" destId="{FCA5816A-7AB2-4ADF-AC27-AFC1E76317DD}" srcOrd="10" destOrd="0" presId="urn:microsoft.com/office/officeart/2005/8/layout/chevron2"/>
    <dgm:cxn modelId="{CE95D958-CE46-4B81-9BD3-6E2492C7A085}" type="presParOf" srcId="{FCA5816A-7AB2-4ADF-AC27-AFC1E76317DD}" destId="{BFA879D6-B7EF-4728-8916-C108D207DF07}" srcOrd="0" destOrd="0" presId="urn:microsoft.com/office/officeart/2005/8/layout/chevron2"/>
    <dgm:cxn modelId="{CE80CAC3-B300-40B4-B4AA-C5CBCFB2EAC4}" type="presParOf" srcId="{FCA5816A-7AB2-4ADF-AC27-AFC1E76317DD}" destId="{4D037B26-1CD3-48B6-AB5F-979D63B16869}" srcOrd="1" destOrd="0" presId="urn:microsoft.com/office/officeart/2005/8/layout/chevron2"/>
    <dgm:cxn modelId="{A564163F-A8C3-43A1-B2E8-119E94CA431F}" type="presParOf" srcId="{3AE05C6E-8CED-4331-8143-7945987548B3}" destId="{9AC52C43-0EA0-42D3-AAD3-52D7E1E575EA}" srcOrd="11" destOrd="0" presId="urn:microsoft.com/office/officeart/2005/8/layout/chevron2"/>
    <dgm:cxn modelId="{F8386981-A2ED-4271-88C0-E606B67E5FE7}" type="presParOf" srcId="{3AE05C6E-8CED-4331-8143-7945987548B3}" destId="{CD74C9C5-16EA-4016-9103-0C6A9DEFB0C5}" srcOrd="12" destOrd="0" presId="urn:microsoft.com/office/officeart/2005/8/layout/chevron2"/>
    <dgm:cxn modelId="{C0C72E7A-CEF5-4B8D-99A1-F8041151D0D2}" type="presParOf" srcId="{CD74C9C5-16EA-4016-9103-0C6A9DEFB0C5}" destId="{086F3863-7C02-4DAB-BE9D-0E646A6D6BBE}" srcOrd="0" destOrd="0" presId="urn:microsoft.com/office/officeart/2005/8/layout/chevron2"/>
    <dgm:cxn modelId="{23639C15-AAB5-4AF2-8830-3A56AE1CBD78}" type="presParOf" srcId="{CD74C9C5-16EA-4016-9103-0C6A9DEFB0C5}" destId="{40F67FAB-CAE9-4AC7-92F3-B6FB9EFBDCBC}" srcOrd="1" destOrd="0" presId="urn:microsoft.com/office/officeart/2005/8/layout/chevron2"/>
    <dgm:cxn modelId="{1B345A0F-4B8A-49D2-8636-398538A00E81}" type="presParOf" srcId="{3AE05C6E-8CED-4331-8143-7945987548B3}" destId="{E4C2D05B-E5D1-4A9A-B589-258F8FE287BB}" srcOrd="13" destOrd="0" presId="urn:microsoft.com/office/officeart/2005/8/layout/chevron2"/>
    <dgm:cxn modelId="{E3EA4C5A-E0F7-4719-B8C3-7E83C8631AFE}" type="presParOf" srcId="{3AE05C6E-8CED-4331-8143-7945987548B3}" destId="{625D6754-36E0-43E1-8B6A-20B582CE87AA}" srcOrd="14" destOrd="0" presId="urn:microsoft.com/office/officeart/2005/8/layout/chevron2"/>
    <dgm:cxn modelId="{C1C8CB47-1EEA-49A2-B834-E245D49C370B}" type="presParOf" srcId="{625D6754-36E0-43E1-8B6A-20B582CE87AA}" destId="{F87EE507-527F-4258-8E4F-630BD51F6C11}" srcOrd="0" destOrd="0" presId="urn:microsoft.com/office/officeart/2005/8/layout/chevron2"/>
    <dgm:cxn modelId="{41D1AD1B-2DBC-4344-92AF-A1F793C9A341}" type="presParOf" srcId="{625D6754-36E0-43E1-8B6A-20B582CE87AA}" destId="{CE1B5F40-EB36-42CD-8495-EB272292D463}" srcOrd="1" destOrd="0" presId="urn:microsoft.com/office/officeart/2005/8/layout/chevron2"/>
    <dgm:cxn modelId="{CB0F435F-87A6-4AD0-BBA5-58F7E51F1885}" type="presParOf" srcId="{3AE05C6E-8CED-4331-8143-7945987548B3}" destId="{308CDF69-C81F-4AFE-A842-8184BC5E71A7}" srcOrd="15" destOrd="0" presId="urn:microsoft.com/office/officeart/2005/8/layout/chevron2"/>
    <dgm:cxn modelId="{131EA1A3-AF9D-48E0-95C2-06E0CBF5083D}" type="presParOf" srcId="{3AE05C6E-8CED-4331-8143-7945987548B3}" destId="{6183DFDD-79ED-445A-8052-D575724E86C3}" srcOrd="16" destOrd="0" presId="urn:microsoft.com/office/officeart/2005/8/layout/chevron2"/>
    <dgm:cxn modelId="{1A722082-06DC-459F-89B1-7C5E9081F264}" type="presParOf" srcId="{6183DFDD-79ED-445A-8052-D575724E86C3}" destId="{D85DDC1F-8468-47C0-A2C6-47FFCC3AF221}" srcOrd="0" destOrd="0" presId="urn:microsoft.com/office/officeart/2005/8/layout/chevron2"/>
    <dgm:cxn modelId="{31226C4E-E9F4-4ABA-AE30-962A97D58280}" type="presParOf" srcId="{6183DFDD-79ED-445A-8052-D575724E86C3}" destId="{2331E6B5-B376-4C5A-BF45-B22CFB8E5E32}" srcOrd="1" destOrd="0" presId="urn:microsoft.com/office/officeart/2005/8/layout/chevron2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B907307-E40C-40D5-8E5A-358796FF36EB}">
      <dsp:nvSpPr>
        <dsp:cNvPr id="0" name=""/>
        <dsp:cNvSpPr/>
      </dsp:nvSpPr>
      <dsp:spPr>
        <a:xfrm rot="5400000">
          <a:off x="-95502" y="96965"/>
          <a:ext cx="636680" cy="445676"/>
        </a:xfrm>
        <a:prstGeom prst="chevron">
          <a:avLst/>
        </a:prstGeom>
        <a:gradFill rotWithShape="0">
          <a:gsLst>
            <a:gs pos="0">
              <a:schemeClr val="bg1">
                <a:lumMod val="85000"/>
              </a:schemeClr>
            </a:gs>
            <a:gs pos="39999">
              <a:srgbClr val="85C2FF"/>
            </a:gs>
            <a:gs pos="70000">
              <a:srgbClr val="C4D6EB"/>
            </a:gs>
            <a:gs pos="100000">
              <a:srgbClr val="FFEBFA"/>
            </a:gs>
          </a:gsLst>
          <a:lin ang="16200000" scaled="0"/>
        </a:gra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200" kern="1200" dirty="0"/>
            <a:t>TRL 1</a:t>
          </a:r>
        </a:p>
      </dsp:txBody>
      <dsp:txXfrm rot="-5400000">
        <a:off x="0" y="224301"/>
        <a:ext cx="445676" cy="191004"/>
      </dsp:txXfrm>
    </dsp:sp>
    <dsp:sp modelId="{B0A641CF-7997-485E-B24F-2BE2B3E08E72}">
      <dsp:nvSpPr>
        <dsp:cNvPr id="0" name=""/>
        <dsp:cNvSpPr/>
      </dsp:nvSpPr>
      <dsp:spPr>
        <a:xfrm rot="5400000">
          <a:off x="1096037" y="-648897"/>
          <a:ext cx="413842" cy="1714563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extrusionH="12700" prstMaterial="plastic">
          <a:bevelT w="50800" h="50800"/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85344" tIns="7620" rIns="7620" bIns="7620" numCol="1" spcCol="1270" anchor="ctr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fr-FR" sz="1200" kern="1200" dirty="0"/>
            <a:t>Basic </a:t>
          </a:r>
          <a:r>
            <a:rPr lang="en-GB" sz="1200" kern="1200" noProof="0" dirty="0" smtClean="0"/>
            <a:t>Principles</a:t>
          </a:r>
          <a:endParaRPr lang="en-GB" sz="1200" kern="1200" noProof="0" dirty="0"/>
        </a:p>
      </dsp:txBody>
      <dsp:txXfrm rot="-5400000">
        <a:off x="445677" y="21665"/>
        <a:ext cx="1694361" cy="373438"/>
      </dsp:txXfrm>
    </dsp:sp>
    <dsp:sp modelId="{07CFC520-8A38-4D16-B299-A7C6AD22DEE4}">
      <dsp:nvSpPr>
        <dsp:cNvPr id="0" name=""/>
        <dsp:cNvSpPr/>
      </dsp:nvSpPr>
      <dsp:spPr>
        <a:xfrm rot="5400000">
          <a:off x="-95502" y="602079"/>
          <a:ext cx="636680" cy="445676"/>
        </a:xfrm>
        <a:prstGeom prst="chevron">
          <a:avLst/>
        </a:prstGeom>
        <a:gradFill rotWithShape="0">
          <a:gsLst>
            <a:gs pos="0">
              <a:schemeClr val="bg1">
                <a:lumMod val="85000"/>
              </a:schemeClr>
            </a:gs>
            <a:gs pos="39999">
              <a:srgbClr val="85C2FF"/>
            </a:gs>
            <a:gs pos="70000">
              <a:srgbClr val="C4D6EB"/>
            </a:gs>
            <a:gs pos="100000">
              <a:srgbClr val="FFEBFA"/>
            </a:gs>
          </a:gsLst>
          <a:lin ang="16200000" scaled="0"/>
        </a:gra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200" kern="1200" dirty="0"/>
            <a:t>TRL 2</a:t>
          </a:r>
        </a:p>
      </dsp:txBody>
      <dsp:txXfrm rot="-5400000">
        <a:off x="0" y="729415"/>
        <a:ext cx="445676" cy="191004"/>
      </dsp:txXfrm>
    </dsp:sp>
    <dsp:sp modelId="{DE02032D-E73C-4631-9016-5DE23B0569E9}">
      <dsp:nvSpPr>
        <dsp:cNvPr id="0" name=""/>
        <dsp:cNvSpPr/>
      </dsp:nvSpPr>
      <dsp:spPr>
        <a:xfrm rot="5400000">
          <a:off x="1096037" y="-143783"/>
          <a:ext cx="413842" cy="1714563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extrusionH="12700" prstMaterial="plastic">
          <a:bevelT w="50800" h="50800"/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85344" tIns="7620" rIns="7620" bIns="7620" numCol="1" spcCol="1270" anchor="ctr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GB" sz="1200" kern="1200" noProof="0" dirty="0" smtClean="0"/>
            <a:t>Technology Concept</a:t>
          </a:r>
          <a:endParaRPr lang="en-GB" sz="1200" kern="1200" noProof="0" dirty="0"/>
        </a:p>
      </dsp:txBody>
      <dsp:txXfrm rot="-5400000">
        <a:off x="445677" y="526779"/>
        <a:ext cx="1694361" cy="373438"/>
      </dsp:txXfrm>
    </dsp:sp>
    <dsp:sp modelId="{41BF7C5E-41AA-4316-A4E2-03B692459C1B}">
      <dsp:nvSpPr>
        <dsp:cNvPr id="0" name=""/>
        <dsp:cNvSpPr/>
      </dsp:nvSpPr>
      <dsp:spPr>
        <a:xfrm rot="5400000">
          <a:off x="-95502" y="1107193"/>
          <a:ext cx="636680" cy="445676"/>
        </a:xfrm>
        <a:prstGeom prst="chevron">
          <a:avLst/>
        </a:prstGeom>
        <a:gradFill rotWithShape="0">
          <a:gsLst>
            <a:gs pos="0">
              <a:schemeClr val="bg1">
                <a:lumMod val="85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200" kern="1200" dirty="0"/>
            <a:t>TRL 3</a:t>
          </a:r>
        </a:p>
      </dsp:txBody>
      <dsp:txXfrm rot="-5400000">
        <a:off x="0" y="1234529"/>
        <a:ext cx="445676" cy="191004"/>
      </dsp:txXfrm>
    </dsp:sp>
    <dsp:sp modelId="{2A16AF64-756F-473A-BB1B-11037BC546DC}">
      <dsp:nvSpPr>
        <dsp:cNvPr id="0" name=""/>
        <dsp:cNvSpPr/>
      </dsp:nvSpPr>
      <dsp:spPr>
        <a:xfrm rot="5400000">
          <a:off x="1096037" y="361330"/>
          <a:ext cx="413842" cy="1714563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extrusionH="12700" prstMaterial="plastic">
          <a:bevelT w="50800" h="50800"/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85344" tIns="7620" rIns="7620" bIns="7620" numCol="1" spcCol="1270" anchor="ctr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fr-FR" sz="1200" kern="1200" dirty="0"/>
            <a:t> Proof of Concept</a:t>
          </a:r>
        </a:p>
      </dsp:txBody>
      <dsp:txXfrm rot="-5400000">
        <a:off x="445677" y="1031892"/>
        <a:ext cx="1694361" cy="373438"/>
      </dsp:txXfrm>
    </dsp:sp>
    <dsp:sp modelId="{24E2DF5C-D3A7-40BA-94E1-0289577C28FB}">
      <dsp:nvSpPr>
        <dsp:cNvPr id="0" name=""/>
        <dsp:cNvSpPr/>
      </dsp:nvSpPr>
      <dsp:spPr>
        <a:xfrm rot="5400000">
          <a:off x="-95502" y="1612307"/>
          <a:ext cx="636680" cy="445676"/>
        </a:xfrm>
        <a:prstGeom prst="chevron">
          <a:avLst/>
        </a:prstGeom>
        <a:gradFill rotWithShape="0">
          <a:gsLst>
            <a:gs pos="0">
              <a:srgbClr val="002060"/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200" kern="1200" dirty="0"/>
            <a:t>TRL 4</a:t>
          </a:r>
        </a:p>
      </dsp:txBody>
      <dsp:txXfrm rot="-5400000">
        <a:off x="0" y="1739643"/>
        <a:ext cx="445676" cy="191004"/>
      </dsp:txXfrm>
    </dsp:sp>
    <dsp:sp modelId="{81028CFD-0F5E-491E-9ECA-E14997A1396F}">
      <dsp:nvSpPr>
        <dsp:cNvPr id="0" name=""/>
        <dsp:cNvSpPr/>
      </dsp:nvSpPr>
      <dsp:spPr>
        <a:xfrm rot="5400000">
          <a:off x="1096037" y="866444"/>
          <a:ext cx="413842" cy="1714563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extrusionH="12700" prstMaterial="plastic">
          <a:bevelT w="50800" h="50800"/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85344" tIns="7620" rIns="7620" bIns="7620" numCol="1" spcCol="1270" anchor="ctr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GB" sz="1200" kern="1200" noProof="0" dirty="0" smtClean="0"/>
            <a:t>Laboratory</a:t>
          </a:r>
          <a:r>
            <a:rPr lang="fr-FR" sz="1200" kern="1200" dirty="0" smtClean="0"/>
            <a:t> </a:t>
          </a:r>
          <a:r>
            <a:rPr lang="fr-FR" sz="1200" kern="1200" dirty="0"/>
            <a:t>Validation</a:t>
          </a:r>
        </a:p>
      </dsp:txBody>
      <dsp:txXfrm rot="-5400000">
        <a:off x="445677" y="1537006"/>
        <a:ext cx="1694361" cy="373438"/>
      </dsp:txXfrm>
    </dsp:sp>
    <dsp:sp modelId="{AE60A6CE-ADE2-4FE8-9FDA-65D46BD985F9}">
      <dsp:nvSpPr>
        <dsp:cNvPr id="0" name=""/>
        <dsp:cNvSpPr/>
      </dsp:nvSpPr>
      <dsp:spPr>
        <a:xfrm rot="5400000">
          <a:off x="-95502" y="2117421"/>
          <a:ext cx="636680" cy="445676"/>
        </a:xfrm>
        <a:prstGeom prst="chevron">
          <a:avLst/>
        </a:prstGeom>
        <a:gradFill rotWithShape="0">
          <a:gsLst>
            <a:gs pos="0">
              <a:srgbClr val="002060"/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200" kern="1200" dirty="0"/>
            <a:t>TRL 5</a:t>
          </a:r>
        </a:p>
      </dsp:txBody>
      <dsp:txXfrm rot="-5400000">
        <a:off x="0" y="2244757"/>
        <a:ext cx="445676" cy="191004"/>
      </dsp:txXfrm>
    </dsp:sp>
    <dsp:sp modelId="{91792383-E3C9-400C-99B7-476C7DC54CB6}">
      <dsp:nvSpPr>
        <dsp:cNvPr id="0" name=""/>
        <dsp:cNvSpPr/>
      </dsp:nvSpPr>
      <dsp:spPr>
        <a:xfrm rot="5400000">
          <a:off x="1096037" y="1371559"/>
          <a:ext cx="413842" cy="1714563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extrusionH="12700" prstMaterial="plastic">
          <a:bevelT w="50800" h="50800"/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85344" tIns="7620" rIns="7620" bIns="7620" numCol="1" spcCol="1270" anchor="ctr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GB" sz="1200" kern="1200" noProof="0" dirty="0" smtClean="0"/>
            <a:t>Environment Validation</a:t>
          </a:r>
          <a:endParaRPr lang="en-GB" sz="1200" kern="1200" noProof="0" dirty="0"/>
        </a:p>
      </dsp:txBody>
      <dsp:txXfrm rot="-5400000">
        <a:off x="445677" y="2042121"/>
        <a:ext cx="1694361" cy="373438"/>
      </dsp:txXfrm>
    </dsp:sp>
    <dsp:sp modelId="{BFA879D6-B7EF-4728-8916-C108D207DF07}">
      <dsp:nvSpPr>
        <dsp:cNvPr id="0" name=""/>
        <dsp:cNvSpPr/>
      </dsp:nvSpPr>
      <dsp:spPr>
        <a:xfrm rot="5400000">
          <a:off x="-95502" y="2622536"/>
          <a:ext cx="636680" cy="445676"/>
        </a:xfrm>
        <a:prstGeom prst="chevron">
          <a:avLst/>
        </a:prstGeom>
        <a:gradFill rotWithShape="0">
          <a:gsLst>
            <a:gs pos="0">
              <a:srgbClr val="002060"/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200" kern="1200" dirty="0"/>
            <a:t>TRL 6</a:t>
          </a:r>
        </a:p>
      </dsp:txBody>
      <dsp:txXfrm rot="-5400000">
        <a:off x="0" y="2749872"/>
        <a:ext cx="445676" cy="191004"/>
      </dsp:txXfrm>
    </dsp:sp>
    <dsp:sp modelId="{4D037B26-1CD3-48B6-AB5F-979D63B16869}">
      <dsp:nvSpPr>
        <dsp:cNvPr id="0" name=""/>
        <dsp:cNvSpPr/>
      </dsp:nvSpPr>
      <dsp:spPr>
        <a:xfrm rot="5400000">
          <a:off x="1096037" y="1876673"/>
          <a:ext cx="413842" cy="1714563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extrusionH="12700" prstMaterial="plastic">
          <a:bevelT w="50800" h="50800"/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85344" tIns="7620" rIns="7620" bIns="7620" numCol="1" spcCol="1270" anchor="ctr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GB" sz="1200" kern="1200" noProof="0" dirty="0" smtClean="0"/>
            <a:t>Prototype or demonstration</a:t>
          </a:r>
          <a:endParaRPr lang="en-GB" sz="1200" kern="1200" noProof="0" dirty="0"/>
        </a:p>
      </dsp:txBody>
      <dsp:txXfrm rot="-5400000">
        <a:off x="445677" y="2547235"/>
        <a:ext cx="1694361" cy="373438"/>
      </dsp:txXfrm>
    </dsp:sp>
    <dsp:sp modelId="{086F3863-7C02-4DAB-BE9D-0E646A6D6BBE}">
      <dsp:nvSpPr>
        <dsp:cNvPr id="0" name=""/>
        <dsp:cNvSpPr/>
      </dsp:nvSpPr>
      <dsp:spPr>
        <a:xfrm rot="5400000">
          <a:off x="-95502" y="3127650"/>
          <a:ext cx="636680" cy="445676"/>
        </a:xfrm>
        <a:prstGeom prst="chevron">
          <a:avLst/>
        </a:prstGeom>
        <a:gradFill rotWithShape="0">
          <a:gsLst>
            <a:gs pos="0">
              <a:schemeClr val="bg1">
                <a:lumMod val="85000"/>
              </a:schemeClr>
            </a:gs>
            <a:gs pos="39999">
              <a:srgbClr val="85C2FF"/>
            </a:gs>
            <a:gs pos="70000">
              <a:srgbClr val="C4D6EB"/>
            </a:gs>
            <a:gs pos="100000">
              <a:srgbClr val="FFEBFA"/>
            </a:gs>
          </a:gsLst>
          <a:lin ang="16200000" scaled="0"/>
        </a:gra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200" kern="1200" dirty="0"/>
            <a:t>TRL 7</a:t>
          </a:r>
        </a:p>
      </dsp:txBody>
      <dsp:txXfrm rot="-5400000">
        <a:off x="0" y="3254986"/>
        <a:ext cx="445676" cy="191004"/>
      </dsp:txXfrm>
    </dsp:sp>
    <dsp:sp modelId="{40F67FAB-CAE9-4AC7-92F3-B6FB9EFBDCBC}">
      <dsp:nvSpPr>
        <dsp:cNvPr id="0" name=""/>
        <dsp:cNvSpPr/>
      </dsp:nvSpPr>
      <dsp:spPr>
        <a:xfrm rot="5400000">
          <a:off x="1096037" y="2381787"/>
          <a:ext cx="413842" cy="1714563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extrusionH="12700" prstMaterial="plastic">
          <a:bevelT w="50800" h="50800"/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85344" tIns="7620" rIns="7620" bIns="7620" numCol="1" spcCol="1270" anchor="ctr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GB" sz="1200" kern="1200" noProof="0" dirty="0" smtClean="0"/>
            <a:t>System in Environment</a:t>
          </a:r>
          <a:endParaRPr lang="en-GB" sz="1200" kern="1200" noProof="0" dirty="0"/>
        </a:p>
      </dsp:txBody>
      <dsp:txXfrm rot="-5400000">
        <a:off x="445677" y="3052349"/>
        <a:ext cx="1694361" cy="373438"/>
      </dsp:txXfrm>
    </dsp:sp>
    <dsp:sp modelId="{F87EE507-527F-4258-8E4F-630BD51F6C11}">
      <dsp:nvSpPr>
        <dsp:cNvPr id="0" name=""/>
        <dsp:cNvSpPr/>
      </dsp:nvSpPr>
      <dsp:spPr>
        <a:xfrm rot="5400000">
          <a:off x="-95502" y="3632764"/>
          <a:ext cx="636680" cy="445676"/>
        </a:xfrm>
        <a:prstGeom prst="chevron">
          <a:avLst/>
        </a:prstGeom>
        <a:gradFill rotWithShape="0">
          <a:gsLst>
            <a:gs pos="0">
              <a:schemeClr val="bg1">
                <a:lumMod val="85000"/>
              </a:schemeClr>
            </a:gs>
            <a:gs pos="39999">
              <a:srgbClr val="85C2FF"/>
            </a:gs>
            <a:gs pos="70000">
              <a:srgbClr val="C4D6EB"/>
            </a:gs>
            <a:gs pos="100000">
              <a:srgbClr val="FFEBFA"/>
            </a:gs>
          </a:gsLst>
          <a:lin ang="16200000" scaled="0"/>
        </a:gra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200" kern="1200" dirty="0"/>
            <a:t>TRL 8</a:t>
          </a:r>
        </a:p>
      </dsp:txBody>
      <dsp:txXfrm rot="-5400000">
        <a:off x="0" y="3760100"/>
        <a:ext cx="445676" cy="191004"/>
      </dsp:txXfrm>
    </dsp:sp>
    <dsp:sp modelId="{CE1B5F40-EB36-42CD-8495-EB272292D463}">
      <dsp:nvSpPr>
        <dsp:cNvPr id="0" name=""/>
        <dsp:cNvSpPr/>
      </dsp:nvSpPr>
      <dsp:spPr>
        <a:xfrm rot="5400000">
          <a:off x="1096037" y="2886901"/>
          <a:ext cx="413842" cy="1714563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extrusionH="12700" prstMaterial="plastic">
          <a:bevelT w="50800" h="50800"/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85344" tIns="7620" rIns="7620" bIns="7620" numCol="1" spcCol="1270" anchor="ctr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GB" sz="1200" kern="1200" noProof="0" dirty="0" smtClean="0"/>
            <a:t>Test and Demonstration</a:t>
          </a:r>
          <a:endParaRPr lang="en-GB" sz="1200" kern="1200" noProof="0" dirty="0"/>
        </a:p>
      </dsp:txBody>
      <dsp:txXfrm rot="-5400000">
        <a:off x="445677" y="3557463"/>
        <a:ext cx="1694361" cy="373438"/>
      </dsp:txXfrm>
    </dsp:sp>
    <dsp:sp modelId="{D85DDC1F-8468-47C0-A2C6-47FFCC3AF221}">
      <dsp:nvSpPr>
        <dsp:cNvPr id="0" name=""/>
        <dsp:cNvSpPr/>
      </dsp:nvSpPr>
      <dsp:spPr>
        <a:xfrm rot="5400000">
          <a:off x="-95502" y="4137878"/>
          <a:ext cx="636680" cy="445676"/>
        </a:xfrm>
        <a:prstGeom prst="chevron">
          <a:avLst/>
        </a:prstGeom>
        <a:gradFill rotWithShape="0">
          <a:gsLst>
            <a:gs pos="0">
              <a:schemeClr val="bg1">
                <a:lumMod val="85000"/>
              </a:schemeClr>
            </a:gs>
            <a:gs pos="39999">
              <a:srgbClr val="85C2FF"/>
            </a:gs>
            <a:gs pos="70000">
              <a:srgbClr val="C4D6EB"/>
            </a:gs>
            <a:gs pos="100000">
              <a:srgbClr val="FFEBFA"/>
            </a:gs>
          </a:gsLst>
          <a:lin ang="16200000" scaled="0"/>
        </a:gra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200" kern="1200" dirty="0"/>
            <a:t>TRL 9</a:t>
          </a:r>
        </a:p>
      </dsp:txBody>
      <dsp:txXfrm rot="-5400000">
        <a:off x="0" y="4265214"/>
        <a:ext cx="445676" cy="191004"/>
      </dsp:txXfrm>
    </dsp:sp>
    <dsp:sp modelId="{2331E6B5-B376-4C5A-BF45-B22CFB8E5E32}">
      <dsp:nvSpPr>
        <dsp:cNvPr id="0" name=""/>
        <dsp:cNvSpPr/>
      </dsp:nvSpPr>
      <dsp:spPr>
        <a:xfrm rot="5400000">
          <a:off x="1096037" y="3392015"/>
          <a:ext cx="413842" cy="1714563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extrusionH="12700" prstMaterial="plastic">
          <a:bevelT w="50800" h="50800"/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85344" tIns="7620" rIns="7620" bIns="7620" numCol="1" spcCol="1270" anchor="ctr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GB" sz="1200" kern="1200" noProof="0" dirty="0" smtClean="0"/>
            <a:t>Successful tests</a:t>
          </a:r>
          <a:endParaRPr lang="en-GB" sz="1200" kern="1200" noProof="0" dirty="0"/>
        </a:p>
      </dsp:txBody>
      <dsp:txXfrm rot="-5400000">
        <a:off x="445677" y="4062577"/>
        <a:ext cx="1694361" cy="373438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hevron2">
  <dgm:title val=""/>
  <dgm:desc val=""/>
  <dgm:catLst>
    <dgm:cat type="process" pri="12000"/>
    <dgm:cat type="list" pri="16000"/>
    <dgm:cat type="convert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</dgm:ptLst>
      <dgm:cxnLst>
        <dgm:cxn modelId="4" srcId="0" destId="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alg type="lin">
      <dgm:param type="linDir" val="fromT"/>
      <dgm:param type="nodeHorzAlign" val="l"/>
    </dgm:alg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h" for="des" forName="parentText" op="equ"/>
      <dgm:constr type="h" for="ch" forName="sp" val="-14.88"/>
      <dgm:constr type="h" for="ch" forName="sp" refType="w" refFor="des" refForName="parentText" op="gte" fact="-0.3"/>
      <dgm:constr type="primFontSz" for="des" forName="parentText" op="equ" val="65"/>
      <dgm:constr type="primFontSz" for="des" forName="descendantText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t" for="ch" forName="parentText"/>
              <dgm:constr type="l" for="ch" forName="parentText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 refType="w" refFor="ch" refForName="pare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if>
          <dgm:else name="Name3">
            <dgm:constrLst>
              <dgm:constr type="t" for="ch" forName="parentText"/>
              <dgm:constr type="r" for="ch" forName="parentText" refType="w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else>
        </dgm:choose>
        <dgm:ruleLst/>
        <dgm:layoutNode name="parentText" styleLbl="alignNode1">
          <dgm:varLst>
            <dgm:chMax val="1"/>
            <dgm:bulletEnabled val="1"/>
          </dgm:varLst>
          <dgm:alg type="tx"/>
          <dgm:shape xmlns:r="http://schemas.openxmlformats.org/officeDocument/2006/relationships" rot="90" type="chevron" r:blip="">
            <dgm:adjLst/>
          </dgm:shape>
          <dgm:presOf axis="self" ptType="node"/>
          <dgm:constrLst>
            <dgm:constr type="lMarg" refType="primFontSz" fact="0.05"/>
            <dgm:constr type="rMarg" refType="primFontSz" fact="0.05"/>
            <dgm:constr type="tMarg" refType="primFontSz" fact="0.05"/>
            <dgm:constr type="bMarg" refType="primFontSz" fact="0.05"/>
          </dgm:constrLst>
          <dgm:ruleLst>
            <dgm:rule type="h" val="100" fact="NaN" max="NaN"/>
            <dgm:rule type="primFontSz" val="24" fact="NaN" max="NaN"/>
            <dgm:rule type="h" val="110" fact="NaN" max="NaN"/>
            <dgm:rule type="primFontSz" val="18" fact="NaN" max="NaN"/>
            <dgm:rule type="h" val="INF" fact="NaN" max="NaN"/>
            <dgm:rule type="primFontSz" val="5" fact="NaN" max="NaN"/>
          </dgm:ruleLst>
        </dgm:layoutNode>
        <dgm:layoutNode name="descendantText" styleLbl="alignAcc1">
          <dgm:varLst>
            <dgm:bulletEnabled val="1"/>
          </dgm:varLst>
          <dgm:choose name="Name4">
            <dgm:if name="Name5" func="var" arg="dir" op="equ" val="norm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90" type="round2SameRect" r:blip="">
                <dgm:adjLst/>
              </dgm:shape>
            </dgm:if>
            <dgm:else name="Name6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-90" type="round2SameRect" r:blip="">
                <dgm:adjLst/>
              </dgm:shape>
            </dgm:else>
          </dgm:choose>
          <dgm:presOf axis="des" ptType="node"/>
          <dgm:choose name="Name7">
            <dgm:if name="Name8" func="var" arg="dir" op="equ" val="norm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rMarg" refType="primFontSz" fact="0.05"/>
              </dgm:constrLst>
            </dgm:if>
            <dgm:else name="Name9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lMarg" refType="primFontSz" fact="0.05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>
            <dgm:constr type="w" val="1"/>
            <dgm:constr type="h" val="37.5"/>
          </dgm:constrLst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3d1">
  <dgm:title val=""/>
  <dgm:desc val=""/>
  <dgm:catLst>
    <dgm:cat type="3D" pri="111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flat" dir="t"/>
    </dgm:scene3d>
    <dgm:sp3d z="1270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flat" dir="t"/>
    </dgm:scene3d>
    <dgm:sp3d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flat" dir="t"/>
    </dgm:scene3d>
    <dgm:sp3d z="-1905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flat" dir="t"/>
    </dgm:scene3d>
    <dgm:sp3d z="-80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flat" dir="t"/>
    </dgm:scene3d>
    <dgm:sp3d z="127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flat" dir="t"/>
    </dgm:scene3d>
    <dgm:sp3d z="-1905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flat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flat" dir="t"/>
    </dgm:scene3d>
    <dgm:sp3d z="-10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FollowNode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flat" dir="t"/>
    </dgm:scene3d>
    <dgm:sp3d z="-190500" extrusionH="127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z="190500"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5" y="1"/>
            <a:ext cx="3076363" cy="511730"/>
          </a:xfrm>
          <a:prstGeom prst="rect">
            <a:avLst/>
          </a:prstGeom>
        </p:spPr>
        <p:txBody>
          <a:bodyPr vert="horz" lIns="94304" tIns="47152" rIns="94304" bIns="47152" rtlCol="0"/>
          <a:lstStyle>
            <a:lvl1pPr algn="l">
              <a:defRPr sz="1200"/>
            </a:lvl1pPr>
          </a:lstStyle>
          <a:p>
            <a:endParaRPr lang="fr-FR" dirty="0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quarter" idx="1"/>
          </p:nvPr>
        </p:nvSpPr>
        <p:spPr>
          <a:xfrm>
            <a:off x="4021299" y="1"/>
            <a:ext cx="3076363" cy="511730"/>
          </a:xfrm>
          <a:prstGeom prst="rect">
            <a:avLst/>
          </a:prstGeom>
        </p:spPr>
        <p:txBody>
          <a:bodyPr vert="horz" lIns="94304" tIns="47152" rIns="94304" bIns="47152" rtlCol="0"/>
          <a:lstStyle>
            <a:lvl1pPr algn="r">
              <a:defRPr sz="1200"/>
            </a:lvl1pPr>
          </a:lstStyle>
          <a:p>
            <a:fld id="{06FF9D5D-90E3-4A2E-A1E7-6196E377C3EA}" type="datetimeFigureOut">
              <a:rPr lang="fr-FR" smtClean="0"/>
              <a:t>30/05/2018</a:t>
            </a:fld>
            <a:endParaRPr lang="fr-FR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2"/>
          </p:nvPr>
        </p:nvSpPr>
        <p:spPr>
          <a:xfrm>
            <a:off x="5" y="9721107"/>
            <a:ext cx="3076363" cy="511730"/>
          </a:xfrm>
          <a:prstGeom prst="rect">
            <a:avLst/>
          </a:prstGeom>
        </p:spPr>
        <p:txBody>
          <a:bodyPr vert="horz" lIns="94304" tIns="47152" rIns="94304" bIns="47152" rtlCol="0" anchor="b"/>
          <a:lstStyle>
            <a:lvl1pPr algn="l">
              <a:defRPr sz="1200"/>
            </a:lvl1pPr>
          </a:lstStyle>
          <a:p>
            <a:endParaRPr lang="fr-FR" dirty="0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3"/>
          </p:nvPr>
        </p:nvSpPr>
        <p:spPr>
          <a:xfrm>
            <a:off x="4021299" y="9721107"/>
            <a:ext cx="3076363" cy="511730"/>
          </a:xfrm>
          <a:prstGeom prst="rect">
            <a:avLst/>
          </a:prstGeom>
        </p:spPr>
        <p:txBody>
          <a:bodyPr vert="horz" lIns="94304" tIns="47152" rIns="94304" bIns="47152" rtlCol="0" anchor="b"/>
          <a:lstStyle>
            <a:lvl1pPr algn="r">
              <a:defRPr sz="1200"/>
            </a:lvl1pPr>
          </a:lstStyle>
          <a:p>
            <a:fld id="{A22B7BBD-FA3F-429C-859A-35AB736AC334}" type="slidenum">
              <a:rPr lang="fr-FR" smtClean="0"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5306480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5" y="1"/>
            <a:ext cx="3076363" cy="511730"/>
          </a:xfrm>
          <a:prstGeom prst="rect">
            <a:avLst/>
          </a:prstGeom>
        </p:spPr>
        <p:txBody>
          <a:bodyPr vert="horz" lIns="94304" tIns="47152" rIns="94304" bIns="47152" rtlCol="0"/>
          <a:lstStyle>
            <a:lvl1pPr algn="l">
              <a:defRPr sz="1200"/>
            </a:lvl1pPr>
          </a:lstStyle>
          <a:p>
            <a:endParaRPr lang="fr-FR" dirty="0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4021299" y="1"/>
            <a:ext cx="3076363" cy="511730"/>
          </a:xfrm>
          <a:prstGeom prst="rect">
            <a:avLst/>
          </a:prstGeom>
        </p:spPr>
        <p:txBody>
          <a:bodyPr vert="horz" lIns="94304" tIns="47152" rIns="94304" bIns="47152" rtlCol="0"/>
          <a:lstStyle>
            <a:lvl1pPr algn="r">
              <a:defRPr sz="1200"/>
            </a:lvl1pPr>
          </a:lstStyle>
          <a:p>
            <a:fld id="{BDF9EAF2-9FBB-41A5-BAE1-368316A7210C}" type="datetimeFigureOut">
              <a:rPr lang="fr-FR" smtClean="0"/>
              <a:pPr/>
              <a:t>30/05/2018</a:t>
            </a:fld>
            <a:endParaRPr lang="fr-FR" dirty="0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992188" y="769938"/>
            <a:ext cx="5114925" cy="38354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4304" tIns="47152" rIns="94304" bIns="47152" rtlCol="0" anchor="ctr"/>
          <a:lstStyle/>
          <a:p>
            <a:endParaRPr lang="fr-FR" dirty="0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709931" y="4861444"/>
            <a:ext cx="5679440" cy="4605576"/>
          </a:xfrm>
          <a:prstGeom prst="rect">
            <a:avLst/>
          </a:prstGeom>
        </p:spPr>
        <p:txBody>
          <a:bodyPr vert="horz" lIns="94304" tIns="47152" rIns="94304" bIns="47152" rtlCol="0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5" y="9721107"/>
            <a:ext cx="3076363" cy="511730"/>
          </a:xfrm>
          <a:prstGeom prst="rect">
            <a:avLst/>
          </a:prstGeom>
        </p:spPr>
        <p:txBody>
          <a:bodyPr vert="horz" lIns="94304" tIns="47152" rIns="94304" bIns="47152" rtlCol="0" anchor="b"/>
          <a:lstStyle>
            <a:lvl1pPr algn="l">
              <a:defRPr sz="1200"/>
            </a:lvl1pPr>
          </a:lstStyle>
          <a:p>
            <a:endParaRPr lang="fr-FR" dirty="0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4021299" y="9721107"/>
            <a:ext cx="3076363" cy="511730"/>
          </a:xfrm>
          <a:prstGeom prst="rect">
            <a:avLst/>
          </a:prstGeom>
        </p:spPr>
        <p:txBody>
          <a:bodyPr vert="horz" lIns="94304" tIns="47152" rIns="94304" bIns="47152" rtlCol="0" anchor="b"/>
          <a:lstStyle>
            <a:lvl1pPr algn="r">
              <a:defRPr sz="1200"/>
            </a:lvl1pPr>
          </a:lstStyle>
          <a:p>
            <a:fld id="{CA2E6031-8092-4F50-91FD-B3111154E416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21812292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Espace réservé de l'image des diapositives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2291" name="Espace réservé des commentaires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fr-FR" b="1" dirty="0" smtClean="0"/>
          </a:p>
        </p:txBody>
      </p:sp>
      <p:sp>
        <p:nvSpPr>
          <p:cNvPr id="9220" name="Espace réservé du numéro de diapositive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>
              <a:defRPr/>
            </a:pPr>
            <a:fld id="{B4A6EAFD-D7F0-488C-A7B7-693C3D977635}" type="slidenum">
              <a:rPr lang="es-ES" smtClean="0">
                <a:solidFill>
                  <a:prstClr val="black"/>
                </a:solidFill>
              </a:rPr>
              <a:pPr>
                <a:defRPr/>
              </a:pPr>
              <a:t>2</a:t>
            </a:fld>
            <a:endParaRPr lang="es-ES" dirty="0" smtClean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2023884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Espace réservé de l'image des diapositives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2291" name="Espace réservé des commentaires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fr-FR" b="1" dirty="0" smtClean="0"/>
          </a:p>
        </p:txBody>
      </p:sp>
      <p:sp>
        <p:nvSpPr>
          <p:cNvPr id="9220" name="Espace réservé du numéro de diapositive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>
              <a:defRPr/>
            </a:pPr>
            <a:fld id="{B4A6EAFD-D7F0-488C-A7B7-693C3D977635}" type="slidenum">
              <a:rPr lang="es-ES" smtClean="0">
                <a:solidFill>
                  <a:prstClr val="black"/>
                </a:solidFill>
              </a:rPr>
              <a:pPr>
                <a:defRPr/>
              </a:pPr>
              <a:t>14</a:t>
            </a:fld>
            <a:endParaRPr lang="es-ES" dirty="0" smtClean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5827403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42" name="Espace réservé de l'image des diapositives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61443" name="Espace réservé des commentaires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GB" dirty="0" smtClean="0">
              <a:latin typeface="Arial" charset="0"/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B76F8650-2F51-4125-A5E0-9D3E97D224A5}" type="slidenum">
              <a:rPr lang="es-ES" smtClean="0">
                <a:solidFill>
                  <a:prstClr val="black"/>
                </a:solidFill>
              </a:rPr>
              <a:pPr>
                <a:defRPr/>
              </a:pPr>
              <a:t>15</a:t>
            </a:fld>
            <a:endParaRPr lang="es-E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6519877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01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1014413" y="796925"/>
            <a:ext cx="5105400" cy="3829050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53602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973143" y="4867283"/>
            <a:ext cx="5191125" cy="4627563"/>
          </a:xfrm>
          <a:noFill/>
        </p:spPr>
        <p:txBody>
          <a:bodyPr wrap="square" lIns="87315" tIns="43656" rIns="87315" bIns="43656" numCol="1" anchor="t" anchorCtr="0" compatLnSpc="1">
            <a:prstTxWarp prst="textNoShape">
              <a:avLst/>
            </a:prstTxWarp>
          </a:bodyPr>
          <a:lstStyle/>
          <a:p>
            <a:r>
              <a:rPr lang="en-GB" dirty="0" smtClean="0">
                <a:latin typeface="Arial" charset="0"/>
              </a:rPr>
              <a:t>The council labels the proposal</a:t>
            </a:r>
          </a:p>
        </p:txBody>
      </p:sp>
    </p:spTree>
    <p:extLst>
      <p:ext uri="{BB962C8B-B14F-4D97-AF65-F5344CB8AC3E}">
        <p14:creationId xmlns:p14="http://schemas.microsoft.com/office/powerpoint/2010/main" val="261038836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Espace réservé de l'image des diapositives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1267" name="Espace réservé des commentaires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fr-FR" dirty="0" smtClean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F955E503-92BF-4149-9CF9-6ABD219E21A5}" type="slidenum">
              <a:rPr lang="es-ES" smtClean="0">
                <a:solidFill>
                  <a:prstClr val="black"/>
                </a:solidFill>
              </a:rPr>
              <a:pPr>
                <a:defRPr/>
              </a:pPr>
              <a:t>17</a:t>
            </a:fld>
            <a:endParaRPr lang="es-E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2857447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GB" noProof="0" dirty="0" smtClean="0"/>
              <a:t>EURIPIDAC:</a:t>
            </a:r>
            <a:r>
              <a:rPr lang="en-GB" baseline="0" noProof="0" dirty="0" smtClean="0"/>
              <a:t> Austria, Belgium, Czech Rep., Finland, France, Germany, Hungary, Ireland, Netherlands, Poland, Norway, Sweden, Spain, Switzerland, Turkey, Canada, South Korea</a:t>
            </a:r>
            <a:endParaRPr lang="en-GB" noProof="0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B3496F8-3DF6-4BA4-9D3E-9743B28BB7F8}" type="slidenum">
              <a:rPr lang="es-ES" smtClean="0">
                <a:solidFill>
                  <a:prstClr val="black"/>
                </a:solidFill>
              </a:rPr>
              <a:pPr>
                <a:defRPr/>
              </a:pPr>
              <a:t>18</a:t>
            </a:fld>
            <a:endParaRPr lang="es-E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3647393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2E6031-8092-4F50-91FD-B3111154E416}" type="slidenum">
              <a:rPr lang="fr-FR" smtClean="0"/>
              <a:pPr/>
              <a:t>19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88266203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Espace réservé de l'image des diapositives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1267" name="Espace réservé des commentaires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fr-FR" dirty="0" smtClean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F955E503-92BF-4149-9CF9-6ABD219E21A5}" type="slidenum">
              <a:rPr lang="es-ES" smtClean="0">
                <a:solidFill>
                  <a:prstClr val="black"/>
                </a:solidFill>
              </a:rPr>
              <a:pPr>
                <a:defRPr/>
              </a:pPr>
              <a:t>20</a:t>
            </a:fld>
            <a:endParaRPr lang="es-E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32039868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801" name="Espace réservé de l'image des diapositives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76802" name="Espace réservé des commentaires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GB" dirty="0" smtClean="0">
              <a:latin typeface="Arial" charset="0"/>
            </a:endParaRPr>
          </a:p>
        </p:txBody>
      </p:sp>
      <p:sp>
        <p:nvSpPr>
          <p:cNvPr id="76803" name="Espace réservé du numéro de diapositive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>
              <a:defRPr/>
            </a:pPr>
            <a:fld id="{E50CE340-87E0-44DC-852A-BF5D880ED64C}" type="slidenum">
              <a:rPr lang="es-ES">
                <a:solidFill>
                  <a:srgbClr val="000000"/>
                </a:solidFill>
              </a:rPr>
              <a:pPr>
                <a:defRPr/>
              </a:pPr>
              <a:t>21</a:t>
            </a:fld>
            <a:endParaRPr lang="es-E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4166619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5A3AD5-1274-FC46-8DCA-74F2CA2CEE6B}" type="slidenum">
              <a:rPr lang="en-GB" smtClean="0"/>
              <a:pPr/>
              <a:t>2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07275787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5A3AD5-1274-FC46-8DCA-74F2CA2CEE6B}" type="slidenum">
              <a:rPr lang="en-GB" smtClean="0"/>
              <a:pPr/>
              <a:t>2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3924484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Espace réservé de l'image des diapositives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1267" name="Espace réservé des commentaires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fr-FR" dirty="0" smtClean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F955E503-92BF-4149-9CF9-6ABD219E21A5}" type="slidenum">
              <a:rPr lang="es-ES" smtClean="0">
                <a:solidFill>
                  <a:prstClr val="black"/>
                </a:solidFill>
              </a:rPr>
              <a:pPr>
                <a:defRPr/>
              </a:pPr>
              <a:t>3</a:t>
            </a:fld>
            <a:endParaRPr lang="es-E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87761401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GB" noProof="0" dirty="0" smtClean="0"/>
              <a:t>Pictures</a:t>
            </a:r>
            <a:r>
              <a:rPr lang="en-GB" baseline="0" noProof="0" dirty="0" smtClean="0"/>
              <a:t> from left to right</a:t>
            </a:r>
          </a:p>
          <a:p>
            <a:r>
              <a:rPr lang="en-GB" baseline="0" noProof="0" dirty="0" smtClean="0"/>
              <a:t>ENERPACK Eryma Multi low power energy source packaging</a:t>
            </a:r>
          </a:p>
          <a:p>
            <a:pPr defTabSz="914252">
              <a:defRPr/>
            </a:pPr>
            <a:r>
              <a:rPr lang="en-GB" baseline="0" noProof="0" dirty="0" smtClean="0"/>
              <a:t>CERADROP CERAMJET Electronic components on ceramics by Ink jet printing </a:t>
            </a:r>
            <a:endParaRPr lang="en-GB" noProof="0" dirty="0" smtClean="0"/>
          </a:p>
          <a:p>
            <a:r>
              <a:rPr lang="en-GB" noProof="0" dirty="0" smtClean="0"/>
              <a:t>INTEX </a:t>
            </a:r>
          </a:p>
          <a:p>
            <a:pPr defTabSz="914252">
              <a:defRPr/>
            </a:pPr>
            <a:r>
              <a:rPr lang="en-GB" noProof="0" dirty="0" smtClean="0"/>
              <a:t>COSY 3D Datacon (Austria) DC 8800 CHAMEO Multi Flip Chip Bonder</a:t>
            </a:r>
          </a:p>
          <a:p>
            <a:r>
              <a:rPr lang="en-GB" baseline="0" noProof="0" dirty="0" smtClean="0"/>
              <a:t>UPMOST laser</a:t>
            </a:r>
          </a:p>
          <a:p>
            <a:r>
              <a:rPr lang="en-GB" baseline="0" noProof="0" dirty="0" smtClean="0"/>
              <a:t>THOR</a:t>
            </a:r>
            <a:endParaRPr lang="en-GB" noProof="0" dirty="0" smtClean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2E6031-8092-4F50-91FD-B3111154E416}" type="slidenum">
              <a:rPr lang="fr-FR" smtClean="0">
                <a:solidFill>
                  <a:prstClr val="black"/>
                </a:solidFill>
              </a:rPr>
              <a:pPr/>
              <a:t>24</a:t>
            </a:fld>
            <a:endParaRPr lang="fr-F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71499035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Espace réservé de l'image des diapositives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1267" name="Espace réservé des commentaires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fr-FR" dirty="0" smtClean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F955E503-92BF-4149-9CF9-6ABD219E21A5}" type="slidenum">
              <a:rPr lang="es-ES" smtClean="0">
                <a:solidFill>
                  <a:prstClr val="black"/>
                </a:solidFill>
              </a:rPr>
              <a:pPr>
                <a:defRPr/>
              </a:pPr>
              <a:t>25</a:t>
            </a:fld>
            <a:endParaRPr lang="es-E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8846639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5BC7243D-F718-4F49-A7C4-5245837B54CD}" type="slidenum">
              <a:rPr lang="de-DE" altLang="fr-FR"/>
              <a:pPr/>
              <a:t>4</a:t>
            </a:fld>
            <a:endParaRPr lang="de-DE" altLang="fr-FR"/>
          </a:p>
        </p:txBody>
      </p:sp>
      <p:sp>
        <p:nvSpPr>
          <p:cNvPr id="409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099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fr-FR" altLang="fr-FR"/>
          </a:p>
        </p:txBody>
      </p:sp>
    </p:spTree>
    <p:extLst>
      <p:ext uri="{BB962C8B-B14F-4D97-AF65-F5344CB8AC3E}">
        <p14:creationId xmlns:p14="http://schemas.microsoft.com/office/powerpoint/2010/main" val="294937857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FR" baseline="0" dirty="0" smtClean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2E6031-8092-4F50-91FD-B3111154E416}" type="slidenum">
              <a:rPr lang="fr-FR" smtClean="0"/>
              <a:pPr/>
              <a:t>5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36556862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Espace réservé de l'image des diapositives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1267" name="Espace réservé des commentaires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fr-FR" dirty="0" smtClean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F955E503-92BF-4149-9CF9-6ABD219E21A5}" type="slidenum">
              <a:rPr lang="es-ES" smtClean="0">
                <a:solidFill>
                  <a:prstClr val="black"/>
                </a:solidFill>
              </a:rPr>
              <a:pPr>
                <a:defRPr/>
              </a:pPr>
              <a:t>7</a:t>
            </a:fld>
            <a:endParaRPr lang="es-E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8776140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2E6031-8092-4F50-91FD-B3111154E416}" type="slidenum">
              <a:rPr lang="fr-FR" smtClean="0">
                <a:solidFill>
                  <a:prstClr val="black"/>
                </a:solidFill>
              </a:rPr>
              <a:pPr/>
              <a:t>8</a:t>
            </a:fld>
            <a:endParaRPr lang="fr-F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0741212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273" name="Espace réservé de l'image des diapositives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4274" name="Espace réservé des commentaires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de-DE" dirty="0" smtClean="0"/>
          </a:p>
        </p:txBody>
      </p:sp>
      <p:sp>
        <p:nvSpPr>
          <p:cNvPr id="54275" name="Espace réservé du numéro de diapositive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9412DED2-2FA2-4083-B6E5-71E4F78426D2}" type="slidenum">
              <a:rPr lang="fr-FR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9</a:t>
            </a:fld>
            <a:endParaRPr lang="fr-FR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1097235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Espace réservé de l'image des diapositives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1267" name="Espace réservé des commentaires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fr-FR" dirty="0" smtClean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F955E503-92BF-4149-9CF9-6ABD219E21A5}" type="slidenum">
              <a:rPr lang="es-ES" smtClean="0"/>
              <a:pPr>
                <a:defRPr/>
              </a:pPr>
              <a:t>10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106595318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Espace réservé de l'image des diapositives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1267" name="Espace réservé des commentaires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fr-FR" dirty="0" smtClean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F955E503-92BF-4149-9CF9-6ABD219E21A5}" type="slidenum">
              <a:rPr lang="es-ES" smtClean="0">
                <a:solidFill>
                  <a:prstClr val="black"/>
                </a:solidFill>
              </a:rPr>
              <a:pPr>
                <a:defRPr/>
              </a:pPr>
              <a:t>13</a:t>
            </a:fld>
            <a:endParaRPr lang="es-E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3203986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7.xml"/><Relationship Id="rId6" Type="http://schemas.openxmlformats.org/officeDocument/2006/relationships/image" Target="../media/image22.jpg"/><Relationship Id="rId5" Type="http://schemas.openxmlformats.org/officeDocument/2006/relationships/image" Target="../media/image21.png"/><Relationship Id="rId4" Type="http://schemas.openxmlformats.org/officeDocument/2006/relationships/image" Target="../media/image20.pn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8.xml"/><Relationship Id="rId5" Type="http://schemas.openxmlformats.org/officeDocument/2006/relationships/image" Target="../media/image22.jpg"/><Relationship Id="rId4" Type="http://schemas.openxmlformats.org/officeDocument/2006/relationships/image" Target="../media/image17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rnière de couv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067" t="22581" r="25068" b="22297"/>
          <a:stretch/>
        </p:blipFill>
        <p:spPr>
          <a:xfrm>
            <a:off x="8402297" y="5865720"/>
            <a:ext cx="478348" cy="587615"/>
          </a:xfrm>
          <a:prstGeom prst="rect">
            <a:avLst/>
          </a:prstGeom>
        </p:spPr>
      </p:pic>
      <p:sp>
        <p:nvSpPr>
          <p:cNvPr id="16" name="Titre 15"/>
          <p:cNvSpPr>
            <a:spLocks noGrp="1"/>
          </p:cNvSpPr>
          <p:nvPr>
            <p:ph type="title" hasCustomPrompt="1"/>
          </p:nvPr>
        </p:nvSpPr>
        <p:spPr>
          <a:xfrm>
            <a:off x="1071744" y="1888696"/>
            <a:ext cx="7056784" cy="648072"/>
          </a:xfrm>
          <a:prstGeom prst="rect">
            <a:avLst/>
          </a:prstGeom>
        </p:spPr>
        <p:txBody>
          <a:bodyPr/>
          <a:lstStyle>
            <a:lvl1pPr>
              <a:defRPr sz="4000" b="0"/>
            </a:lvl1pPr>
          </a:lstStyle>
          <a:p>
            <a:r>
              <a:rPr lang="fr-FR" dirty="0" err="1" smtClean="0"/>
              <a:t>Thank</a:t>
            </a:r>
            <a:r>
              <a:rPr lang="fr-FR" dirty="0" smtClean="0"/>
              <a:t> </a:t>
            </a:r>
            <a:r>
              <a:rPr lang="fr-FR" dirty="0" err="1" smtClean="0"/>
              <a:t>you</a:t>
            </a:r>
            <a:r>
              <a:rPr lang="fr-FR" dirty="0" smtClean="0"/>
              <a:t> for </a:t>
            </a:r>
            <a:r>
              <a:rPr lang="fr-FR" dirty="0" err="1" smtClean="0"/>
              <a:t>your</a:t>
            </a:r>
            <a:r>
              <a:rPr lang="fr-FR" dirty="0" smtClean="0"/>
              <a:t> attention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07957248"/>
      </p:ext>
    </p:extLst>
  </p:cSld>
  <p:clrMapOvr>
    <a:masterClrMapping/>
  </p:clrMapOvr>
  <p:transition spd="slow">
    <p:pull dir="r"/>
  </p:transition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1">
            <a:extLst>
              <a:ext uri="{FF2B5EF4-FFF2-40B4-BE49-F238E27FC236}">
                <a16:creationId xmlns="" xmlns:a16="http://schemas.microsoft.com/office/drawing/2014/main" id="{61AD6E81-56D4-3A42-BC3D-E71525F1D45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87566" y="-919163"/>
            <a:ext cx="5399484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Box 5">
            <a:extLst>
              <a:ext uri="{FF2B5EF4-FFF2-40B4-BE49-F238E27FC236}">
                <a16:creationId xmlns="" xmlns:a16="http://schemas.microsoft.com/office/drawing/2014/main" id="{DCE4EA4D-F9E0-7D49-B450-E7038B9B9441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-128587" y="6423025"/>
            <a:ext cx="513160" cy="253916"/>
          </a:xfrm>
          <a:prstGeom prst="rect">
            <a:avLst/>
          </a:prstGeom>
          <a:noFill/>
          <a:ln>
            <a:noFill/>
          </a:ln>
          <a:extLst>
            <a:ext uri="{909E8E84-426E-40dd-AFC4-6F175D3DCCD1}"/>
            <a:ext uri="{91240B29-F687-4f45-9708-019B960494DF}"/>
          </a:extLst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algn="r">
              <a:defRPr/>
            </a:pPr>
            <a:fld id="{F03CF431-07EA-634B-9B82-6D45B4FB7DE9}" type="slidenum">
              <a:rPr lang="en-US" altLang="en-US" sz="1050" smtClean="0">
                <a:solidFill>
                  <a:srgbClr val="73B632"/>
                </a:solidFill>
                <a:latin typeface="Dosis Bold"/>
                <a:ea typeface="Dosis Bold"/>
                <a:cs typeface="Dosis Bold"/>
              </a:rPr>
              <a:pPr algn="r">
                <a:defRPr/>
              </a:pPr>
              <a:t>‹N°›</a:t>
            </a:fld>
            <a:endParaRPr lang="en-US" altLang="en-US" sz="1050">
              <a:solidFill>
                <a:srgbClr val="73B632"/>
              </a:solidFill>
              <a:latin typeface="Dosis Bold"/>
              <a:ea typeface="Dosis Bold"/>
              <a:cs typeface="Dosis Bold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="" xmlns:a16="http://schemas.microsoft.com/office/drawing/2014/main" id="{DF082E08-79B0-2048-9ACB-C734DAB1A28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82154" y="-171450"/>
            <a:ext cx="1907382" cy="1477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4" descr="penta-top-left-banner.png">
            <a:extLst>
              <a:ext uri="{FF2B5EF4-FFF2-40B4-BE49-F238E27FC236}">
                <a16:creationId xmlns="" xmlns:a16="http://schemas.microsoft.com/office/drawing/2014/main" id="{529AF417-5A0E-2749-B9FC-9D292C1A281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22307" y="5199063"/>
            <a:ext cx="3159919" cy="33194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1825041" y="208897"/>
            <a:ext cx="5493920" cy="852289"/>
          </a:xfrm>
          <a:prstGeom prst="rect">
            <a:avLst/>
          </a:prstGeom>
          <a:ln w="12700">
            <a:miter lim="400000"/>
          </a:ln>
        </p:spPr>
        <p:txBody>
          <a:bodyPr wrap="square" lIns="50800" tIns="50800" rIns="50800" bIns="50800" anchor="b" anchorCtr="1">
            <a:normAutofit/>
          </a:bodyPr>
          <a:lstStyle>
            <a:lvl1pPr marL="0" indent="0" algn="ctr">
              <a:lnSpc>
                <a:spcPts val="2580"/>
              </a:lnSpc>
              <a:spcBef>
                <a:spcPts val="0"/>
              </a:spcBef>
              <a:buNone/>
              <a:defRPr lang="en-ID" sz="2400" b="1" baseline="0" dirty="0">
                <a:solidFill>
                  <a:schemeClr val="accent1"/>
                </a:solidFill>
                <a:latin typeface="Dosis Regular"/>
                <a:ea typeface="Open Sans Extrabold"/>
                <a:cs typeface="Dosis Regular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1"/>
          </p:nvPr>
        </p:nvSpPr>
        <p:spPr>
          <a:xfrm>
            <a:off x="1818775" y="1071949"/>
            <a:ext cx="5506452" cy="566309"/>
          </a:xfrm>
          <a:prstGeom prst="rect">
            <a:avLst/>
          </a:prstGeom>
          <a:ln w="12700">
            <a:miter lim="400000"/>
          </a:ln>
        </p:spPr>
        <p:txBody>
          <a:bodyPr wrap="square" lIns="50800" tIns="50800" rIns="50800" bIns="50800" anchor="t" anchorCtr="1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lang="en-ID" sz="900" baseline="0" dirty="0">
                <a:solidFill>
                  <a:schemeClr val="tx1">
                    <a:lumMod val="75000"/>
                    <a:lumOff val="25000"/>
                  </a:schemeClr>
                </a:solidFill>
                <a:latin typeface="Dosis Regular"/>
                <a:ea typeface="Open Sans Light"/>
                <a:cs typeface="Open Sans Ligh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Text Placeholder 15"/>
          <p:cNvSpPr>
            <a:spLocks noGrp="1"/>
          </p:cNvSpPr>
          <p:nvPr>
            <p:ph type="body" sz="quarter" idx="16"/>
          </p:nvPr>
        </p:nvSpPr>
        <p:spPr>
          <a:xfrm>
            <a:off x="2307540" y="1825561"/>
            <a:ext cx="4528920" cy="4182241"/>
          </a:xfrm>
          <a:prstGeom prst="rect">
            <a:avLst/>
          </a:prstGeom>
        </p:spPr>
        <p:txBody>
          <a:bodyPr>
            <a:normAutofit/>
          </a:bodyPr>
          <a:lstStyle>
            <a:lvl1pPr marL="171446" indent="-171446">
              <a:buSzPct val="100000"/>
              <a:buFontTx/>
              <a:buBlip>
                <a:blip r:embed="rId5"/>
              </a:buBlip>
              <a:defRPr sz="1800">
                <a:solidFill>
                  <a:schemeClr val="tx1">
                    <a:lumMod val="75000"/>
                  </a:schemeClr>
                </a:solidFill>
                <a:latin typeface="Dosis"/>
              </a:defRPr>
            </a:lvl1pPr>
          </a:lstStyle>
          <a:p>
            <a:endParaRPr lang="en-US" dirty="0"/>
          </a:p>
        </p:txBody>
      </p:sp>
      <p:pic>
        <p:nvPicPr>
          <p:cNvPr id="2" name="Image 1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7993" y="6261795"/>
            <a:ext cx="7596336" cy="5763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884794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87402" y="-918558"/>
            <a:ext cx="5399105" cy="6857999"/>
          </a:xfrm>
          <a:prstGeom prst="rect">
            <a:avLst/>
          </a:prstGeom>
        </p:spPr>
      </p:pic>
      <p:sp>
        <p:nvSpPr>
          <p:cNvPr id="11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1825040" y="208895"/>
            <a:ext cx="5493920" cy="852289"/>
          </a:xfrm>
          <a:prstGeom prst="rect">
            <a:avLst/>
          </a:prstGeom>
          <a:ln w="12700">
            <a:miter lim="400000"/>
          </a:ln>
        </p:spPr>
        <p:txBody>
          <a:bodyPr wrap="square" lIns="50800" tIns="50800" rIns="50800" bIns="50800" anchor="b" anchorCtr="1">
            <a:normAutofit/>
          </a:bodyPr>
          <a:lstStyle>
            <a:lvl1pPr marL="0" indent="0" algn="ctr">
              <a:lnSpc>
                <a:spcPts val="2580"/>
              </a:lnSpc>
              <a:spcBef>
                <a:spcPts val="0"/>
              </a:spcBef>
              <a:buNone/>
              <a:defRPr lang="en-ID" sz="2400" b="1" baseline="0" dirty="0">
                <a:solidFill>
                  <a:schemeClr val="accent1"/>
                </a:solidFill>
                <a:latin typeface="Dosis Regular"/>
                <a:ea typeface="Open Sans Extrabold"/>
                <a:cs typeface="Dosis Regular"/>
              </a:defRPr>
            </a:lvl1pPr>
          </a:lstStyle>
          <a:p>
            <a:pPr marL="0" lvl="0"/>
            <a:r>
              <a:rPr lang="en-ID" dirty="0"/>
              <a:t>Title Goes Here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1" hasCustomPrompt="1"/>
          </p:nvPr>
        </p:nvSpPr>
        <p:spPr>
          <a:xfrm>
            <a:off x="1818775" y="1071949"/>
            <a:ext cx="5506452" cy="566309"/>
          </a:xfrm>
          <a:prstGeom prst="rect">
            <a:avLst/>
          </a:prstGeom>
          <a:ln w="12700">
            <a:miter lim="400000"/>
          </a:ln>
        </p:spPr>
        <p:txBody>
          <a:bodyPr wrap="square" lIns="50800" tIns="50800" rIns="50800" bIns="50800" anchor="t" anchorCtr="1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lang="en-ID" sz="900" baseline="0" dirty="0">
                <a:solidFill>
                  <a:schemeClr val="tx1">
                    <a:lumMod val="75000"/>
                    <a:lumOff val="25000"/>
                  </a:schemeClr>
                </a:solidFill>
                <a:latin typeface="Dosis Regular"/>
                <a:ea typeface="Open Sans Light"/>
                <a:cs typeface="Open Sans Light"/>
              </a:defRPr>
            </a:lvl1pPr>
          </a:lstStyle>
          <a:p>
            <a:pPr marL="0" lvl="0"/>
            <a:r>
              <a:rPr lang="en-ID" dirty="0"/>
              <a:t>Put Your Great Subtitle Here</a:t>
            </a:r>
          </a:p>
        </p:txBody>
      </p:sp>
      <p:sp>
        <p:nvSpPr>
          <p:cNvPr id="5" name="TextBox 4"/>
          <p:cNvSpPr txBox="1"/>
          <p:nvPr userDrawn="1"/>
        </p:nvSpPr>
        <p:spPr>
          <a:xfrm>
            <a:off x="-128221" y="6423458"/>
            <a:ext cx="512876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64E72BE8-1062-AC45-86E6-C88BC35A5BC8}" type="slidenum">
              <a:rPr lang="en-US" sz="1050" smtClean="0">
                <a:solidFill>
                  <a:srgbClr val="73B632"/>
                </a:solidFill>
                <a:latin typeface="Dosis Bold"/>
                <a:cs typeface="Dosis Bold"/>
              </a:rPr>
              <a:pPr algn="r"/>
              <a:t>‹N°›</a:t>
            </a:fld>
            <a:endParaRPr lang="en-US" sz="1050" dirty="0">
              <a:solidFill>
                <a:srgbClr val="73B632"/>
              </a:solidFill>
              <a:latin typeface="Dosis Bold"/>
              <a:cs typeface="Dosis Bold"/>
            </a:endParaRPr>
          </a:p>
        </p:txBody>
      </p:sp>
      <p:pic>
        <p:nvPicPr>
          <p:cNvPr id="6" name="Picture 5" descr="logo-aeneas-color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17" y="-94656"/>
            <a:ext cx="1816229" cy="1110815"/>
          </a:xfrm>
          <a:prstGeom prst="rect">
            <a:avLst/>
          </a:prstGeom>
        </p:spPr>
      </p:pic>
      <p:sp>
        <p:nvSpPr>
          <p:cNvPr id="8" name="Text Placeholder 15"/>
          <p:cNvSpPr>
            <a:spLocks noGrp="1"/>
          </p:cNvSpPr>
          <p:nvPr>
            <p:ph type="body" sz="quarter" idx="16"/>
          </p:nvPr>
        </p:nvSpPr>
        <p:spPr>
          <a:xfrm>
            <a:off x="2307540" y="1825559"/>
            <a:ext cx="4528920" cy="4182241"/>
          </a:xfrm>
          <a:prstGeom prst="rect">
            <a:avLst/>
          </a:prstGeom>
        </p:spPr>
        <p:txBody>
          <a:bodyPr>
            <a:normAutofit/>
          </a:bodyPr>
          <a:lstStyle>
            <a:lvl1pPr marL="171450" indent="-171450">
              <a:buSzPct val="100000"/>
              <a:buFontTx/>
              <a:buBlip>
                <a:blip r:embed="rId4"/>
              </a:buBlip>
              <a:defRPr sz="1800">
                <a:solidFill>
                  <a:schemeClr val="tx1">
                    <a:lumMod val="75000"/>
                  </a:schemeClr>
                </a:solidFill>
                <a:latin typeface="Dosis"/>
              </a:defRPr>
            </a:lvl1pPr>
          </a:lstStyle>
          <a:p>
            <a:endParaRPr lang="en-US" dirty="0"/>
          </a:p>
        </p:txBody>
      </p:sp>
      <p:pic>
        <p:nvPicPr>
          <p:cNvPr id="2" name="Image 1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17" y="6076555"/>
            <a:ext cx="9144000" cy="6938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418824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ransition spd="slow">
    <p:pull dir="r"/>
  </p:transition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>
          <a:xfrm>
            <a:off x="8343056" y="6376243"/>
            <a:ext cx="621432" cy="365125"/>
          </a:xfrm>
          <a:prstGeom prst="rect">
            <a:avLst/>
          </a:prstGeom>
        </p:spPr>
        <p:txBody>
          <a:bodyPr/>
          <a:lstStyle/>
          <a:p>
            <a:fld id="{99EFD4C0-A07B-4E95-B264-B89C61B63A2D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N°›</a:t>
            </a:fld>
            <a:endParaRPr lang="fr-F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ce réservé du texte 2"/>
          <p:cNvSpPr>
            <a:spLocks noGrp="1"/>
          </p:cNvSpPr>
          <p:nvPr>
            <p:ph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 noProof="0" dirty="0" err="1" smtClean="0"/>
              <a:t>Modifiez</a:t>
            </a:r>
            <a:r>
              <a:rPr lang="en-GB" noProof="0" dirty="0" smtClean="0"/>
              <a:t> les styles du </a:t>
            </a:r>
            <a:r>
              <a:rPr lang="en-GB" noProof="0" dirty="0" err="1" smtClean="0"/>
              <a:t>texte</a:t>
            </a:r>
            <a:r>
              <a:rPr lang="en-GB" noProof="0" dirty="0" smtClean="0"/>
              <a:t> du masque</a:t>
            </a:r>
          </a:p>
          <a:p>
            <a:pPr lvl="1"/>
            <a:r>
              <a:rPr lang="en-GB" noProof="0" dirty="0" err="1" smtClean="0"/>
              <a:t>Deuxième</a:t>
            </a:r>
            <a:r>
              <a:rPr lang="en-GB" noProof="0" dirty="0" smtClean="0"/>
              <a:t> </a:t>
            </a:r>
            <a:r>
              <a:rPr lang="en-GB" noProof="0" dirty="0" err="1" smtClean="0"/>
              <a:t>niveau</a:t>
            </a:r>
            <a:endParaRPr lang="en-GB" noProof="0" dirty="0" smtClean="0"/>
          </a:p>
          <a:p>
            <a:pPr lvl="2"/>
            <a:r>
              <a:rPr lang="en-GB" noProof="0" dirty="0" err="1" smtClean="0"/>
              <a:t>Troisième</a:t>
            </a:r>
            <a:r>
              <a:rPr lang="en-GB" noProof="0" dirty="0" smtClean="0"/>
              <a:t> </a:t>
            </a:r>
            <a:r>
              <a:rPr lang="en-GB" noProof="0" dirty="0" err="1" smtClean="0"/>
              <a:t>niveau</a:t>
            </a:r>
            <a:endParaRPr lang="en-GB" noProof="0" dirty="0" smtClean="0"/>
          </a:p>
          <a:p>
            <a:pPr lvl="3"/>
            <a:r>
              <a:rPr lang="en-GB" noProof="0" dirty="0" err="1" smtClean="0"/>
              <a:t>Quatrième</a:t>
            </a:r>
            <a:r>
              <a:rPr lang="en-GB" noProof="0" dirty="0" smtClean="0"/>
              <a:t> </a:t>
            </a:r>
            <a:r>
              <a:rPr lang="en-GB" noProof="0" dirty="0" err="1" smtClean="0"/>
              <a:t>niveau</a:t>
            </a:r>
            <a:endParaRPr lang="en-GB" noProof="0" dirty="0" smtClean="0"/>
          </a:p>
          <a:p>
            <a:pPr lvl="4"/>
            <a:r>
              <a:rPr lang="en-GB" noProof="0" dirty="0" err="1" smtClean="0"/>
              <a:t>Cinquième</a:t>
            </a:r>
            <a:r>
              <a:rPr lang="en-GB" noProof="0" dirty="0" smtClean="0"/>
              <a:t> </a:t>
            </a:r>
            <a:r>
              <a:rPr lang="en-GB" noProof="0" dirty="0" err="1" smtClean="0"/>
              <a:t>niveau</a:t>
            </a:r>
            <a:endParaRPr lang="en-GB" noProof="0" dirty="0"/>
          </a:p>
        </p:txBody>
      </p:sp>
      <p:sp>
        <p:nvSpPr>
          <p:cNvPr id="6" name="Espace réservé du titre 1"/>
          <p:cNvSpPr>
            <a:spLocks noGrp="1"/>
          </p:cNvSpPr>
          <p:nvPr>
            <p:ph type="title"/>
          </p:nvPr>
        </p:nvSpPr>
        <p:spPr>
          <a:xfrm>
            <a:off x="2267744" y="346725"/>
            <a:ext cx="5616624" cy="85002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 noProof="0" dirty="0" err="1" smtClean="0"/>
              <a:t>Modifiez</a:t>
            </a:r>
            <a:r>
              <a:rPr lang="en-GB" noProof="0" dirty="0" smtClean="0"/>
              <a:t> le style du tit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7688882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2267744" y="346725"/>
            <a:ext cx="5616624" cy="85002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 noProof="0" dirty="0" err="1" smtClean="0"/>
              <a:t>Modifiez</a:t>
            </a:r>
            <a:r>
              <a:rPr lang="en-GB" noProof="0" dirty="0" smtClean="0"/>
              <a:t> le style du titre</a:t>
            </a:r>
            <a:endParaRPr lang="en-GB" noProof="0" dirty="0"/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95306" y="6317752"/>
            <a:ext cx="376155" cy="36933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2400" b="1" i="0">
                <a:solidFill>
                  <a:schemeClr val="tx2"/>
                </a:solidFill>
                <a:latin typeface="Arial"/>
                <a:cs typeface="Arial"/>
              </a:defRPr>
            </a:lvl1pPr>
          </a:lstStyle>
          <a:p>
            <a:fld id="{38C080AE-66C8-8249-B90B-B6D109566B0C}" type="slidenum">
              <a:rPr lang="en-US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3849891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+ thumbnail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/>
          <p:cNvSpPr>
            <a:spLocks noGrp="1"/>
          </p:cNvSpPr>
          <p:nvPr>
            <p:ph type="pic" sz="quarter" idx="10"/>
          </p:nvPr>
        </p:nvSpPr>
        <p:spPr>
          <a:xfrm>
            <a:off x="829792" y="1983204"/>
            <a:ext cx="1393748" cy="1858331"/>
          </a:xfrm>
          <a:custGeom>
            <a:avLst/>
            <a:gdLst>
              <a:gd name="connsiteX0" fmla="*/ 92526 w 1858331"/>
              <a:gd name="connsiteY0" fmla="*/ 0 h 1858331"/>
              <a:gd name="connsiteX1" fmla="*/ 1765805 w 1858331"/>
              <a:gd name="connsiteY1" fmla="*/ 0 h 1858331"/>
              <a:gd name="connsiteX2" fmla="*/ 1858331 w 1858331"/>
              <a:gd name="connsiteY2" fmla="*/ 92526 h 1858331"/>
              <a:gd name="connsiteX3" fmla="*/ 1858331 w 1858331"/>
              <a:gd name="connsiteY3" fmla="*/ 1765805 h 1858331"/>
              <a:gd name="connsiteX4" fmla="*/ 1765805 w 1858331"/>
              <a:gd name="connsiteY4" fmla="*/ 1858331 h 1858331"/>
              <a:gd name="connsiteX5" fmla="*/ 92526 w 1858331"/>
              <a:gd name="connsiteY5" fmla="*/ 1858331 h 1858331"/>
              <a:gd name="connsiteX6" fmla="*/ 0 w 1858331"/>
              <a:gd name="connsiteY6" fmla="*/ 1765805 h 1858331"/>
              <a:gd name="connsiteX7" fmla="*/ 0 w 1858331"/>
              <a:gd name="connsiteY7" fmla="*/ 92526 h 1858331"/>
              <a:gd name="connsiteX8" fmla="*/ 92526 w 1858331"/>
              <a:gd name="connsiteY8" fmla="*/ 0 h 18583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858331" h="1858331">
                <a:moveTo>
                  <a:pt x="92526" y="0"/>
                </a:moveTo>
                <a:lnTo>
                  <a:pt x="1765805" y="0"/>
                </a:lnTo>
                <a:cubicBezTo>
                  <a:pt x="1816906" y="0"/>
                  <a:pt x="1858331" y="41425"/>
                  <a:pt x="1858331" y="92526"/>
                </a:cubicBezTo>
                <a:lnTo>
                  <a:pt x="1858331" y="1765805"/>
                </a:lnTo>
                <a:cubicBezTo>
                  <a:pt x="1858331" y="1816906"/>
                  <a:pt x="1816906" y="1858331"/>
                  <a:pt x="1765805" y="1858331"/>
                </a:cubicBezTo>
                <a:lnTo>
                  <a:pt x="92526" y="1858331"/>
                </a:lnTo>
                <a:cubicBezTo>
                  <a:pt x="41425" y="1858331"/>
                  <a:pt x="0" y="1816906"/>
                  <a:pt x="0" y="1765805"/>
                </a:cubicBezTo>
                <a:lnTo>
                  <a:pt x="0" y="92526"/>
                </a:lnTo>
                <a:cubicBezTo>
                  <a:pt x="0" y="41425"/>
                  <a:pt x="41425" y="0"/>
                  <a:pt x="92526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>
                <a:latin typeface="Dosis Regular"/>
              </a:defRPr>
            </a:lvl1pPr>
          </a:lstStyle>
          <a:p>
            <a:endParaRPr lang="en-ID" dirty="0"/>
          </a:p>
        </p:txBody>
      </p:sp>
      <p:sp>
        <p:nvSpPr>
          <p:cNvPr id="6" name="TextBox 5"/>
          <p:cNvSpPr txBox="1"/>
          <p:nvPr userDrawn="1"/>
        </p:nvSpPr>
        <p:spPr>
          <a:xfrm>
            <a:off x="-128221" y="6423458"/>
            <a:ext cx="512876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64E72BE8-1062-AC45-86E6-C88BC35A5BC8}" type="slidenum">
              <a:rPr lang="en-US" sz="1050" smtClean="0">
                <a:solidFill>
                  <a:srgbClr val="73B632"/>
                </a:solidFill>
                <a:latin typeface="Dosis Bold"/>
                <a:cs typeface="Dosis Bold"/>
              </a:rPr>
              <a:t>‹N°›</a:t>
            </a:fld>
            <a:endParaRPr lang="en-US" sz="1050" dirty="0">
              <a:solidFill>
                <a:srgbClr val="73B632"/>
              </a:solidFill>
              <a:latin typeface="Dosis Bold"/>
              <a:cs typeface="Dosis Bold"/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1825040" y="208895"/>
            <a:ext cx="5493920" cy="852289"/>
          </a:xfrm>
          <a:prstGeom prst="rect">
            <a:avLst/>
          </a:prstGeom>
          <a:ln w="12700">
            <a:miter lim="400000"/>
          </a:ln>
        </p:spPr>
        <p:txBody>
          <a:bodyPr wrap="square" lIns="50800" tIns="50800" rIns="50800" bIns="50800" anchor="b" anchorCtr="1">
            <a:normAutofit/>
          </a:bodyPr>
          <a:lstStyle>
            <a:lvl1pPr marL="0" indent="0" algn="ctr">
              <a:lnSpc>
                <a:spcPts val="2580"/>
              </a:lnSpc>
              <a:spcBef>
                <a:spcPts val="0"/>
              </a:spcBef>
              <a:buNone/>
              <a:defRPr lang="en-ID" sz="2400" b="1" baseline="0" dirty="0">
                <a:solidFill>
                  <a:schemeClr val="accent1"/>
                </a:solidFill>
                <a:latin typeface="Dosis Regular"/>
                <a:ea typeface="Open Sans Extrabold"/>
                <a:cs typeface="Dosis Regular"/>
              </a:defRPr>
            </a:lvl1pPr>
          </a:lstStyle>
          <a:p>
            <a:pPr marL="0" lvl="0"/>
            <a:r>
              <a:rPr lang="en-ID" dirty="0"/>
              <a:t>Title Goes Here</a:t>
            </a:r>
          </a:p>
        </p:txBody>
      </p:sp>
      <p:sp>
        <p:nvSpPr>
          <p:cNvPr id="13" name="Text Placeholder 14"/>
          <p:cNvSpPr>
            <a:spLocks noGrp="1"/>
          </p:cNvSpPr>
          <p:nvPr>
            <p:ph type="body" sz="quarter" idx="12" hasCustomPrompt="1"/>
          </p:nvPr>
        </p:nvSpPr>
        <p:spPr>
          <a:xfrm>
            <a:off x="1818775" y="1071949"/>
            <a:ext cx="5506452" cy="566309"/>
          </a:xfrm>
          <a:prstGeom prst="rect">
            <a:avLst/>
          </a:prstGeom>
          <a:ln w="12700">
            <a:miter lim="400000"/>
          </a:ln>
        </p:spPr>
        <p:txBody>
          <a:bodyPr wrap="square" lIns="50800" tIns="50800" rIns="50800" bIns="50800" anchor="t" anchorCtr="1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lang="en-ID" sz="900" baseline="0" dirty="0">
                <a:solidFill>
                  <a:schemeClr val="tx1">
                    <a:lumMod val="75000"/>
                    <a:lumOff val="25000"/>
                  </a:schemeClr>
                </a:solidFill>
                <a:latin typeface="Dosis Regular"/>
                <a:ea typeface="Open Sans Light"/>
                <a:cs typeface="Open Sans Light"/>
              </a:defRPr>
            </a:lvl1pPr>
          </a:lstStyle>
          <a:p>
            <a:pPr marL="0" lvl="0"/>
            <a:r>
              <a:rPr lang="en-ID" dirty="0"/>
              <a:t>Put Your Great Subtitle Here</a:t>
            </a:r>
          </a:p>
        </p:txBody>
      </p:sp>
    </p:spTree>
    <p:extLst>
      <p:ext uri="{BB962C8B-B14F-4D97-AF65-F5344CB8AC3E}">
        <p14:creationId xmlns:p14="http://schemas.microsoft.com/office/powerpoint/2010/main" val="75663513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591653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uver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re 15"/>
          <p:cNvSpPr>
            <a:spLocks noGrp="1"/>
          </p:cNvSpPr>
          <p:nvPr>
            <p:ph type="title"/>
          </p:nvPr>
        </p:nvSpPr>
        <p:spPr>
          <a:xfrm>
            <a:off x="186546" y="2947714"/>
            <a:ext cx="8784976" cy="648072"/>
          </a:xfrm>
          <a:prstGeom prst="rect">
            <a:avLst/>
          </a:prstGeom>
        </p:spPr>
        <p:txBody>
          <a:bodyPr/>
          <a:lstStyle>
            <a:lvl1pPr>
              <a:defRPr sz="3800" b="0" baseline="0">
                <a:solidFill>
                  <a:schemeClr val="tx2">
                    <a:lumMod val="75000"/>
                  </a:schemeClr>
                </a:solidFill>
                <a:latin typeface="Tahoma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fr-FR" dirty="0"/>
          </a:p>
        </p:txBody>
      </p:sp>
      <p:sp>
        <p:nvSpPr>
          <p:cNvPr id="21" name="Espace réservé du texte 20"/>
          <p:cNvSpPr>
            <a:spLocks noGrp="1"/>
          </p:cNvSpPr>
          <p:nvPr>
            <p:ph type="body" sz="quarter" idx="10"/>
          </p:nvPr>
        </p:nvSpPr>
        <p:spPr>
          <a:xfrm>
            <a:off x="251520" y="368520"/>
            <a:ext cx="4032696" cy="2873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00">
                <a:solidFill>
                  <a:schemeClr val="accent1">
                    <a:lumMod val="75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22" name="Espace réservé du texte 20"/>
          <p:cNvSpPr>
            <a:spLocks noGrp="1"/>
          </p:cNvSpPr>
          <p:nvPr>
            <p:ph type="body" sz="quarter" idx="11"/>
          </p:nvPr>
        </p:nvSpPr>
        <p:spPr>
          <a:xfrm>
            <a:off x="4917922" y="373192"/>
            <a:ext cx="4032498" cy="287338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300" baseline="0">
                <a:solidFill>
                  <a:schemeClr val="accent1">
                    <a:lumMod val="75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</p:cSld>
  <p:clrMapOvr>
    <a:masterClrMapping/>
  </p:clrMapOvr>
  <p:transition spd="slow">
    <p:pull dir="r"/>
  </p:transition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>
          <a:xfrm>
            <a:off x="8343056" y="6376243"/>
            <a:ext cx="621432" cy="365125"/>
          </a:xfrm>
          <a:prstGeom prst="rect">
            <a:avLst/>
          </a:prstGeom>
        </p:spPr>
        <p:txBody>
          <a:bodyPr/>
          <a:lstStyle/>
          <a:p>
            <a:fld id="{99EFD4C0-A07B-4E95-B264-B89C61B63A2D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N°›</a:t>
            </a:fld>
            <a:endParaRPr lang="fr-F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ce réservé du texte 2"/>
          <p:cNvSpPr>
            <a:spLocks noGrp="1"/>
          </p:cNvSpPr>
          <p:nvPr>
            <p:ph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 noProof="0" dirty="0" err="1" smtClean="0"/>
              <a:t>Modifiez</a:t>
            </a:r>
            <a:r>
              <a:rPr lang="en-GB" noProof="0" dirty="0" smtClean="0"/>
              <a:t> les styles du </a:t>
            </a:r>
            <a:r>
              <a:rPr lang="en-GB" noProof="0" dirty="0" err="1" smtClean="0"/>
              <a:t>texte</a:t>
            </a:r>
            <a:r>
              <a:rPr lang="en-GB" noProof="0" dirty="0" smtClean="0"/>
              <a:t> du masque</a:t>
            </a:r>
          </a:p>
          <a:p>
            <a:pPr lvl="1"/>
            <a:r>
              <a:rPr lang="en-GB" noProof="0" dirty="0" err="1" smtClean="0"/>
              <a:t>Deuxième</a:t>
            </a:r>
            <a:r>
              <a:rPr lang="en-GB" noProof="0" dirty="0" smtClean="0"/>
              <a:t> </a:t>
            </a:r>
            <a:r>
              <a:rPr lang="en-GB" noProof="0" dirty="0" err="1" smtClean="0"/>
              <a:t>niveau</a:t>
            </a:r>
            <a:endParaRPr lang="en-GB" noProof="0" dirty="0" smtClean="0"/>
          </a:p>
          <a:p>
            <a:pPr lvl="2"/>
            <a:r>
              <a:rPr lang="en-GB" noProof="0" dirty="0" err="1" smtClean="0"/>
              <a:t>Troisième</a:t>
            </a:r>
            <a:r>
              <a:rPr lang="en-GB" noProof="0" dirty="0" smtClean="0"/>
              <a:t> </a:t>
            </a:r>
            <a:r>
              <a:rPr lang="en-GB" noProof="0" dirty="0" err="1" smtClean="0"/>
              <a:t>niveau</a:t>
            </a:r>
            <a:endParaRPr lang="en-GB" noProof="0" dirty="0" smtClean="0"/>
          </a:p>
          <a:p>
            <a:pPr lvl="3"/>
            <a:r>
              <a:rPr lang="en-GB" noProof="0" dirty="0" err="1" smtClean="0"/>
              <a:t>Quatrième</a:t>
            </a:r>
            <a:r>
              <a:rPr lang="en-GB" noProof="0" dirty="0" smtClean="0"/>
              <a:t> </a:t>
            </a:r>
            <a:r>
              <a:rPr lang="en-GB" noProof="0" dirty="0" err="1" smtClean="0"/>
              <a:t>niveau</a:t>
            </a:r>
            <a:endParaRPr lang="en-GB" noProof="0" dirty="0" smtClean="0"/>
          </a:p>
          <a:p>
            <a:pPr lvl="4"/>
            <a:r>
              <a:rPr lang="en-GB" noProof="0" dirty="0" err="1" smtClean="0"/>
              <a:t>Cinquième</a:t>
            </a:r>
            <a:r>
              <a:rPr lang="en-GB" noProof="0" dirty="0" smtClean="0"/>
              <a:t> </a:t>
            </a:r>
            <a:r>
              <a:rPr lang="en-GB" noProof="0" dirty="0" err="1" smtClean="0"/>
              <a:t>niveau</a:t>
            </a:r>
            <a:endParaRPr lang="en-GB" noProof="0" dirty="0"/>
          </a:p>
        </p:txBody>
      </p:sp>
      <p:sp>
        <p:nvSpPr>
          <p:cNvPr id="6" name="Espace réservé du titre 1"/>
          <p:cNvSpPr>
            <a:spLocks noGrp="1"/>
          </p:cNvSpPr>
          <p:nvPr>
            <p:ph type="title"/>
          </p:nvPr>
        </p:nvSpPr>
        <p:spPr>
          <a:xfrm>
            <a:off x="2267744" y="346725"/>
            <a:ext cx="5616624" cy="85002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 noProof="0" dirty="0" err="1" smtClean="0"/>
              <a:t>Modifiez</a:t>
            </a:r>
            <a:r>
              <a:rPr lang="en-GB" noProof="0" dirty="0" smtClean="0"/>
              <a:t> le style du tit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8348244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2267744" y="346725"/>
            <a:ext cx="5616624" cy="85002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 noProof="0" dirty="0" err="1" smtClean="0"/>
              <a:t>Modifiez</a:t>
            </a:r>
            <a:r>
              <a:rPr lang="en-GB" noProof="0" dirty="0" smtClean="0"/>
              <a:t> le style du titre</a:t>
            </a:r>
            <a:endParaRPr lang="en-GB" noProof="0" dirty="0"/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95306" y="6317752"/>
            <a:ext cx="376155" cy="36933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2400" b="1" i="0">
                <a:solidFill>
                  <a:schemeClr val="tx2"/>
                </a:solidFill>
                <a:latin typeface="Arial"/>
                <a:cs typeface="Arial"/>
              </a:defRPr>
            </a:lvl1pPr>
          </a:lstStyle>
          <a:p>
            <a:fld id="{38C080AE-66C8-8249-B90B-B6D109566B0C}" type="slidenum">
              <a:rPr lang="en-US">
                <a:solidFill>
                  <a:srgbClr val="1F497D"/>
                </a:solidFill>
              </a:rPr>
              <a:pPr/>
              <a:t>‹N°›</a:t>
            </a:fld>
            <a:endParaRPr lang="en-US" dirty="0">
              <a:solidFill>
                <a:srgbClr val="1F497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3793199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4.jpg"/><Relationship Id="rId5" Type="http://schemas.openxmlformats.org/officeDocument/2006/relationships/image" Target="../media/image3.png"/><Relationship Id="rId4" Type="http://schemas.openxmlformats.org/officeDocument/2006/relationships/image" Target="../media/image2.jpeg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7.png"/><Relationship Id="rId2" Type="http://schemas.openxmlformats.org/officeDocument/2006/relationships/slideLayout" Target="../slideLayouts/slideLayout4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6.png"/><Relationship Id="rId5" Type="http://schemas.openxmlformats.org/officeDocument/2006/relationships/image" Target="../media/image5.jpeg"/><Relationship Id="rId10" Type="http://schemas.openxmlformats.org/officeDocument/2006/relationships/image" Target="../media/image9.jpeg"/><Relationship Id="rId4" Type="http://schemas.openxmlformats.org/officeDocument/2006/relationships/theme" Target="../theme/theme3.xml"/><Relationship Id="rId9" Type="http://schemas.openxmlformats.org/officeDocument/2006/relationships/image" Target="../media/image4.jpg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theme" Target="../theme/theme4.xml"/><Relationship Id="rId1" Type="http://schemas.openxmlformats.org/officeDocument/2006/relationships/slideLayout" Target="../slideLayouts/slideLayout6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image" Target="../media/image11.jpeg"/><Relationship Id="rId7" Type="http://schemas.openxmlformats.org/officeDocument/2006/relationships/image" Target="../media/image15.png"/><Relationship Id="rId2" Type="http://schemas.openxmlformats.org/officeDocument/2006/relationships/theme" Target="../theme/theme5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4.jpeg"/><Relationship Id="rId5" Type="http://schemas.openxmlformats.org/officeDocument/2006/relationships/image" Target="../media/image13.jpeg"/><Relationship Id="rId4" Type="http://schemas.openxmlformats.org/officeDocument/2006/relationships/image" Target="../media/image12.jpeg"/><Relationship Id="rId9" Type="http://schemas.openxmlformats.org/officeDocument/2006/relationships/image" Target="../media/image4.jpg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jpg"/><Relationship Id="rId3" Type="http://schemas.openxmlformats.org/officeDocument/2006/relationships/theme" Target="../theme/theme6.xml"/><Relationship Id="rId7" Type="http://schemas.openxmlformats.org/officeDocument/2006/relationships/image" Target="../media/image8.png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jpeg"/><Relationship Id="rId9" Type="http://schemas.openxmlformats.org/officeDocument/2006/relationships/image" Target="../media/image9.jpeg"/></Relationships>
</file>

<file path=ppt/slideMasters/_rels/slideMaster7.xml.rels><?xml version="1.0" encoding="UTF-8" standalone="yes"?>
<Relationships xmlns="http://schemas.openxmlformats.org/package/2006/relationships"><Relationship Id="rId2" Type="http://schemas.openxmlformats.org/officeDocument/2006/relationships/theme" Target="../theme/theme7.xml"/><Relationship Id="rId1" Type="http://schemas.openxmlformats.org/officeDocument/2006/relationships/slideLayout" Target="../slideLayouts/slideLayout10.xml"/></Relationships>
</file>

<file path=ppt/slideMasters/_rels/slideMaster8.xml.rels><?xml version="1.0" encoding="UTF-8" standalone="yes"?>
<Relationships xmlns="http://schemas.openxmlformats.org/package/2006/relationships"><Relationship Id="rId2" Type="http://schemas.openxmlformats.org/officeDocument/2006/relationships/theme" Target="../theme/theme8.xml"/><Relationship Id="rId1" Type="http://schemas.openxmlformats.org/officeDocument/2006/relationships/slideLayout" Target="../slideLayouts/slideLayout1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" y="-92280"/>
            <a:ext cx="9143833" cy="7023798"/>
          </a:xfrm>
          <a:prstGeom prst="rect">
            <a:avLst/>
          </a:prstGeom>
        </p:spPr>
      </p:pic>
      <p:sp>
        <p:nvSpPr>
          <p:cNvPr id="3" name="Rectangle 2"/>
          <p:cNvSpPr/>
          <p:nvPr/>
        </p:nvSpPr>
        <p:spPr>
          <a:xfrm>
            <a:off x="-1" y="5785457"/>
            <a:ext cx="9144001" cy="37407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pic>
        <p:nvPicPr>
          <p:cNvPr id="9" name="Image 8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067" t="22581" r="25068" b="22297"/>
          <a:stretch/>
        </p:blipFill>
        <p:spPr>
          <a:xfrm>
            <a:off x="8402297" y="5865720"/>
            <a:ext cx="478348" cy="587615"/>
          </a:xfrm>
          <a:prstGeom prst="rect">
            <a:avLst/>
          </a:prstGeom>
        </p:spPr>
      </p:pic>
      <p:pic>
        <p:nvPicPr>
          <p:cNvPr id="2" name="Image 1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3528" y="5805264"/>
            <a:ext cx="2016224" cy="657512"/>
          </a:xfrm>
          <a:prstGeom prst="rect">
            <a:avLst/>
          </a:prstGeom>
        </p:spPr>
      </p:pic>
      <p:pic>
        <p:nvPicPr>
          <p:cNvPr id="5" name="Image 4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15816" y="5785457"/>
            <a:ext cx="4517136" cy="7132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41754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</p:sldLayoutIdLst>
  <p:transition spd="slow">
    <p:pull dir="r"/>
  </p:transition>
  <p:timing>
    <p:tnLst>
      <p:par>
        <p:cTn id="1" dur="indefinite" restart="never" nodeType="tmRoot"/>
      </p:par>
    </p:tnLst>
  </p:timing>
  <p:txStyles>
    <p:titleStyle>
      <a:lvl1pPr algn="ctr" defTabSz="914400" rtl="0" eaLnBrk="1" latinLnBrk="0" hangingPunct="1">
        <a:spcBef>
          <a:spcPct val="0"/>
        </a:spcBef>
        <a:buNone/>
        <a:defRPr sz="3000" kern="1200">
          <a:solidFill>
            <a:schemeClr val="bg1"/>
          </a:solidFill>
          <a:latin typeface="Arial Narrow" pitchFamily="34" charset="0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0259" y="3885620"/>
            <a:ext cx="8856984" cy="1271572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70" r:id="rId1"/>
  </p:sldLayoutIdLst>
  <p:transition spd="slow">
    <p:pull dir="r"/>
  </p:transition>
  <p:timing>
    <p:tnLst>
      <p:par>
        <p:cTn id="1" dur="indefinite" restart="never" nodeType="tmRoot"/>
      </p:par>
    </p:tnLst>
  </p:timing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 6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9478" y="188640"/>
            <a:ext cx="8279892" cy="1168762"/>
          </a:xfrm>
          <a:prstGeom prst="rect">
            <a:avLst/>
          </a:prstGeom>
        </p:spPr>
      </p:pic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1691680" y="346725"/>
            <a:ext cx="6336704" cy="85002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 noProof="0" dirty="0" err="1" smtClean="0"/>
              <a:t>Modifiez</a:t>
            </a:r>
            <a:r>
              <a:rPr lang="en-GB" noProof="0" dirty="0" smtClean="0"/>
              <a:t> le style du titre</a:t>
            </a:r>
            <a:endParaRPr lang="en-GB" noProof="0" dirty="0"/>
          </a:p>
        </p:txBody>
      </p:sp>
      <p:pic>
        <p:nvPicPr>
          <p:cNvPr id="17" name="Image 16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91402" y="346724"/>
            <a:ext cx="829758" cy="829758"/>
          </a:xfrm>
          <a:prstGeom prst="rect">
            <a:avLst/>
          </a:prstGeom>
        </p:spPr>
      </p:pic>
      <p:sp>
        <p:nvSpPr>
          <p:cNvPr id="18" name="Rectangle 17"/>
          <p:cNvSpPr/>
          <p:nvPr userDrawn="1"/>
        </p:nvSpPr>
        <p:spPr>
          <a:xfrm>
            <a:off x="497760" y="6363328"/>
            <a:ext cx="8229602" cy="18000"/>
          </a:xfrm>
          <a:prstGeom prst="rect">
            <a:avLst/>
          </a:prstGeom>
          <a:gradFill>
            <a:gsLst>
              <a:gs pos="0">
                <a:srgbClr val="00B0F0"/>
              </a:gs>
              <a:gs pos="100000">
                <a:schemeClr val="bg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solidFill>
                <a:prstClr val="white"/>
              </a:solidFill>
            </a:endParaRPr>
          </a:p>
        </p:txBody>
      </p:sp>
      <p:pic>
        <p:nvPicPr>
          <p:cNvPr id="19" name="Image 18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092" t="33991" r="18871" b="28654"/>
          <a:stretch/>
        </p:blipFill>
        <p:spPr>
          <a:xfrm>
            <a:off x="179512" y="6408697"/>
            <a:ext cx="1182174" cy="344800"/>
          </a:xfrm>
          <a:prstGeom prst="rect">
            <a:avLst/>
          </a:prstGeom>
        </p:spPr>
      </p:pic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628650" y="1340768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 noProof="0" dirty="0" err="1" smtClean="0"/>
              <a:t>Modifiez</a:t>
            </a:r>
            <a:r>
              <a:rPr lang="en-GB" noProof="0" dirty="0" smtClean="0"/>
              <a:t> les styles du </a:t>
            </a:r>
            <a:r>
              <a:rPr lang="en-GB" noProof="0" dirty="0" err="1" smtClean="0"/>
              <a:t>texte</a:t>
            </a:r>
            <a:r>
              <a:rPr lang="en-GB" noProof="0" dirty="0" smtClean="0"/>
              <a:t> du masque</a:t>
            </a:r>
          </a:p>
          <a:p>
            <a:pPr lvl="1"/>
            <a:r>
              <a:rPr lang="en-GB" noProof="0" dirty="0" err="1" smtClean="0"/>
              <a:t>Deuxième</a:t>
            </a:r>
            <a:r>
              <a:rPr lang="en-GB" noProof="0" dirty="0" smtClean="0"/>
              <a:t> </a:t>
            </a:r>
            <a:r>
              <a:rPr lang="en-GB" noProof="0" dirty="0" err="1" smtClean="0"/>
              <a:t>niveau</a:t>
            </a:r>
            <a:endParaRPr lang="en-GB" noProof="0" dirty="0" smtClean="0"/>
          </a:p>
          <a:p>
            <a:pPr lvl="2"/>
            <a:r>
              <a:rPr lang="en-GB" noProof="0" dirty="0" err="1" smtClean="0"/>
              <a:t>Troisième</a:t>
            </a:r>
            <a:r>
              <a:rPr lang="en-GB" noProof="0" dirty="0" smtClean="0"/>
              <a:t> </a:t>
            </a:r>
            <a:r>
              <a:rPr lang="en-GB" noProof="0" dirty="0" err="1" smtClean="0"/>
              <a:t>niveau</a:t>
            </a:r>
            <a:endParaRPr lang="en-GB" noProof="0" dirty="0" smtClean="0"/>
          </a:p>
          <a:p>
            <a:pPr lvl="3"/>
            <a:r>
              <a:rPr lang="en-GB" noProof="0" dirty="0" err="1" smtClean="0"/>
              <a:t>Quatrième</a:t>
            </a:r>
            <a:r>
              <a:rPr lang="en-GB" noProof="0" dirty="0" smtClean="0"/>
              <a:t> </a:t>
            </a:r>
            <a:r>
              <a:rPr lang="en-GB" noProof="0" dirty="0" err="1" smtClean="0"/>
              <a:t>niveau</a:t>
            </a:r>
            <a:endParaRPr lang="en-GB" noProof="0" dirty="0" smtClean="0"/>
          </a:p>
          <a:p>
            <a:pPr lvl="4"/>
            <a:r>
              <a:rPr lang="en-GB" noProof="0" dirty="0" err="1" smtClean="0"/>
              <a:t>Cinquième</a:t>
            </a:r>
            <a:r>
              <a:rPr lang="en-GB" noProof="0" dirty="0" smtClean="0"/>
              <a:t> </a:t>
            </a:r>
            <a:r>
              <a:rPr lang="en-GB" noProof="0" dirty="0" err="1" smtClean="0"/>
              <a:t>niveau</a:t>
            </a:r>
            <a:endParaRPr lang="en-GB" noProof="0" dirty="0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95306" y="6317752"/>
            <a:ext cx="376155" cy="36933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2400" b="1" i="0">
                <a:solidFill>
                  <a:schemeClr val="tx2"/>
                </a:solidFill>
                <a:latin typeface="Arial"/>
                <a:cs typeface="Arial"/>
              </a:defRPr>
            </a:lvl1pPr>
          </a:lstStyle>
          <a:p>
            <a:fld id="{38C080AE-66C8-8249-B90B-B6D109566B0C}" type="slidenum">
              <a:rPr lang="en-US"/>
              <a:pPr/>
              <a:t>‹N°›</a:t>
            </a:fld>
            <a:endParaRPr lang="en-US" dirty="0"/>
          </a:p>
        </p:txBody>
      </p:sp>
      <p:pic>
        <p:nvPicPr>
          <p:cNvPr id="5" name="Image 4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18657" y="6387471"/>
            <a:ext cx="1187624" cy="387297"/>
          </a:xfrm>
          <a:prstGeom prst="rect">
            <a:avLst/>
          </a:prstGeom>
        </p:spPr>
      </p:pic>
      <p:pic>
        <p:nvPicPr>
          <p:cNvPr id="4" name="Image 3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24047" y="6390855"/>
            <a:ext cx="2888113" cy="4560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01139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6" r:id="rId1"/>
    <p:sldLayoutId id="2147483717" r:id="rId2"/>
    <p:sldLayoutId id="2147483770" r:id="rId3"/>
  </p:sldLayoutIdLst>
  <p:timing>
    <p:tnLst>
      <p:par>
        <p:cTn id="1" dur="indefinite" restart="never" nodeType="tmRoot"/>
      </p:par>
    </p:tnLst>
  </p:timing>
  <p:hf hdr="0" ftr="0"/>
  <p:txStyles>
    <p:titleStyle>
      <a:lvl1pPr algn="l" defTabSz="914400" rtl="0" eaLnBrk="1" latinLnBrk="0" hangingPunct="1">
        <a:spcBef>
          <a:spcPct val="0"/>
        </a:spcBef>
        <a:buNone/>
        <a:defRPr sz="2800" b="1" kern="1200">
          <a:solidFill>
            <a:schemeClr val="bg1"/>
          </a:solidFill>
          <a:latin typeface="Arial" pitchFamily="34" charset="0"/>
          <a:ea typeface="Tahoma" pitchFamily="34" charset="0"/>
          <a:cs typeface="Arial" pitchFamily="34" charset="0"/>
        </a:defRPr>
      </a:lvl1pPr>
    </p:titleStyle>
    <p:bodyStyle>
      <a:lvl1pPr marL="0" indent="0" algn="l" defTabSz="914400" rtl="0" eaLnBrk="1" latinLnBrk="0" hangingPunct="1">
        <a:spcBef>
          <a:spcPct val="20000"/>
        </a:spcBef>
        <a:buFont typeface="Arial" pitchFamily="34" charset="0"/>
        <a:buNone/>
        <a:defRPr sz="1600" b="0" kern="1200" baseline="0">
          <a:solidFill>
            <a:schemeClr val="tx1"/>
          </a:solidFill>
          <a:latin typeface="Tahoma" pitchFamily="34" charset="0"/>
          <a:ea typeface="Tahoma" pitchFamily="34" charset="0"/>
          <a:cs typeface="Tahoma" pitchFamily="34" charset="0"/>
        </a:defRPr>
      </a:lvl1pPr>
      <a:lvl2pPr marL="742950" marR="0" indent="-285750" algn="l" defTabSz="914400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Tx/>
        <a:buFontTx/>
        <a:buBlip>
          <a:blip r:embed="rId10"/>
        </a:buBlip>
        <a:tabLst/>
        <a:defRPr sz="1500" kern="1200">
          <a:solidFill>
            <a:schemeClr val="tx1"/>
          </a:solidFill>
          <a:latin typeface="Tahoma" pitchFamily="34" charset="0"/>
          <a:ea typeface="Tahoma" pitchFamily="34" charset="0"/>
          <a:cs typeface="Tahoma" pitchFamily="34" charset="0"/>
        </a:defRPr>
      </a:lvl2pPr>
      <a:lvl3pPr marL="1200150" indent="-285750" algn="l" defTabSz="914400" rtl="0" eaLnBrk="1" latinLnBrk="0" hangingPunct="1">
        <a:spcBef>
          <a:spcPct val="20000"/>
        </a:spcBef>
        <a:buFont typeface="Wingdings" pitchFamily="2" charset="2"/>
        <a:buChar char="§"/>
        <a:defRPr sz="1400" kern="1200">
          <a:solidFill>
            <a:schemeClr val="tx1"/>
          </a:solidFill>
          <a:latin typeface="Tahoma" pitchFamily="34" charset="0"/>
          <a:ea typeface="Tahoma" pitchFamily="34" charset="0"/>
          <a:cs typeface="Tahoma" pitchFamily="34" charset="0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1400" kern="1200">
          <a:solidFill>
            <a:schemeClr val="tx1"/>
          </a:solidFill>
          <a:latin typeface="Tahoma" pitchFamily="34" charset="0"/>
          <a:ea typeface="Tahoma" pitchFamily="34" charset="0"/>
          <a:cs typeface="Tahoma" pitchFamily="34" charset="0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1600" kern="1200">
          <a:solidFill>
            <a:schemeClr val="tx1"/>
          </a:solidFill>
          <a:latin typeface="Tahoma" pitchFamily="34" charset="0"/>
          <a:ea typeface="Tahoma" pitchFamily="34" charset="0"/>
          <a:cs typeface="Tahoma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290" name="Image 4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69863" y="3886200"/>
            <a:ext cx="8856662" cy="1271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0483036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9" r:id="rId1"/>
  </p:sldLayoutIdLst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  <p:timing>
    <p:tnLst>
      <p:par>
        <p:cTn id="1" dur="indefinite" restart="never" nodeType="tmRoot"/>
      </p:par>
    </p:tnLst>
  </p:timing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338" name="Image 9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Rectangle 2"/>
          <p:cNvSpPr/>
          <p:nvPr/>
        </p:nvSpPr>
        <p:spPr>
          <a:xfrm>
            <a:off x="0" y="5865813"/>
            <a:ext cx="9144000" cy="63023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fr-FR" dirty="0">
              <a:solidFill>
                <a:prstClr val="white"/>
              </a:solidFill>
            </a:endParaRPr>
          </a:p>
        </p:txBody>
      </p:sp>
      <p:pic>
        <p:nvPicPr>
          <p:cNvPr id="14340" name="Image 7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3497263" y="5888038"/>
            <a:ext cx="2011362" cy="6016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" name="Image 1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32699" y="5915979"/>
            <a:ext cx="1875805" cy="537357"/>
          </a:xfrm>
          <a:prstGeom prst="rect">
            <a:avLst/>
          </a:prstGeom>
        </p:spPr>
      </p:pic>
      <p:pic>
        <p:nvPicPr>
          <p:cNvPr id="6" name="Image 5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0" y="5866230"/>
            <a:ext cx="9144000" cy="62931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solidFill>
                <a:prstClr val="white"/>
              </a:solidFill>
            </a:endParaRPr>
          </a:p>
        </p:txBody>
      </p:sp>
      <p:pic>
        <p:nvPicPr>
          <p:cNvPr id="9" name="Picture 2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70093" y="5997153"/>
            <a:ext cx="1322387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" name="Image 3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1520" y="5877272"/>
            <a:ext cx="1872208" cy="610547"/>
          </a:xfrm>
          <a:prstGeom prst="rect">
            <a:avLst/>
          </a:prstGeom>
        </p:spPr>
      </p:pic>
      <p:pic>
        <p:nvPicPr>
          <p:cNvPr id="5" name="Image 4"/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43808" y="5877272"/>
            <a:ext cx="3915699" cy="618268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30" r:id="rId1"/>
  </p:sldLayoutIdLst>
  <p:transition spd="slow">
    <p:pull dir="r"/>
  </p:transition>
  <p:timing>
    <p:tnLst>
      <p:par>
        <p:cTn id="1" dur="indefinite" restart="never" nodeType="tmRoot"/>
      </p:par>
    </p:tnLst>
  </p:timing>
  <p:txStyles>
    <p:titleStyle>
      <a:lvl1pPr algn="ctr" rtl="0" eaLnBrk="0" fontAlgn="base" hangingPunct="0">
        <a:spcBef>
          <a:spcPct val="0"/>
        </a:spcBef>
        <a:spcAft>
          <a:spcPct val="0"/>
        </a:spcAft>
        <a:defRPr sz="3000" kern="1200">
          <a:solidFill>
            <a:schemeClr val="bg1"/>
          </a:solidFill>
          <a:latin typeface="Arial Narrow" pitchFamily="34" charset="0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3000">
          <a:solidFill>
            <a:schemeClr val="bg1"/>
          </a:solidFill>
          <a:latin typeface="Arial Narrow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3000">
          <a:solidFill>
            <a:schemeClr val="bg1"/>
          </a:solidFill>
          <a:latin typeface="Arial Narrow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3000">
          <a:solidFill>
            <a:schemeClr val="bg1"/>
          </a:solidFill>
          <a:latin typeface="Arial Narrow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3000">
          <a:solidFill>
            <a:schemeClr val="bg1"/>
          </a:solidFill>
          <a:latin typeface="Arial Narrow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3000">
          <a:solidFill>
            <a:schemeClr val="bg1"/>
          </a:solidFill>
          <a:latin typeface="Arial Narrow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3000">
          <a:solidFill>
            <a:schemeClr val="bg1"/>
          </a:solidFill>
          <a:latin typeface="Arial Narrow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3000">
          <a:solidFill>
            <a:schemeClr val="bg1"/>
          </a:solidFill>
          <a:latin typeface="Arial Narrow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3000">
          <a:solidFill>
            <a:schemeClr val="bg1"/>
          </a:solidFill>
          <a:latin typeface="Arial Narrow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 6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9478" y="188640"/>
            <a:ext cx="8279892" cy="1168762"/>
          </a:xfrm>
          <a:prstGeom prst="rect">
            <a:avLst/>
          </a:prstGeom>
        </p:spPr>
      </p:pic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2267744" y="346725"/>
            <a:ext cx="5616624" cy="85002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 noProof="0" dirty="0" err="1" smtClean="0"/>
              <a:t>Modifiez</a:t>
            </a:r>
            <a:r>
              <a:rPr lang="en-GB" noProof="0" dirty="0" smtClean="0"/>
              <a:t> le style du titre</a:t>
            </a:r>
            <a:endParaRPr lang="en-GB" noProof="0" dirty="0"/>
          </a:p>
        </p:txBody>
      </p:sp>
      <p:pic>
        <p:nvPicPr>
          <p:cNvPr id="17" name="Image 16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91402" y="346724"/>
            <a:ext cx="829758" cy="829758"/>
          </a:xfrm>
          <a:prstGeom prst="rect">
            <a:avLst/>
          </a:prstGeom>
        </p:spPr>
      </p:pic>
      <p:sp>
        <p:nvSpPr>
          <p:cNvPr id="18" name="Rectangle 17"/>
          <p:cNvSpPr/>
          <p:nvPr userDrawn="1"/>
        </p:nvSpPr>
        <p:spPr>
          <a:xfrm>
            <a:off x="497760" y="6363328"/>
            <a:ext cx="8229602" cy="18000"/>
          </a:xfrm>
          <a:prstGeom prst="rect">
            <a:avLst/>
          </a:prstGeom>
          <a:gradFill>
            <a:gsLst>
              <a:gs pos="0">
                <a:srgbClr val="00B0F0"/>
              </a:gs>
              <a:gs pos="100000">
                <a:schemeClr val="bg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prstClr val="white"/>
              </a:solidFill>
            </a:endParaRPr>
          </a:p>
        </p:txBody>
      </p:sp>
      <p:pic>
        <p:nvPicPr>
          <p:cNvPr id="19" name="Image 18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092" t="33991" r="18871" b="28654"/>
          <a:stretch/>
        </p:blipFill>
        <p:spPr>
          <a:xfrm>
            <a:off x="179512" y="6408697"/>
            <a:ext cx="1182174" cy="344800"/>
          </a:xfrm>
          <a:prstGeom prst="rect">
            <a:avLst/>
          </a:prstGeom>
        </p:spPr>
      </p:pic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628650" y="1340768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 noProof="0" dirty="0" err="1" smtClean="0"/>
              <a:t>Modifiez</a:t>
            </a:r>
            <a:r>
              <a:rPr lang="en-GB" noProof="0" dirty="0" smtClean="0"/>
              <a:t> les styles du </a:t>
            </a:r>
            <a:r>
              <a:rPr lang="en-GB" noProof="0" dirty="0" err="1" smtClean="0"/>
              <a:t>texte</a:t>
            </a:r>
            <a:r>
              <a:rPr lang="en-GB" noProof="0" dirty="0" smtClean="0"/>
              <a:t> du masque</a:t>
            </a:r>
          </a:p>
          <a:p>
            <a:pPr lvl="1"/>
            <a:r>
              <a:rPr lang="en-GB" noProof="0" dirty="0" err="1" smtClean="0"/>
              <a:t>Deuxième</a:t>
            </a:r>
            <a:r>
              <a:rPr lang="en-GB" noProof="0" dirty="0" smtClean="0"/>
              <a:t> </a:t>
            </a:r>
            <a:r>
              <a:rPr lang="en-GB" noProof="0" dirty="0" err="1" smtClean="0"/>
              <a:t>niveau</a:t>
            </a:r>
            <a:endParaRPr lang="en-GB" noProof="0" dirty="0" smtClean="0"/>
          </a:p>
          <a:p>
            <a:pPr lvl="2"/>
            <a:r>
              <a:rPr lang="en-GB" noProof="0" dirty="0" err="1" smtClean="0"/>
              <a:t>Troisième</a:t>
            </a:r>
            <a:r>
              <a:rPr lang="en-GB" noProof="0" dirty="0" smtClean="0"/>
              <a:t> </a:t>
            </a:r>
            <a:r>
              <a:rPr lang="en-GB" noProof="0" dirty="0" err="1" smtClean="0"/>
              <a:t>niveau</a:t>
            </a:r>
            <a:endParaRPr lang="en-GB" noProof="0" dirty="0" smtClean="0"/>
          </a:p>
          <a:p>
            <a:pPr lvl="3"/>
            <a:r>
              <a:rPr lang="en-GB" noProof="0" dirty="0" err="1" smtClean="0"/>
              <a:t>Quatrième</a:t>
            </a:r>
            <a:r>
              <a:rPr lang="en-GB" noProof="0" dirty="0" smtClean="0"/>
              <a:t> </a:t>
            </a:r>
            <a:r>
              <a:rPr lang="en-GB" noProof="0" dirty="0" err="1" smtClean="0"/>
              <a:t>niveau</a:t>
            </a:r>
            <a:endParaRPr lang="en-GB" noProof="0" dirty="0" smtClean="0"/>
          </a:p>
          <a:p>
            <a:pPr lvl="4"/>
            <a:r>
              <a:rPr lang="en-GB" noProof="0" dirty="0" err="1" smtClean="0"/>
              <a:t>Cinquième</a:t>
            </a:r>
            <a:r>
              <a:rPr lang="en-GB" noProof="0" dirty="0" smtClean="0"/>
              <a:t> </a:t>
            </a:r>
            <a:r>
              <a:rPr lang="en-GB" noProof="0" dirty="0" err="1" smtClean="0"/>
              <a:t>niveau</a:t>
            </a:r>
            <a:endParaRPr lang="en-GB" noProof="0" dirty="0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95306" y="6317752"/>
            <a:ext cx="376155" cy="36933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2400" b="1" i="0">
                <a:solidFill>
                  <a:schemeClr val="tx2"/>
                </a:solidFill>
                <a:latin typeface="Arial"/>
                <a:cs typeface="Arial"/>
              </a:defRPr>
            </a:lvl1pPr>
          </a:lstStyle>
          <a:p>
            <a:fld id="{38C080AE-66C8-8249-B90B-B6D109566B0C}" type="slidenum">
              <a:rPr lang="en-US">
                <a:solidFill>
                  <a:srgbClr val="1F497D"/>
                </a:solidFill>
              </a:rPr>
              <a:pPr/>
              <a:t>‹N°›</a:t>
            </a:fld>
            <a:endParaRPr lang="en-US" dirty="0">
              <a:solidFill>
                <a:srgbClr val="1F497D"/>
              </a:solidFill>
            </a:endParaRPr>
          </a:p>
        </p:txBody>
      </p:sp>
      <p:pic>
        <p:nvPicPr>
          <p:cNvPr id="5" name="Image 4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18657" y="6387471"/>
            <a:ext cx="1187624" cy="387297"/>
          </a:xfrm>
          <a:prstGeom prst="rect">
            <a:avLst/>
          </a:prstGeom>
        </p:spPr>
      </p:pic>
      <p:pic>
        <p:nvPicPr>
          <p:cNvPr id="4" name="Image 3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63430" y="6410427"/>
            <a:ext cx="2834632" cy="4475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46966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2" r:id="rId1"/>
    <p:sldLayoutId id="2147483733" r:id="rId2"/>
  </p:sldLayoutIdLst>
  <p:timing>
    <p:tnLst>
      <p:par>
        <p:cTn id="1" dur="indefinite" restart="never" nodeType="tmRoot"/>
      </p:par>
    </p:tnLst>
  </p:timing>
  <p:hf hdr="0" ftr="0"/>
  <p:txStyles>
    <p:titleStyle>
      <a:lvl1pPr algn="l" defTabSz="914400" rtl="0" eaLnBrk="1" latinLnBrk="0" hangingPunct="1">
        <a:spcBef>
          <a:spcPct val="0"/>
        </a:spcBef>
        <a:buNone/>
        <a:defRPr sz="2800" b="1" kern="1200">
          <a:solidFill>
            <a:schemeClr val="bg1"/>
          </a:solidFill>
          <a:latin typeface="Arial" pitchFamily="34" charset="0"/>
          <a:ea typeface="Tahoma" pitchFamily="34" charset="0"/>
          <a:cs typeface="Arial" pitchFamily="34" charset="0"/>
        </a:defRPr>
      </a:lvl1pPr>
    </p:titleStyle>
    <p:bodyStyle>
      <a:lvl1pPr marL="0" indent="0" algn="l" defTabSz="914400" rtl="0" eaLnBrk="1" latinLnBrk="0" hangingPunct="1">
        <a:spcBef>
          <a:spcPct val="20000"/>
        </a:spcBef>
        <a:buFont typeface="Arial" pitchFamily="34" charset="0"/>
        <a:buNone/>
        <a:defRPr sz="1600" b="0" kern="1200" baseline="0">
          <a:solidFill>
            <a:schemeClr val="tx1"/>
          </a:solidFill>
          <a:latin typeface="Tahoma" pitchFamily="34" charset="0"/>
          <a:ea typeface="Tahoma" pitchFamily="34" charset="0"/>
          <a:cs typeface="Tahoma" pitchFamily="34" charset="0"/>
        </a:defRPr>
      </a:lvl1pPr>
      <a:lvl2pPr marL="742950" marR="0" indent="-285750" algn="l" defTabSz="914400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Tx/>
        <a:buFontTx/>
        <a:buBlip>
          <a:blip r:embed="rId9"/>
        </a:buBlip>
        <a:tabLst/>
        <a:defRPr sz="1500" kern="1200">
          <a:solidFill>
            <a:schemeClr val="tx1"/>
          </a:solidFill>
          <a:latin typeface="Tahoma" pitchFamily="34" charset="0"/>
          <a:ea typeface="Tahoma" pitchFamily="34" charset="0"/>
          <a:cs typeface="Tahoma" pitchFamily="34" charset="0"/>
        </a:defRPr>
      </a:lvl2pPr>
      <a:lvl3pPr marL="1200150" indent="-285750" algn="l" defTabSz="914400" rtl="0" eaLnBrk="1" latinLnBrk="0" hangingPunct="1">
        <a:spcBef>
          <a:spcPct val="20000"/>
        </a:spcBef>
        <a:buFont typeface="Wingdings" pitchFamily="2" charset="2"/>
        <a:buChar char="§"/>
        <a:defRPr sz="1400" kern="1200">
          <a:solidFill>
            <a:schemeClr val="tx1"/>
          </a:solidFill>
          <a:latin typeface="Tahoma" pitchFamily="34" charset="0"/>
          <a:ea typeface="Tahoma" pitchFamily="34" charset="0"/>
          <a:cs typeface="Tahoma" pitchFamily="34" charset="0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1400" kern="1200">
          <a:solidFill>
            <a:schemeClr val="tx1"/>
          </a:solidFill>
          <a:latin typeface="Tahoma" pitchFamily="34" charset="0"/>
          <a:ea typeface="Tahoma" pitchFamily="34" charset="0"/>
          <a:cs typeface="Tahoma" pitchFamily="34" charset="0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1600" kern="1200">
          <a:solidFill>
            <a:schemeClr val="tx1"/>
          </a:solidFill>
          <a:latin typeface="Tahoma" pitchFamily="34" charset="0"/>
          <a:ea typeface="Tahoma" pitchFamily="34" charset="0"/>
          <a:cs typeface="Tahoma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268251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2" r:id="rId1"/>
  </p:sldLayoutIdLst>
  <p:hf sldNum="0" hd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 kern="1200">
          <a:solidFill>
            <a:schemeClr val="tx1"/>
          </a:solidFill>
          <a:latin typeface="+mj-lt"/>
          <a:ea typeface="MS PGothic" panose="020B0600070205080204" pitchFamily="34" charset="-128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Poppins" charset="0"/>
          <a:ea typeface="MS PGothic" panose="020B0600070205080204" pitchFamily="34" charset="-128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Poppins" charset="0"/>
          <a:ea typeface="MS PGothic" panose="020B0600070205080204" pitchFamily="34" charset="-128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Poppins" charset="0"/>
          <a:ea typeface="MS PGothic" panose="020B0600070205080204" pitchFamily="34" charset="-128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Poppins" charset="0"/>
          <a:ea typeface="MS PGothic" panose="020B0600070205080204" pitchFamily="34" charset="-128"/>
        </a:defRPr>
      </a:lvl5pPr>
      <a:lvl6pPr marL="342892" algn="l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Poppins" charset="0"/>
          <a:ea typeface="ＭＳ Ｐゴシック" charset="0"/>
        </a:defRPr>
      </a:lvl6pPr>
      <a:lvl7pPr marL="685783" algn="l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Poppins" charset="0"/>
          <a:ea typeface="ＭＳ Ｐゴシック" charset="0"/>
        </a:defRPr>
      </a:lvl7pPr>
      <a:lvl8pPr marL="1028675" algn="l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Poppins" charset="0"/>
          <a:ea typeface="ＭＳ Ｐゴシック" charset="0"/>
        </a:defRPr>
      </a:lvl8pPr>
      <a:lvl9pPr marL="1371566" algn="l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Poppins" charset="0"/>
          <a:ea typeface="ＭＳ Ｐゴシック" charset="0"/>
        </a:defRPr>
      </a:lvl9pPr>
    </p:titleStyle>
    <p:bodyStyle>
      <a:lvl1pPr marL="170260" indent="-170260" algn="l" rtl="0" eaLnBrk="0" fontAlgn="base" hangingPunct="0">
        <a:lnSpc>
          <a:spcPct val="90000"/>
        </a:lnSpc>
        <a:spcBef>
          <a:spcPts val="750"/>
        </a:spcBef>
        <a:spcAft>
          <a:spcPct val="0"/>
        </a:spcAft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MS PGothic" panose="020B0600070205080204" pitchFamily="34" charset="-128"/>
          <a:cs typeface="+mn-cs"/>
        </a:defRPr>
      </a:lvl1pPr>
      <a:lvl2pPr marL="513160" indent="-170260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MS PGothic" panose="020B0600070205080204" pitchFamily="34" charset="-128"/>
          <a:cs typeface="+mn-cs"/>
        </a:defRPr>
      </a:lvl2pPr>
      <a:lvl3pPr marL="856060" indent="-170260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MS PGothic" panose="020B0600070205080204" pitchFamily="34" charset="-128"/>
          <a:cs typeface="+mn-cs"/>
        </a:defRPr>
      </a:lvl3pPr>
      <a:lvl4pPr marL="1198960" indent="-170260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MS PGothic" panose="020B0600070205080204" pitchFamily="34" charset="-128"/>
          <a:cs typeface="+mn-cs"/>
        </a:defRPr>
      </a:lvl4pPr>
      <a:lvl5pPr marL="1541860" indent="-170260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MS PGothic" panose="020B0600070205080204" pitchFamily="34" charset="-128"/>
          <a:cs typeface="+mn-cs"/>
        </a:defRPr>
      </a:lvl5pPr>
      <a:lvl6pPr marL="1885903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795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686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77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9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5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8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138441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7" r:id="rId1"/>
  </p:sldLayoutIdLst>
  <p:hf sldNum="0" hd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hemeOverride" Target="../theme/themeOverride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4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4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16.png"/><Relationship Id="rId5" Type="http://schemas.openxmlformats.org/officeDocument/2006/relationships/image" Target="../media/image115.png"/><Relationship Id="rId4" Type="http://schemas.openxmlformats.org/officeDocument/2006/relationships/image" Target="../media/image9.jpeg"/></Relationships>
</file>

<file path=ppt/slides/_rels/slide16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3" Type="http://schemas.openxmlformats.org/officeDocument/2006/relationships/image" Target="../media/image117.jpeg"/><Relationship Id="rId7" Type="http://schemas.openxmlformats.org/officeDocument/2006/relationships/diagramColors" Target="../diagrams/colors1.xm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4.xml"/><Relationship Id="rId6" Type="http://schemas.openxmlformats.org/officeDocument/2006/relationships/diagramQuickStyle" Target="../diagrams/quickStyle1.xml"/><Relationship Id="rId5" Type="http://schemas.openxmlformats.org/officeDocument/2006/relationships/diagramLayout" Target="../diagrams/layout1.xml"/><Relationship Id="rId4" Type="http://schemas.openxmlformats.org/officeDocument/2006/relationships/diagramData" Target="../diagrams/data1.xml"/><Relationship Id="rId9" Type="http://schemas.openxmlformats.org/officeDocument/2006/relationships/image" Target="../media/image118.jpg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3.png"/><Relationship Id="rId13" Type="http://schemas.openxmlformats.org/officeDocument/2006/relationships/image" Target="../media/image128.png"/><Relationship Id="rId18" Type="http://schemas.openxmlformats.org/officeDocument/2006/relationships/image" Target="../media/image133.png"/><Relationship Id="rId3" Type="http://schemas.openxmlformats.org/officeDocument/2006/relationships/image" Target="../media/image9.jpeg"/><Relationship Id="rId21" Type="http://schemas.openxmlformats.org/officeDocument/2006/relationships/image" Target="../media/image136.png"/><Relationship Id="rId7" Type="http://schemas.openxmlformats.org/officeDocument/2006/relationships/image" Target="../media/image122.png"/><Relationship Id="rId12" Type="http://schemas.openxmlformats.org/officeDocument/2006/relationships/image" Target="../media/image127.png"/><Relationship Id="rId17" Type="http://schemas.openxmlformats.org/officeDocument/2006/relationships/image" Target="../media/image132.png"/><Relationship Id="rId2" Type="http://schemas.openxmlformats.org/officeDocument/2006/relationships/notesSlide" Target="../notesSlides/notesSlide14.xml"/><Relationship Id="rId16" Type="http://schemas.openxmlformats.org/officeDocument/2006/relationships/image" Target="../media/image131.png"/><Relationship Id="rId20" Type="http://schemas.openxmlformats.org/officeDocument/2006/relationships/image" Target="../media/image135.gif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21.png"/><Relationship Id="rId11" Type="http://schemas.openxmlformats.org/officeDocument/2006/relationships/image" Target="../media/image126.png"/><Relationship Id="rId5" Type="http://schemas.openxmlformats.org/officeDocument/2006/relationships/image" Target="../media/image120.png"/><Relationship Id="rId15" Type="http://schemas.openxmlformats.org/officeDocument/2006/relationships/image" Target="../media/image130.png"/><Relationship Id="rId23" Type="http://schemas.openxmlformats.org/officeDocument/2006/relationships/image" Target="../media/image138.gif"/><Relationship Id="rId10" Type="http://schemas.openxmlformats.org/officeDocument/2006/relationships/image" Target="../media/image125.png"/><Relationship Id="rId19" Type="http://schemas.openxmlformats.org/officeDocument/2006/relationships/image" Target="../media/image134.gif"/><Relationship Id="rId4" Type="http://schemas.openxmlformats.org/officeDocument/2006/relationships/image" Target="../media/image119.png"/><Relationship Id="rId9" Type="http://schemas.openxmlformats.org/officeDocument/2006/relationships/image" Target="../media/image124.png"/><Relationship Id="rId14" Type="http://schemas.openxmlformats.org/officeDocument/2006/relationships/image" Target="../media/image129.png"/><Relationship Id="rId22" Type="http://schemas.openxmlformats.org/officeDocument/2006/relationships/image" Target="../media/image137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39.jp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0.jp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4.xml"/></Relationships>
</file>

<file path=ppt/slides/_rels/slide22.xml.rels><?xml version="1.0" encoding="UTF-8" standalone="yes"?>
<Relationships xmlns="http://schemas.openxmlformats.org/package/2006/relationships"><Relationship Id="rId117" Type="http://schemas.openxmlformats.org/officeDocument/2006/relationships/tags" Target="../tags/tag117.xml"/><Relationship Id="rId21" Type="http://schemas.openxmlformats.org/officeDocument/2006/relationships/tags" Target="../tags/tag21.xml"/><Relationship Id="rId42" Type="http://schemas.openxmlformats.org/officeDocument/2006/relationships/tags" Target="../tags/tag42.xml"/><Relationship Id="rId63" Type="http://schemas.openxmlformats.org/officeDocument/2006/relationships/tags" Target="../tags/tag63.xml"/><Relationship Id="rId84" Type="http://schemas.openxmlformats.org/officeDocument/2006/relationships/tags" Target="../tags/tag84.xml"/><Relationship Id="rId16" Type="http://schemas.openxmlformats.org/officeDocument/2006/relationships/tags" Target="../tags/tag16.xml"/><Relationship Id="rId107" Type="http://schemas.openxmlformats.org/officeDocument/2006/relationships/tags" Target="../tags/tag107.xml"/><Relationship Id="rId11" Type="http://schemas.openxmlformats.org/officeDocument/2006/relationships/tags" Target="../tags/tag11.xml"/><Relationship Id="rId32" Type="http://schemas.openxmlformats.org/officeDocument/2006/relationships/tags" Target="../tags/tag32.xml"/><Relationship Id="rId37" Type="http://schemas.openxmlformats.org/officeDocument/2006/relationships/tags" Target="../tags/tag37.xml"/><Relationship Id="rId53" Type="http://schemas.openxmlformats.org/officeDocument/2006/relationships/tags" Target="../tags/tag53.xml"/><Relationship Id="rId58" Type="http://schemas.openxmlformats.org/officeDocument/2006/relationships/tags" Target="../tags/tag58.xml"/><Relationship Id="rId74" Type="http://schemas.openxmlformats.org/officeDocument/2006/relationships/tags" Target="../tags/tag74.xml"/><Relationship Id="rId79" Type="http://schemas.openxmlformats.org/officeDocument/2006/relationships/tags" Target="../tags/tag79.xml"/><Relationship Id="rId102" Type="http://schemas.openxmlformats.org/officeDocument/2006/relationships/tags" Target="../tags/tag102.xml"/><Relationship Id="rId123" Type="http://schemas.openxmlformats.org/officeDocument/2006/relationships/image" Target="../media/image141.png"/><Relationship Id="rId128" Type="http://schemas.openxmlformats.org/officeDocument/2006/relationships/image" Target="../media/image145.png"/><Relationship Id="rId5" Type="http://schemas.openxmlformats.org/officeDocument/2006/relationships/tags" Target="../tags/tag5.xml"/><Relationship Id="rId90" Type="http://schemas.openxmlformats.org/officeDocument/2006/relationships/tags" Target="../tags/tag90.xml"/><Relationship Id="rId95" Type="http://schemas.openxmlformats.org/officeDocument/2006/relationships/tags" Target="../tags/tag95.xml"/><Relationship Id="rId22" Type="http://schemas.openxmlformats.org/officeDocument/2006/relationships/tags" Target="../tags/tag22.xml"/><Relationship Id="rId27" Type="http://schemas.openxmlformats.org/officeDocument/2006/relationships/tags" Target="../tags/tag27.xml"/><Relationship Id="rId43" Type="http://schemas.openxmlformats.org/officeDocument/2006/relationships/tags" Target="../tags/tag43.xml"/><Relationship Id="rId48" Type="http://schemas.openxmlformats.org/officeDocument/2006/relationships/tags" Target="../tags/tag48.xml"/><Relationship Id="rId64" Type="http://schemas.openxmlformats.org/officeDocument/2006/relationships/tags" Target="../tags/tag64.xml"/><Relationship Id="rId69" Type="http://schemas.openxmlformats.org/officeDocument/2006/relationships/tags" Target="../tags/tag69.xml"/><Relationship Id="rId113" Type="http://schemas.openxmlformats.org/officeDocument/2006/relationships/tags" Target="../tags/tag113.xml"/><Relationship Id="rId118" Type="http://schemas.openxmlformats.org/officeDocument/2006/relationships/tags" Target="../tags/tag118.xml"/><Relationship Id="rId80" Type="http://schemas.openxmlformats.org/officeDocument/2006/relationships/tags" Target="../tags/tag80.xml"/><Relationship Id="rId85" Type="http://schemas.openxmlformats.org/officeDocument/2006/relationships/tags" Target="../tags/tag85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33" Type="http://schemas.openxmlformats.org/officeDocument/2006/relationships/tags" Target="../tags/tag33.xml"/><Relationship Id="rId38" Type="http://schemas.openxmlformats.org/officeDocument/2006/relationships/tags" Target="../tags/tag38.xml"/><Relationship Id="rId59" Type="http://schemas.openxmlformats.org/officeDocument/2006/relationships/tags" Target="../tags/tag59.xml"/><Relationship Id="rId103" Type="http://schemas.openxmlformats.org/officeDocument/2006/relationships/tags" Target="../tags/tag103.xml"/><Relationship Id="rId108" Type="http://schemas.openxmlformats.org/officeDocument/2006/relationships/tags" Target="../tags/tag108.xml"/><Relationship Id="rId124" Type="http://schemas.openxmlformats.org/officeDocument/2006/relationships/image" Target="../media/image142.jpeg"/><Relationship Id="rId129" Type="http://schemas.openxmlformats.org/officeDocument/2006/relationships/image" Target="../media/image146.png"/><Relationship Id="rId54" Type="http://schemas.openxmlformats.org/officeDocument/2006/relationships/tags" Target="../tags/tag54.xml"/><Relationship Id="rId70" Type="http://schemas.openxmlformats.org/officeDocument/2006/relationships/tags" Target="../tags/tag70.xml"/><Relationship Id="rId75" Type="http://schemas.openxmlformats.org/officeDocument/2006/relationships/tags" Target="../tags/tag75.xml"/><Relationship Id="rId91" Type="http://schemas.openxmlformats.org/officeDocument/2006/relationships/tags" Target="../tags/tag91.xml"/><Relationship Id="rId96" Type="http://schemas.openxmlformats.org/officeDocument/2006/relationships/tags" Target="../tags/tag96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23" Type="http://schemas.openxmlformats.org/officeDocument/2006/relationships/tags" Target="../tags/tag23.xml"/><Relationship Id="rId28" Type="http://schemas.openxmlformats.org/officeDocument/2006/relationships/tags" Target="../tags/tag28.xml"/><Relationship Id="rId49" Type="http://schemas.openxmlformats.org/officeDocument/2006/relationships/tags" Target="../tags/tag49.xml"/><Relationship Id="rId114" Type="http://schemas.openxmlformats.org/officeDocument/2006/relationships/tags" Target="../tags/tag114.xml"/><Relationship Id="rId119" Type="http://schemas.openxmlformats.org/officeDocument/2006/relationships/tags" Target="../tags/tag119.xml"/><Relationship Id="rId44" Type="http://schemas.openxmlformats.org/officeDocument/2006/relationships/tags" Target="../tags/tag44.xml"/><Relationship Id="rId60" Type="http://schemas.openxmlformats.org/officeDocument/2006/relationships/tags" Target="../tags/tag60.xml"/><Relationship Id="rId65" Type="http://schemas.openxmlformats.org/officeDocument/2006/relationships/tags" Target="../tags/tag65.xml"/><Relationship Id="rId81" Type="http://schemas.openxmlformats.org/officeDocument/2006/relationships/tags" Target="../tags/tag81.xml"/><Relationship Id="rId86" Type="http://schemas.openxmlformats.org/officeDocument/2006/relationships/tags" Target="../tags/tag86.xml"/><Relationship Id="rId130" Type="http://schemas.openxmlformats.org/officeDocument/2006/relationships/image" Target="../media/image147.png"/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39" Type="http://schemas.openxmlformats.org/officeDocument/2006/relationships/tags" Target="../tags/tag39.xml"/><Relationship Id="rId109" Type="http://schemas.openxmlformats.org/officeDocument/2006/relationships/tags" Target="../tags/tag109.xml"/><Relationship Id="rId34" Type="http://schemas.openxmlformats.org/officeDocument/2006/relationships/tags" Target="../tags/tag34.xml"/><Relationship Id="rId50" Type="http://schemas.openxmlformats.org/officeDocument/2006/relationships/tags" Target="../tags/tag50.xml"/><Relationship Id="rId55" Type="http://schemas.openxmlformats.org/officeDocument/2006/relationships/tags" Target="../tags/tag55.xml"/><Relationship Id="rId76" Type="http://schemas.openxmlformats.org/officeDocument/2006/relationships/tags" Target="../tags/tag76.xml"/><Relationship Id="rId97" Type="http://schemas.openxmlformats.org/officeDocument/2006/relationships/tags" Target="../tags/tag97.xml"/><Relationship Id="rId104" Type="http://schemas.openxmlformats.org/officeDocument/2006/relationships/tags" Target="../tags/tag104.xml"/><Relationship Id="rId120" Type="http://schemas.openxmlformats.org/officeDocument/2006/relationships/tags" Target="../tags/tag120.xml"/><Relationship Id="rId125" Type="http://schemas.openxmlformats.org/officeDocument/2006/relationships/image" Target="../media/image143.jpeg"/><Relationship Id="rId7" Type="http://schemas.openxmlformats.org/officeDocument/2006/relationships/tags" Target="../tags/tag7.xml"/><Relationship Id="rId71" Type="http://schemas.openxmlformats.org/officeDocument/2006/relationships/tags" Target="../tags/tag71.xml"/><Relationship Id="rId92" Type="http://schemas.openxmlformats.org/officeDocument/2006/relationships/tags" Target="../tags/tag92.xml"/><Relationship Id="rId2" Type="http://schemas.openxmlformats.org/officeDocument/2006/relationships/tags" Target="../tags/tag2.xml"/><Relationship Id="rId29" Type="http://schemas.openxmlformats.org/officeDocument/2006/relationships/tags" Target="../tags/tag29.xml"/><Relationship Id="rId24" Type="http://schemas.openxmlformats.org/officeDocument/2006/relationships/tags" Target="../tags/tag24.xml"/><Relationship Id="rId40" Type="http://schemas.openxmlformats.org/officeDocument/2006/relationships/tags" Target="../tags/tag40.xml"/><Relationship Id="rId45" Type="http://schemas.openxmlformats.org/officeDocument/2006/relationships/tags" Target="../tags/tag45.xml"/><Relationship Id="rId66" Type="http://schemas.openxmlformats.org/officeDocument/2006/relationships/tags" Target="../tags/tag66.xml"/><Relationship Id="rId87" Type="http://schemas.openxmlformats.org/officeDocument/2006/relationships/tags" Target="../tags/tag87.xml"/><Relationship Id="rId110" Type="http://schemas.openxmlformats.org/officeDocument/2006/relationships/tags" Target="../tags/tag110.xml"/><Relationship Id="rId115" Type="http://schemas.openxmlformats.org/officeDocument/2006/relationships/tags" Target="../tags/tag115.xml"/><Relationship Id="rId131" Type="http://schemas.openxmlformats.org/officeDocument/2006/relationships/image" Target="../media/image148.gif"/><Relationship Id="rId61" Type="http://schemas.openxmlformats.org/officeDocument/2006/relationships/tags" Target="../tags/tag61.xml"/><Relationship Id="rId82" Type="http://schemas.openxmlformats.org/officeDocument/2006/relationships/tags" Target="../tags/tag82.xml"/><Relationship Id="rId19" Type="http://schemas.openxmlformats.org/officeDocument/2006/relationships/tags" Target="../tags/tag19.xml"/><Relationship Id="rId14" Type="http://schemas.openxmlformats.org/officeDocument/2006/relationships/tags" Target="../tags/tag14.xml"/><Relationship Id="rId30" Type="http://schemas.openxmlformats.org/officeDocument/2006/relationships/tags" Target="../tags/tag30.xml"/><Relationship Id="rId35" Type="http://schemas.openxmlformats.org/officeDocument/2006/relationships/tags" Target="../tags/tag35.xml"/><Relationship Id="rId56" Type="http://schemas.openxmlformats.org/officeDocument/2006/relationships/tags" Target="../tags/tag56.xml"/><Relationship Id="rId77" Type="http://schemas.openxmlformats.org/officeDocument/2006/relationships/tags" Target="../tags/tag77.xml"/><Relationship Id="rId100" Type="http://schemas.openxmlformats.org/officeDocument/2006/relationships/tags" Target="../tags/tag100.xml"/><Relationship Id="rId105" Type="http://schemas.openxmlformats.org/officeDocument/2006/relationships/tags" Target="../tags/tag105.xml"/><Relationship Id="rId126" Type="http://schemas.openxmlformats.org/officeDocument/2006/relationships/image" Target="../media/image144.jpeg"/><Relationship Id="rId8" Type="http://schemas.openxmlformats.org/officeDocument/2006/relationships/tags" Target="../tags/tag8.xml"/><Relationship Id="rId51" Type="http://schemas.openxmlformats.org/officeDocument/2006/relationships/tags" Target="../tags/tag51.xml"/><Relationship Id="rId72" Type="http://schemas.openxmlformats.org/officeDocument/2006/relationships/tags" Target="../tags/tag72.xml"/><Relationship Id="rId93" Type="http://schemas.openxmlformats.org/officeDocument/2006/relationships/tags" Target="../tags/tag93.xml"/><Relationship Id="rId98" Type="http://schemas.openxmlformats.org/officeDocument/2006/relationships/tags" Target="../tags/tag98.xml"/><Relationship Id="rId121" Type="http://schemas.openxmlformats.org/officeDocument/2006/relationships/slideLayout" Target="../slideLayouts/slideLayout4.xml"/><Relationship Id="rId3" Type="http://schemas.openxmlformats.org/officeDocument/2006/relationships/tags" Target="../tags/tag3.xml"/><Relationship Id="rId25" Type="http://schemas.openxmlformats.org/officeDocument/2006/relationships/tags" Target="../tags/tag25.xml"/><Relationship Id="rId46" Type="http://schemas.openxmlformats.org/officeDocument/2006/relationships/tags" Target="../tags/tag46.xml"/><Relationship Id="rId67" Type="http://schemas.openxmlformats.org/officeDocument/2006/relationships/tags" Target="../tags/tag67.xml"/><Relationship Id="rId116" Type="http://schemas.openxmlformats.org/officeDocument/2006/relationships/tags" Target="../tags/tag116.xml"/><Relationship Id="rId20" Type="http://schemas.openxmlformats.org/officeDocument/2006/relationships/tags" Target="../tags/tag20.xml"/><Relationship Id="rId41" Type="http://schemas.openxmlformats.org/officeDocument/2006/relationships/tags" Target="../tags/tag41.xml"/><Relationship Id="rId62" Type="http://schemas.openxmlformats.org/officeDocument/2006/relationships/tags" Target="../tags/tag62.xml"/><Relationship Id="rId83" Type="http://schemas.openxmlformats.org/officeDocument/2006/relationships/tags" Target="../tags/tag83.xml"/><Relationship Id="rId88" Type="http://schemas.openxmlformats.org/officeDocument/2006/relationships/tags" Target="../tags/tag88.xml"/><Relationship Id="rId111" Type="http://schemas.openxmlformats.org/officeDocument/2006/relationships/tags" Target="../tags/tag111.xml"/><Relationship Id="rId132" Type="http://schemas.openxmlformats.org/officeDocument/2006/relationships/image" Target="../media/image149.gif"/><Relationship Id="rId15" Type="http://schemas.openxmlformats.org/officeDocument/2006/relationships/tags" Target="../tags/tag15.xml"/><Relationship Id="rId36" Type="http://schemas.openxmlformats.org/officeDocument/2006/relationships/tags" Target="../tags/tag36.xml"/><Relationship Id="rId57" Type="http://schemas.openxmlformats.org/officeDocument/2006/relationships/tags" Target="../tags/tag57.xml"/><Relationship Id="rId106" Type="http://schemas.openxmlformats.org/officeDocument/2006/relationships/tags" Target="../tags/tag106.xml"/><Relationship Id="rId127" Type="http://schemas.openxmlformats.org/officeDocument/2006/relationships/image" Target="../media/image86.jpg"/><Relationship Id="rId10" Type="http://schemas.openxmlformats.org/officeDocument/2006/relationships/tags" Target="../tags/tag10.xml"/><Relationship Id="rId31" Type="http://schemas.openxmlformats.org/officeDocument/2006/relationships/tags" Target="../tags/tag31.xml"/><Relationship Id="rId52" Type="http://schemas.openxmlformats.org/officeDocument/2006/relationships/tags" Target="../tags/tag52.xml"/><Relationship Id="rId73" Type="http://schemas.openxmlformats.org/officeDocument/2006/relationships/tags" Target="../tags/tag73.xml"/><Relationship Id="rId78" Type="http://schemas.openxmlformats.org/officeDocument/2006/relationships/tags" Target="../tags/tag78.xml"/><Relationship Id="rId94" Type="http://schemas.openxmlformats.org/officeDocument/2006/relationships/tags" Target="../tags/tag94.xml"/><Relationship Id="rId99" Type="http://schemas.openxmlformats.org/officeDocument/2006/relationships/tags" Target="../tags/tag99.xml"/><Relationship Id="rId101" Type="http://schemas.openxmlformats.org/officeDocument/2006/relationships/tags" Target="../tags/tag101.xml"/><Relationship Id="rId122" Type="http://schemas.openxmlformats.org/officeDocument/2006/relationships/notesSlide" Target="../notesSlides/notesSlide18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26" Type="http://schemas.openxmlformats.org/officeDocument/2006/relationships/tags" Target="../tags/tag26.xml"/><Relationship Id="rId47" Type="http://schemas.openxmlformats.org/officeDocument/2006/relationships/tags" Target="../tags/tag47.xml"/><Relationship Id="rId68" Type="http://schemas.openxmlformats.org/officeDocument/2006/relationships/tags" Target="../tags/tag68.xml"/><Relationship Id="rId89" Type="http://schemas.openxmlformats.org/officeDocument/2006/relationships/tags" Target="../tags/tag89.xml"/><Relationship Id="rId112" Type="http://schemas.openxmlformats.org/officeDocument/2006/relationships/tags" Target="../tags/tag112.xml"/><Relationship Id="rId133" Type="http://schemas.openxmlformats.org/officeDocument/2006/relationships/image" Target="../media/image150.jpeg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3.jpeg"/><Relationship Id="rId13" Type="http://schemas.openxmlformats.org/officeDocument/2006/relationships/image" Target="../media/image144.jpeg"/><Relationship Id="rId3" Type="http://schemas.openxmlformats.org/officeDocument/2006/relationships/image" Target="../media/image86.jpg"/><Relationship Id="rId7" Type="http://schemas.openxmlformats.org/officeDocument/2006/relationships/image" Target="../media/image142.jpeg"/><Relationship Id="rId12" Type="http://schemas.openxmlformats.org/officeDocument/2006/relationships/image" Target="../media/image151.jpe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48.gif"/><Relationship Id="rId11" Type="http://schemas.openxmlformats.org/officeDocument/2006/relationships/image" Target="../media/image149.gif"/><Relationship Id="rId5" Type="http://schemas.openxmlformats.org/officeDocument/2006/relationships/image" Target="../media/image141.png"/><Relationship Id="rId10" Type="http://schemas.openxmlformats.org/officeDocument/2006/relationships/image" Target="../media/image147.png"/><Relationship Id="rId4" Type="http://schemas.openxmlformats.org/officeDocument/2006/relationships/image" Target="../media/image145.png"/><Relationship Id="rId9" Type="http://schemas.openxmlformats.org/officeDocument/2006/relationships/image" Target="../media/image146.png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7.jpeg"/><Relationship Id="rId13" Type="http://schemas.openxmlformats.org/officeDocument/2006/relationships/image" Target="../media/image162.png"/><Relationship Id="rId3" Type="http://schemas.openxmlformats.org/officeDocument/2006/relationships/image" Target="../media/image152.jpeg"/><Relationship Id="rId7" Type="http://schemas.openxmlformats.org/officeDocument/2006/relationships/image" Target="../media/image156.png"/><Relationship Id="rId12" Type="http://schemas.openxmlformats.org/officeDocument/2006/relationships/image" Target="../media/image161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55.jpeg"/><Relationship Id="rId11" Type="http://schemas.openxmlformats.org/officeDocument/2006/relationships/image" Target="../media/image160.png"/><Relationship Id="rId5" Type="http://schemas.openxmlformats.org/officeDocument/2006/relationships/image" Target="../media/image154.jpeg"/><Relationship Id="rId10" Type="http://schemas.openxmlformats.org/officeDocument/2006/relationships/image" Target="../media/image159.png"/><Relationship Id="rId4" Type="http://schemas.openxmlformats.org/officeDocument/2006/relationships/image" Target="../media/image153.jpeg"/><Relationship Id="rId9" Type="http://schemas.openxmlformats.org/officeDocument/2006/relationships/image" Target="../media/image158.gif"/><Relationship Id="rId14" Type="http://schemas.openxmlformats.org/officeDocument/2006/relationships/image" Target="../media/image163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4.jp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6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5.jpeg"/><Relationship Id="rId2" Type="http://schemas.openxmlformats.org/officeDocument/2006/relationships/image" Target="../media/image140.jpg"/><Relationship Id="rId1" Type="http://schemas.openxmlformats.org/officeDocument/2006/relationships/slideLayout" Target="../slideLayouts/slideLayout4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7.png"/><Relationship Id="rId2" Type="http://schemas.openxmlformats.org/officeDocument/2006/relationships/image" Target="../media/image166.jpeg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169.png"/><Relationship Id="rId4" Type="http://schemas.openxmlformats.org/officeDocument/2006/relationships/image" Target="../media/image168.jpg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hyperlink" Target="https://ecscollaborationtool.eu/" TargetMode="External"/><Relationship Id="rId1" Type="http://schemas.openxmlformats.org/officeDocument/2006/relationships/slideLayout" Target="../slideLayouts/slideLayout11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0.jpg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0.png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3" Type="http://schemas.openxmlformats.org/officeDocument/2006/relationships/image" Target="../media/image24.png"/><Relationship Id="rId7" Type="http://schemas.openxmlformats.org/officeDocument/2006/relationships/image" Target="../media/image28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27.jpeg"/><Relationship Id="rId5" Type="http://schemas.openxmlformats.org/officeDocument/2006/relationships/image" Target="../media/image26.png"/><Relationship Id="rId10" Type="http://schemas.openxmlformats.org/officeDocument/2006/relationships/image" Target="../media/image31.png"/><Relationship Id="rId4" Type="http://schemas.openxmlformats.org/officeDocument/2006/relationships/image" Target="../media/image25.png"/><Relationship Id="rId9" Type="http://schemas.openxmlformats.org/officeDocument/2006/relationships/image" Target="../media/image30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9.jpeg"/><Relationship Id="rId4" Type="http://schemas.openxmlformats.org/officeDocument/2006/relationships/image" Target="../media/image33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png"/><Relationship Id="rId13" Type="http://schemas.openxmlformats.org/officeDocument/2006/relationships/image" Target="../media/image45.png"/><Relationship Id="rId3" Type="http://schemas.openxmlformats.org/officeDocument/2006/relationships/image" Target="../media/image35.png"/><Relationship Id="rId7" Type="http://schemas.openxmlformats.org/officeDocument/2006/relationships/image" Target="../media/image39.png"/><Relationship Id="rId12" Type="http://schemas.openxmlformats.org/officeDocument/2006/relationships/image" Target="../media/image44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38.png"/><Relationship Id="rId11" Type="http://schemas.openxmlformats.org/officeDocument/2006/relationships/image" Target="../media/image43.png"/><Relationship Id="rId5" Type="http://schemas.openxmlformats.org/officeDocument/2006/relationships/image" Target="../media/image37.png"/><Relationship Id="rId10" Type="http://schemas.openxmlformats.org/officeDocument/2006/relationships/image" Target="../media/image42.png"/><Relationship Id="rId4" Type="http://schemas.openxmlformats.org/officeDocument/2006/relationships/image" Target="../media/image36.png"/><Relationship Id="rId9" Type="http://schemas.openxmlformats.org/officeDocument/2006/relationships/image" Target="../media/image41.png"/><Relationship Id="rId14" Type="http://schemas.openxmlformats.org/officeDocument/2006/relationships/image" Target="../media/image46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6" Type="http://schemas.openxmlformats.org/officeDocument/2006/relationships/image" Target="../media/image70.png"/><Relationship Id="rId21" Type="http://schemas.openxmlformats.org/officeDocument/2006/relationships/image" Target="../media/image65.png"/><Relationship Id="rId34" Type="http://schemas.openxmlformats.org/officeDocument/2006/relationships/image" Target="../media/image78.gif"/><Relationship Id="rId42" Type="http://schemas.openxmlformats.org/officeDocument/2006/relationships/image" Target="../media/image86.jpg"/><Relationship Id="rId47" Type="http://schemas.openxmlformats.org/officeDocument/2006/relationships/image" Target="../media/image91.jpeg"/><Relationship Id="rId50" Type="http://schemas.openxmlformats.org/officeDocument/2006/relationships/image" Target="../media/image94.jpg"/><Relationship Id="rId55" Type="http://schemas.openxmlformats.org/officeDocument/2006/relationships/image" Target="../media/image99.jpeg"/><Relationship Id="rId63" Type="http://schemas.openxmlformats.org/officeDocument/2006/relationships/image" Target="../media/image107.jpeg"/><Relationship Id="rId7" Type="http://schemas.openxmlformats.org/officeDocument/2006/relationships/image" Target="../media/image51.jpeg"/><Relationship Id="rId2" Type="http://schemas.openxmlformats.org/officeDocument/2006/relationships/notesSlide" Target="../notesSlides/notesSlide6.xml"/><Relationship Id="rId16" Type="http://schemas.openxmlformats.org/officeDocument/2006/relationships/image" Target="../media/image60.jpg"/><Relationship Id="rId29" Type="http://schemas.openxmlformats.org/officeDocument/2006/relationships/image" Target="../media/image73.png"/><Relationship Id="rId11" Type="http://schemas.openxmlformats.org/officeDocument/2006/relationships/image" Target="../media/image55.gif"/><Relationship Id="rId24" Type="http://schemas.openxmlformats.org/officeDocument/2006/relationships/image" Target="../media/image68.png"/><Relationship Id="rId32" Type="http://schemas.openxmlformats.org/officeDocument/2006/relationships/image" Target="../media/image76.jpeg"/><Relationship Id="rId37" Type="http://schemas.openxmlformats.org/officeDocument/2006/relationships/image" Target="../media/image81.JPG"/><Relationship Id="rId40" Type="http://schemas.openxmlformats.org/officeDocument/2006/relationships/image" Target="../media/image84.png"/><Relationship Id="rId45" Type="http://schemas.openxmlformats.org/officeDocument/2006/relationships/image" Target="../media/image89.jpeg"/><Relationship Id="rId53" Type="http://schemas.openxmlformats.org/officeDocument/2006/relationships/image" Target="../media/image97.jpeg"/><Relationship Id="rId58" Type="http://schemas.openxmlformats.org/officeDocument/2006/relationships/image" Target="../media/image102.png"/><Relationship Id="rId5" Type="http://schemas.openxmlformats.org/officeDocument/2006/relationships/image" Target="../media/image49.jpeg"/><Relationship Id="rId61" Type="http://schemas.openxmlformats.org/officeDocument/2006/relationships/image" Target="../media/image105.jpeg"/><Relationship Id="rId19" Type="http://schemas.openxmlformats.org/officeDocument/2006/relationships/image" Target="../media/image63.png"/><Relationship Id="rId14" Type="http://schemas.openxmlformats.org/officeDocument/2006/relationships/image" Target="../media/image58.png"/><Relationship Id="rId22" Type="http://schemas.openxmlformats.org/officeDocument/2006/relationships/image" Target="../media/image66.png"/><Relationship Id="rId27" Type="http://schemas.openxmlformats.org/officeDocument/2006/relationships/image" Target="../media/image71.png"/><Relationship Id="rId30" Type="http://schemas.openxmlformats.org/officeDocument/2006/relationships/image" Target="../media/image74.jpeg"/><Relationship Id="rId35" Type="http://schemas.openxmlformats.org/officeDocument/2006/relationships/image" Target="../media/image79.jpeg"/><Relationship Id="rId43" Type="http://schemas.openxmlformats.org/officeDocument/2006/relationships/image" Target="../media/image87.jpg"/><Relationship Id="rId48" Type="http://schemas.openxmlformats.org/officeDocument/2006/relationships/image" Target="../media/image92.png"/><Relationship Id="rId56" Type="http://schemas.openxmlformats.org/officeDocument/2006/relationships/image" Target="../media/image100.jpg"/><Relationship Id="rId64" Type="http://schemas.openxmlformats.org/officeDocument/2006/relationships/image" Target="../media/image108.jpeg"/><Relationship Id="rId8" Type="http://schemas.openxmlformats.org/officeDocument/2006/relationships/image" Target="../media/image52.jpeg"/><Relationship Id="rId51" Type="http://schemas.openxmlformats.org/officeDocument/2006/relationships/image" Target="../media/image95.jpeg"/><Relationship Id="rId3" Type="http://schemas.openxmlformats.org/officeDocument/2006/relationships/image" Target="../media/image47.jpeg"/><Relationship Id="rId12" Type="http://schemas.openxmlformats.org/officeDocument/2006/relationships/image" Target="../media/image56.png"/><Relationship Id="rId17" Type="http://schemas.openxmlformats.org/officeDocument/2006/relationships/image" Target="../media/image61.jpg"/><Relationship Id="rId25" Type="http://schemas.openxmlformats.org/officeDocument/2006/relationships/image" Target="../media/image69.gif"/><Relationship Id="rId33" Type="http://schemas.openxmlformats.org/officeDocument/2006/relationships/image" Target="../media/image77.jpeg"/><Relationship Id="rId38" Type="http://schemas.openxmlformats.org/officeDocument/2006/relationships/image" Target="../media/image82.jpeg"/><Relationship Id="rId46" Type="http://schemas.openxmlformats.org/officeDocument/2006/relationships/image" Target="../media/image90.png"/><Relationship Id="rId59" Type="http://schemas.openxmlformats.org/officeDocument/2006/relationships/image" Target="../media/image103.png"/><Relationship Id="rId20" Type="http://schemas.openxmlformats.org/officeDocument/2006/relationships/image" Target="../media/image64.png"/><Relationship Id="rId41" Type="http://schemas.openxmlformats.org/officeDocument/2006/relationships/image" Target="../media/image85.png"/><Relationship Id="rId54" Type="http://schemas.openxmlformats.org/officeDocument/2006/relationships/image" Target="../media/image98.jpg"/><Relationship Id="rId62" Type="http://schemas.openxmlformats.org/officeDocument/2006/relationships/image" Target="../media/image106.jpe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50.jpeg"/><Relationship Id="rId15" Type="http://schemas.openxmlformats.org/officeDocument/2006/relationships/image" Target="../media/image59.png"/><Relationship Id="rId23" Type="http://schemas.openxmlformats.org/officeDocument/2006/relationships/image" Target="../media/image67.gif"/><Relationship Id="rId28" Type="http://schemas.openxmlformats.org/officeDocument/2006/relationships/image" Target="../media/image72.jpeg"/><Relationship Id="rId36" Type="http://schemas.openxmlformats.org/officeDocument/2006/relationships/image" Target="../media/image80.jpeg"/><Relationship Id="rId49" Type="http://schemas.openxmlformats.org/officeDocument/2006/relationships/image" Target="../media/image93.png"/><Relationship Id="rId57" Type="http://schemas.openxmlformats.org/officeDocument/2006/relationships/image" Target="../media/image101.jpg"/><Relationship Id="rId10" Type="http://schemas.openxmlformats.org/officeDocument/2006/relationships/image" Target="../media/image54.jpeg"/><Relationship Id="rId31" Type="http://schemas.openxmlformats.org/officeDocument/2006/relationships/image" Target="../media/image75.jpg"/><Relationship Id="rId44" Type="http://schemas.openxmlformats.org/officeDocument/2006/relationships/image" Target="../media/image88.jpeg"/><Relationship Id="rId52" Type="http://schemas.openxmlformats.org/officeDocument/2006/relationships/image" Target="../media/image96.jpeg"/><Relationship Id="rId60" Type="http://schemas.openxmlformats.org/officeDocument/2006/relationships/image" Target="../media/image104.jpeg"/><Relationship Id="rId65" Type="http://schemas.openxmlformats.org/officeDocument/2006/relationships/image" Target="../media/image43.png"/><Relationship Id="rId4" Type="http://schemas.openxmlformats.org/officeDocument/2006/relationships/image" Target="../media/image48.jpeg"/><Relationship Id="rId9" Type="http://schemas.openxmlformats.org/officeDocument/2006/relationships/image" Target="../media/image53.jpeg"/><Relationship Id="rId13" Type="http://schemas.openxmlformats.org/officeDocument/2006/relationships/image" Target="../media/image57.jpg"/><Relationship Id="rId18" Type="http://schemas.openxmlformats.org/officeDocument/2006/relationships/image" Target="../media/image62.png"/><Relationship Id="rId39" Type="http://schemas.openxmlformats.org/officeDocument/2006/relationships/image" Target="../media/image83.jp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86.jpg"/><Relationship Id="rId13" Type="http://schemas.openxmlformats.org/officeDocument/2006/relationships/image" Target="../media/image101.jpg"/><Relationship Id="rId3" Type="http://schemas.openxmlformats.org/officeDocument/2006/relationships/image" Target="../media/image109.jpeg"/><Relationship Id="rId7" Type="http://schemas.openxmlformats.org/officeDocument/2006/relationships/image" Target="../media/image90.png"/><Relationship Id="rId12" Type="http://schemas.openxmlformats.org/officeDocument/2006/relationships/image" Target="../media/image112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85.png"/><Relationship Id="rId11" Type="http://schemas.openxmlformats.org/officeDocument/2006/relationships/image" Target="../media/image59.png"/><Relationship Id="rId5" Type="http://schemas.openxmlformats.org/officeDocument/2006/relationships/image" Target="../media/image110.jpeg"/><Relationship Id="rId10" Type="http://schemas.openxmlformats.org/officeDocument/2006/relationships/image" Target="../media/image111.png"/><Relationship Id="rId4" Type="http://schemas.openxmlformats.org/officeDocument/2006/relationships/image" Target="../media/image88.jpeg"/><Relationship Id="rId9" Type="http://schemas.openxmlformats.org/officeDocument/2006/relationships/image" Target="../media/image87.jpg"/><Relationship Id="rId14" Type="http://schemas.openxmlformats.org/officeDocument/2006/relationships/image" Target="../media/image113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re 13"/>
          <p:cNvSpPr>
            <a:spLocks noGrp="1"/>
          </p:cNvSpPr>
          <p:nvPr>
            <p:ph type="title"/>
          </p:nvPr>
        </p:nvSpPr>
        <p:spPr>
          <a:xfrm>
            <a:off x="0" y="2708920"/>
            <a:ext cx="9144000" cy="1152128"/>
          </a:xfrm>
        </p:spPr>
        <p:txBody>
          <a:bodyPr/>
          <a:lstStyle/>
          <a:p>
            <a:r>
              <a:rPr lang="en-GB" dirty="0" smtClean="0">
                <a:latin typeface="Arial" pitchFamily="34" charset="0"/>
              </a:rPr>
              <a:t>EURIPIDES², Smart Digital Embedded Systems</a:t>
            </a:r>
            <a:endParaRPr lang="fr-FR" dirty="0">
              <a:latin typeface="Arial" pitchFamily="34" charset="0"/>
            </a:endParaRPr>
          </a:p>
        </p:txBody>
      </p:sp>
      <p:sp>
        <p:nvSpPr>
          <p:cNvPr id="18" name="Espace réservé du texte 17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fr-FR" dirty="0" smtClean="0"/>
              <a:t>©EURIPIDES²</a:t>
            </a:r>
            <a:endParaRPr lang="fr-FR" dirty="0"/>
          </a:p>
        </p:txBody>
      </p:sp>
      <p:sp>
        <p:nvSpPr>
          <p:cNvPr id="19" name="Espace réservé du texte 18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fr-FR" dirty="0" err="1" smtClean="0"/>
              <a:t>Praha</a:t>
            </a:r>
            <a:r>
              <a:rPr lang="fr-FR" dirty="0" smtClean="0"/>
              <a:t> - 31 </a:t>
            </a:r>
            <a:r>
              <a:rPr lang="fr-FR" dirty="0" err="1" smtClean="0"/>
              <a:t>June</a:t>
            </a:r>
            <a:r>
              <a:rPr lang="fr-FR" dirty="0" smtClean="0"/>
              <a:t> 2018</a:t>
            </a:r>
            <a:endParaRPr lang="fr-FR" dirty="0" smtClean="0"/>
          </a:p>
        </p:txBody>
      </p:sp>
    </p:spTree>
    <p:extLst>
      <p:ext uri="{BB962C8B-B14F-4D97-AF65-F5344CB8AC3E}">
        <p14:creationId xmlns:p14="http://schemas.microsoft.com/office/powerpoint/2010/main" val="20331086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>
    <p:pull dir="r"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oneTexte 3"/>
          <p:cNvSpPr txBox="1"/>
          <p:nvPr/>
        </p:nvSpPr>
        <p:spPr>
          <a:xfrm>
            <a:off x="2339752" y="4050177"/>
            <a:ext cx="7092280" cy="7694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en-GB" sz="4400" b="1" spc="50" dirty="0" smtClean="0">
                <a:solidFill>
                  <a:prstClr val="white"/>
                </a:solidFill>
                <a:latin typeface="Arial" pitchFamily="34" charset="0"/>
                <a:ea typeface="Tahoma" pitchFamily="34" charset="0"/>
                <a:cs typeface="Arial" pitchFamily="34" charset="0"/>
              </a:rPr>
              <a:t>3. </a:t>
            </a:r>
            <a:r>
              <a:rPr lang="en-GB" sz="4400" b="1" spc="50" dirty="0" smtClean="0">
                <a:solidFill>
                  <a:prstClr val="white"/>
                </a:solidFill>
                <a:latin typeface="Arial" pitchFamily="34" charset="0"/>
                <a:ea typeface="Tahoma" pitchFamily="34" charset="0"/>
                <a:cs typeface="Arial" pitchFamily="34" charset="0"/>
              </a:rPr>
              <a:t>Winning proposal</a:t>
            </a:r>
            <a:endParaRPr lang="en-GB" sz="4400" b="1" spc="50" dirty="0">
              <a:solidFill>
                <a:prstClr val="white"/>
              </a:solidFill>
              <a:latin typeface="Arial" pitchFamily="34" charset="0"/>
              <a:ea typeface="Tahoma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 spd="slow">
    <p:pull dir="r"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323528" y="1124744"/>
            <a:ext cx="8496944" cy="424731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2" algn="ctr" eaLnBrk="0" hangingPunct="0">
              <a:lnSpc>
                <a:spcPct val="150000"/>
              </a:lnSpc>
              <a:defRPr/>
            </a:pPr>
            <a:endParaRPr lang="en-GB" sz="3600" dirty="0" smtClean="0">
              <a:solidFill>
                <a:srgbClr val="002060"/>
              </a:solidFill>
              <a:latin typeface="Arial" pitchFamily="34" charset="0"/>
              <a:ea typeface="Tahoma" pitchFamily="34" charset="0"/>
              <a:cs typeface="Arial" pitchFamily="34" charset="0"/>
            </a:endParaRPr>
          </a:p>
          <a:p>
            <a:pPr marL="0" lvl="2" algn="ctr" eaLnBrk="0" hangingPunct="0">
              <a:lnSpc>
                <a:spcPct val="150000"/>
              </a:lnSpc>
              <a:defRPr/>
            </a:pPr>
            <a:endParaRPr lang="en-GB" sz="3600" dirty="0">
              <a:solidFill>
                <a:srgbClr val="002060"/>
              </a:solidFill>
              <a:latin typeface="Arial" pitchFamily="34" charset="0"/>
              <a:ea typeface="Tahoma" pitchFamily="34" charset="0"/>
              <a:cs typeface="Arial" pitchFamily="34" charset="0"/>
            </a:endParaRPr>
          </a:p>
          <a:p>
            <a:pPr marL="0" lvl="2" algn="ctr" eaLnBrk="0" hangingPunct="0">
              <a:lnSpc>
                <a:spcPct val="150000"/>
              </a:lnSpc>
              <a:defRPr/>
            </a:pPr>
            <a:endParaRPr lang="en-GB" sz="3600" dirty="0" smtClean="0">
              <a:solidFill>
                <a:srgbClr val="002060"/>
              </a:solidFill>
              <a:latin typeface="Arial" pitchFamily="34" charset="0"/>
              <a:ea typeface="Tahoma" pitchFamily="34" charset="0"/>
              <a:cs typeface="Arial" pitchFamily="34" charset="0"/>
            </a:endParaRPr>
          </a:p>
          <a:p>
            <a:pPr marL="0" lvl="2" algn="ctr" eaLnBrk="0" hangingPunct="0">
              <a:lnSpc>
                <a:spcPct val="150000"/>
              </a:lnSpc>
              <a:defRPr/>
            </a:pPr>
            <a:endParaRPr lang="en-GB" sz="3600" dirty="0">
              <a:solidFill>
                <a:srgbClr val="002060"/>
              </a:solidFill>
              <a:latin typeface="Arial" pitchFamily="34" charset="0"/>
              <a:ea typeface="Tahoma" pitchFamily="34" charset="0"/>
              <a:cs typeface="Arial" pitchFamily="34" charset="0"/>
            </a:endParaRPr>
          </a:p>
          <a:p>
            <a:pPr marL="0" lvl="2" algn="ctr" eaLnBrk="0" hangingPunct="0">
              <a:lnSpc>
                <a:spcPct val="150000"/>
              </a:lnSpc>
              <a:defRPr/>
            </a:pPr>
            <a:endParaRPr lang="en-GB" sz="3600" dirty="0" smtClean="0">
              <a:solidFill>
                <a:srgbClr val="002060"/>
              </a:solidFill>
              <a:latin typeface="Arial" pitchFamily="34" charset="0"/>
              <a:ea typeface="Tahoma" pitchFamily="34" charset="0"/>
              <a:cs typeface="Arial" pitchFamily="34" charset="0"/>
            </a:endParaRPr>
          </a:p>
        </p:txBody>
      </p:sp>
      <p:sp>
        <p:nvSpPr>
          <p:cNvPr id="5" name="Titre 4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sz="4000" dirty="0" smtClean="0"/>
              <a:t>The equation</a:t>
            </a:r>
            <a:endParaRPr lang="en-GB" sz="4000" dirty="0"/>
          </a:p>
        </p:txBody>
      </p:sp>
      <p:sp>
        <p:nvSpPr>
          <p:cNvPr id="8" name="Rectangle à coins arrondis 7"/>
          <p:cNvSpPr/>
          <p:nvPr/>
        </p:nvSpPr>
        <p:spPr>
          <a:xfrm>
            <a:off x="2699792" y="1484784"/>
            <a:ext cx="2592288" cy="1080120"/>
          </a:xfrm>
          <a:prstGeom prst="roundRect">
            <a:avLst/>
          </a:prstGeom>
          <a:effectLst>
            <a:glow rad="63500">
              <a:schemeClr val="accent1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3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Innovation</a:t>
            </a:r>
          </a:p>
        </p:txBody>
      </p:sp>
      <p:sp>
        <p:nvSpPr>
          <p:cNvPr id="9" name="Rectangle à coins arrondis 8"/>
          <p:cNvSpPr/>
          <p:nvPr/>
        </p:nvSpPr>
        <p:spPr>
          <a:xfrm>
            <a:off x="2699792" y="3212976"/>
            <a:ext cx="2592288" cy="1080120"/>
          </a:xfrm>
          <a:prstGeom prst="roundRect">
            <a:avLst/>
          </a:prstGeom>
          <a:effectLst>
            <a:glow rad="63500">
              <a:schemeClr val="accent1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3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Consortium</a:t>
            </a:r>
          </a:p>
        </p:txBody>
      </p:sp>
      <p:sp>
        <p:nvSpPr>
          <p:cNvPr id="10" name="Rectangle à coins arrondis 9"/>
          <p:cNvSpPr/>
          <p:nvPr/>
        </p:nvSpPr>
        <p:spPr>
          <a:xfrm>
            <a:off x="2699792" y="5013176"/>
            <a:ext cx="2592288" cy="1080120"/>
          </a:xfrm>
          <a:prstGeom prst="roundRect">
            <a:avLst/>
          </a:prstGeom>
          <a:effectLst>
            <a:glow rad="63500">
              <a:schemeClr val="accent1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3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National eligibility</a:t>
            </a:r>
          </a:p>
        </p:txBody>
      </p:sp>
      <p:sp>
        <p:nvSpPr>
          <p:cNvPr id="11" name="ZoneTexte 10"/>
          <p:cNvSpPr txBox="1"/>
          <p:nvPr/>
        </p:nvSpPr>
        <p:spPr>
          <a:xfrm>
            <a:off x="5364088" y="1484784"/>
            <a:ext cx="3888432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57188" lvl="1" indent="-357188">
              <a:lnSpc>
                <a:spcPct val="110000"/>
              </a:lnSpc>
              <a:spcBef>
                <a:spcPct val="20000"/>
              </a:spcBef>
              <a:buBlip>
                <a:blip r:embed="rId2"/>
              </a:buBlip>
              <a:defRPr/>
            </a:pPr>
            <a:r>
              <a:rPr lang="en-GB" sz="2000" b="1" dirty="0" smtClean="0">
                <a:solidFill>
                  <a:prstClr val="black"/>
                </a:solidFill>
                <a:latin typeface="Arial" pitchFamily="34" charset="0"/>
                <a:ea typeface="Tahoma" pitchFamily="34" charset="0"/>
                <a:cs typeface="Arial" pitchFamily="34" charset="0"/>
              </a:rPr>
              <a:t>New products</a:t>
            </a:r>
          </a:p>
          <a:p>
            <a:pPr marL="620713" lvl="1" indent="-620713">
              <a:lnSpc>
                <a:spcPct val="110000"/>
              </a:lnSpc>
              <a:spcBef>
                <a:spcPct val="20000"/>
              </a:spcBef>
              <a:buBlip>
                <a:blip r:embed="rId2"/>
              </a:buBlip>
              <a:defRPr/>
            </a:pPr>
            <a:r>
              <a:rPr lang="en-GB" sz="2000" b="1" dirty="0" smtClean="0">
                <a:solidFill>
                  <a:prstClr val="black"/>
                </a:solidFill>
                <a:latin typeface="Arial" pitchFamily="34" charset="0"/>
                <a:ea typeface="Tahoma" pitchFamily="34" charset="0"/>
                <a:cs typeface="Arial" pitchFamily="34" charset="0"/>
              </a:rPr>
              <a:t>Significant improvement of existing solutions</a:t>
            </a:r>
            <a:endParaRPr lang="en-GB" sz="2000" b="1" dirty="0">
              <a:solidFill>
                <a:prstClr val="black"/>
              </a:solidFill>
              <a:latin typeface="Arial" pitchFamily="34" charset="0"/>
              <a:ea typeface="Tahoma" pitchFamily="34" charset="0"/>
              <a:cs typeface="Arial" pitchFamily="34" charset="0"/>
            </a:endParaRPr>
          </a:p>
        </p:txBody>
      </p:sp>
      <p:sp>
        <p:nvSpPr>
          <p:cNvPr id="12" name="ZoneTexte 11"/>
          <p:cNvSpPr txBox="1"/>
          <p:nvPr/>
        </p:nvSpPr>
        <p:spPr>
          <a:xfrm>
            <a:off x="5364088" y="3195553"/>
            <a:ext cx="3744416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57188" lvl="1" indent="-357188">
              <a:lnSpc>
                <a:spcPct val="110000"/>
              </a:lnSpc>
              <a:spcBef>
                <a:spcPct val="20000"/>
              </a:spcBef>
              <a:buBlip>
                <a:blip r:embed="rId2"/>
              </a:buBlip>
              <a:defRPr/>
            </a:pPr>
            <a:r>
              <a:rPr lang="en-GB" sz="2000" b="1" dirty="0" smtClean="0">
                <a:solidFill>
                  <a:prstClr val="black"/>
                </a:solidFill>
                <a:latin typeface="Arial" pitchFamily="34" charset="0"/>
                <a:ea typeface="Tahoma" pitchFamily="34" charset="0"/>
                <a:cs typeface="Arial" pitchFamily="34" charset="0"/>
              </a:rPr>
              <a:t>Balanced</a:t>
            </a:r>
          </a:p>
          <a:p>
            <a:pPr marL="620713" lvl="1" indent="-620713">
              <a:lnSpc>
                <a:spcPct val="110000"/>
              </a:lnSpc>
              <a:spcBef>
                <a:spcPct val="20000"/>
              </a:spcBef>
              <a:buBlip>
                <a:blip r:embed="rId2"/>
              </a:buBlip>
              <a:defRPr/>
            </a:pPr>
            <a:r>
              <a:rPr lang="en-GB" sz="2000" b="1" dirty="0" smtClean="0">
                <a:solidFill>
                  <a:prstClr val="black"/>
                </a:solidFill>
                <a:latin typeface="Arial" pitchFamily="34" charset="0"/>
                <a:ea typeface="Tahoma" pitchFamily="34" charset="0"/>
                <a:cs typeface="Arial" pitchFamily="34" charset="0"/>
              </a:rPr>
              <a:t>At least one company per country</a:t>
            </a:r>
            <a:endParaRPr lang="en-GB" sz="2000" b="1" dirty="0">
              <a:solidFill>
                <a:prstClr val="black"/>
              </a:solidFill>
              <a:latin typeface="Arial" pitchFamily="34" charset="0"/>
              <a:ea typeface="Tahoma" pitchFamily="34" charset="0"/>
              <a:cs typeface="Arial" pitchFamily="34" charset="0"/>
            </a:endParaRPr>
          </a:p>
        </p:txBody>
      </p:sp>
      <p:sp>
        <p:nvSpPr>
          <p:cNvPr id="13" name="ZoneTexte 12"/>
          <p:cNvSpPr txBox="1"/>
          <p:nvPr/>
        </p:nvSpPr>
        <p:spPr>
          <a:xfrm>
            <a:off x="5364088" y="4934198"/>
            <a:ext cx="3744416" cy="123110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57188" lvl="1" indent="-357188">
              <a:lnSpc>
                <a:spcPct val="110000"/>
              </a:lnSpc>
              <a:spcBef>
                <a:spcPct val="20000"/>
              </a:spcBef>
              <a:buBlip>
                <a:blip r:embed="rId2"/>
              </a:buBlip>
              <a:defRPr/>
            </a:pPr>
            <a:r>
              <a:rPr lang="en-GB" sz="2000" b="1" dirty="0" smtClean="0">
                <a:solidFill>
                  <a:prstClr val="black"/>
                </a:solidFill>
                <a:latin typeface="Arial" pitchFamily="34" charset="0"/>
                <a:ea typeface="Tahoma" pitchFamily="34" charset="0"/>
                <a:cs typeface="Arial" pitchFamily="34" charset="0"/>
              </a:rPr>
              <a:t>Fair share of R.O.I.</a:t>
            </a:r>
          </a:p>
          <a:p>
            <a:pPr marL="357188" lvl="1" indent="-357188">
              <a:lnSpc>
                <a:spcPct val="110000"/>
              </a:lnSpc>
              <a:spcBef>
                <a:spcPct val="20000"/>
              </a:spcBef>
              <a:buBlip>
                <a:blip r:embed="rId2"/>
              </a:buBlip>
              <a:defRPr/>
            </a:pPr>
            <a:r>
              <a:rPr lang="en-GB" sz="2000" b="1" dirty="0" smtClean="0">
                <a:solidFill>
                  <a:prstClr val="black"/>
                </a:solidFill>
                <a:latin typeface="Arial" pitchFamily="34" charset="0"/>
                <a:ea typeface="Tahoma" pitchFamily="34" charset="0"/>
                <a:cs typeface="Arial" pitchFamily="34" charset="0"/>
              </a:rPr>
              <a:t>Impact on employment</a:t>
            </a:r>
          </a:p>
          <a:p>
            <a:pPr marL="357188" lvl="1" indent="-357188">
              <a:lnSpc>
                <a:spcPct val="110000"/>
              </a:lnSpc>
              <a:spcBef>
                <a:spcPct val="20000"/>
              </a:spcBef>
              <a:buBlip>
                <a:blip r:embed="rId2"/>
              </a:buBlip>
              <a:defRPr/>
            </a:pPr>
            <a:r>
              <a:rPr lang="en-GB" sz="2000" b="1" dirty="0" smtClean="0">
                <a:solidFill>
                  <a:prstClr val="black"/>
                </a:solidFill>
                <a:latin typeface="Arial" pitchFamily="34" charset="0"/>
                <a:ea typeface="Tahoma" pitchFamily="34" charset="0"/>
                <a:cs typeface="Arial" pitchFamily="34" charset="0"/>
              </a:rPr>
              <a:t>Production</a:t>
            </a:r>
            <a:endParaRPr lang="en-GB" sz="2000" b="1" dirty="0">
              <a:solidFill>
                <a:prstClr val="black"/>
              </a:solidFill>
              <a:latin typeface="Arial" pitchFamily="34" charset="0"/>
              <a:ea typeface="Tahoma" pitchFamily="34" charset="0"/>
              <a:cs typeface="Arial" pitchFamily="34" charset="0"/>
            </a:endParaRPr>
          </a:p>
        </p:txBody>
      </p:sp>
      <p:sp>
        <p:nvSpPr>
          <p:cNvPr id="14" name="Plus 13"/>
          <p:cNvSpPr/>
          <p:nvPr/>
        </p:nvSpPr>
        <p:spPr>
          <a:xfrm>
            <a:off x="3707904" y="2708920"/>
            <a:ext cx="504056" cy="414625"/>
          </a:xfrm>
          <a:prstGeom prst="mathPlu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15" name="Plus 14"/>
          <p:cNvSpPr/>
          <p:nvPr/>
        </p:nvSpPr>
        <p:spPr>
          <a:xfrm>
            <a:off x="3707904" y="4454535"/>
            <a:ext cx="504056" cy="414625"/>
          </a:xfrm>
          <a:prstGeom prst="mathPlu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19" name="Rectangle à coins arrondis 18"/>
          <p:cNvSpPr/>
          <p:nvPr/>
        </p:nvSpPr>
        <p:spPr>
          <a:xfrm>
            <a:off x="179512" y="2024844"/>
            <a:ext cx="2016224" cy="3708412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2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Winning</a:t>
            </a:r>
          </a:p>
          <a:p>
            <a:pPr algn="ctr"/>
            <a:endParaRPr lang="en-GB" sz="2400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en-GB" sz="2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EURIPIDES²</a:t>
            </a:r>
          </a:p>
          <a:p>
            <a:pPr algn="ctr"/>
            <a:endParaRPr lang="en-GB" sz="2400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en-GB" sz="2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Proposal</a:t>
            </a:r>
            <a:endParaRPr lang="en-GB" sz="24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Égal 19"/>
          <p:cNvSpPr/>
          <p:nvPr/>
        </p:nvSpPr>
        <p:spPr>
          <a:xfrm>
            <a:off x="2267744" y="3753036"/>
            <a:ext cx="360040" cy="396044"/>
          </a:xfrm>
          <a:prstGeom prst="mathEqual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solidFill>
                <a:schemeClr val="tx1"/>
              </a:solidFill>
            </a:endParaRPr>
          </a:p>
        </p:txBody>
      </p:sp>
      <p:sp>
        <p:nvSpPr>
          <p:cNvPr id="16" name="Slide Number Placeholder 5"/>
          <p:cNvSpPr txBox="1">
            <a:spLocks/>
          </p:cNvSpPr>
          <p:nvPr/>
        </p:nvSpPr>
        <p:spPr>
          <a:xfrm>
            <a:off x="8628418" y="6354457"/>
            <a:ext cx="343043" cy="36933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nl-NL"/>
            </a:defPPr>
            <a:lvl1pPr marL="0" algn="r" defTabSz="457200" rtl="0" eaLnBrk="1" latinLnBrk="0" hangingPunct="1">
              <a:defRPr sz="1800" b="0" i="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8C080AE-66C8-8249-B90B-B6D109566B0C}" type="slidenum">
              <a:rPr lang="en-US" sz="2400" b="1">
                <a:solidFill>
                  <a:schemeClr val="tx2"/>
                </a:solidFill>
              </a:rPr>
              <a:pPr/>
              <a:t>11</a:t>
            </a:fld>
            <a:endParaRPr lang="en-US" sz="2400" b="1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62782205"/>
      </p:ext>
    </p:extLst>
  </p:cSld>
  <p:clrMapOvr>
    <a:masterClrMapping/>
  </p:clrMapOvr>
  <p:transition spd="med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1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"/>
                                    </p:cond>
                                  </p:endCondLst>
                                  <p:iterate type="lt">
                                    <p:tmPct val="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" presetID="16" presetClass="emph" presetSubtype="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1"/>
                                    </p:cond>
                                  </p:endCondLst>
                                  <p:iterate type="lt">
                                    <p:tmPct val="4000"/>
                                  </p:iterate>
                                  <p:childTnLst>
                                    <p:set>
                                      <p:cBhvr override="childStyle">
                                        <p:cTn id="12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p:clrVal>
                                          <a:srgbClr val="0097CC"/>
                                        </p:clrVal>
                                      </p:to>
                                    </p:set>
                                    <p:set>
                                      <p:cBhvr>
                                        <p:cTn id="13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p:clrVal>
                                          <a:srgbClr val="0097CC"/>
                                        </p:clrVal>
                                      </p:to>
                                    </p:set>
                                    <p:set>
                                      <p:cBhvr>
                                        <p:cTn id="14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9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2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4" fill="hold">
                      <p:stCondLst>
                        <p:cond delay="indefinite"/>
                      </p:stCondLst>
                      <p:childTnLst>
                        <p:par>
                          <p:cTn id="45" fill="hold">
                            <p:stCondLst>
                              <p:cond delay="0"/>
                            </p:stCondLst>
                            <p:childTnLst>
                              <p:par>
                                <p:cTn id="46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8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9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0" fill="hold">
                      <p:stCondLst>
                        <p:cond delay="indefinite"/>
                      </p:stCondLst>
                      <p:childTnLst>
                        <p:par>
                          <p:cTn id="51" fill="hold">
                            <p:stCondLst>
                              <p:cond delay="0"/>
                            </p:stCondLst>
                            <p:childTnLst>
                              <p:par>
                                <p:cTn id="52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4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5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2" grpId="1"/>
      <p:bldP spid="8" grpId="0" animBg="1"/>
      <p:bldP spid="9" grpId="0" animBg="1"/>
      <p:bldP spid="10" grpId="0" animBg="1"/>
      <p:bldP spid="11" grpId="0"/>
      <p:bldP spid="12" grpId="0"/>
      <p:bldP spid="13" grpId="0"/>
      <p:bldP spid="19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sz="4000" dirty="0" smtClean="0"/>
              <a:t>Check list</a:t>
            </a:r>
            <a:endParaRPr lang="en-GB" sz="4000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4294967295"/>
          </p:nvPr>
        </p:nvSpPr>
        <p:spPr>
          <a:xfrm>
            <a:off x="539552" y="1268413"/>
            <a:ext cx="8088866" cy="5473700"/>
          </a:xfrm>
        </p:spPr>
        <p:txBody>
          <a:bodyPr>
            <a:normAutofit fontScale="77500" lnSpcReduction="20000"/>
          </a:bodyPr>
          <a:lstStyle/>
          <a:p>
            <a:pPr>
              <a:lnSpc>
                <a:spcPct val="130000"/>
              </a:lnSpc>
              <a:buBlip>
                <a:blip r:embed="rId2"/>
              </a:buBlip>
              <a:defRPr/>
            </a:pPr>
            <a:r>
              <a:rPr lang="en-US" sz="2400" b="1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Is my idea in the EURIPIDES² scope?</a:t>
            </a:r>
          </a:p>
          <a:p>
            <a:pPr lvl="1">
              <a:lnSpc>
                <a:spcPct val="130000"/>
              </a:lnSpc>
              <a:defRPr/>
            </a:pPr>
            <a:r>
              <a:rPr lang="en-US" sz="2300" b="1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Check with our Office</a:t>
            </a:r>
          </a:p>
          <a:p>
            <a:pPr lvl="1">
              <a:lnSpc>
                <a:spcPct val="130000"/>
              </a:lnSpc>
              <a:defRPr/>
            </a:pPr>
            <a:endParaRPr lang="en-US" sz="800" b="1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  <a:p>
            <a:pPr>
              <a:lnSpc>
                <a:spcPct val="130000"/>
              </a:lnSpc>
              <a:buBlip>
                <a:blip r:embed="rId2"/>
              </a:buBlip>
              <a:defRPr/>
            </a:pPr>
            <a:r>
              <a:rPr lang="en-US" sz="2400" b="1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Is the innovation demonstrated?</a:t>
            </a:r>
          </a:p>
          <a:p>
            <a:pPr>
              <a:lnSpc>
                <a:spcPct val="130000"/>
              </a:lnSpc>
              <a:buBlip>
                <a:blip r:embed="rId2"/>
              </a:buBlip>
              <a:defRPr/>
            </a:pPr>
            <a:endParaRPr lang="en-US" sz="800" b="1" dirty="0" smtClea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  <a:p>
            <a:pPr>
              <a:lnSpc>
                <a:spcPct val="130000"/>
              </a:lnSpc>
              <a:buBlip>
                <a:blip r:embed="rId2"/>
              </a:buBlip>
              <a:defRPr/>
            </a:pPr>
            <a:r>
              <a:rPr lang="en-US" sz="2400" b="1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Do I miss partners in the value chain?</a:t>
            </a:r>
          </a:p>
          <a:p>
            <a:pPr lvl="1">
              <a:lnSpc>
                <a:spcPct val="130000"/>
              </a:lnSpc>
              <a:defRPr/>
            </a:pPr>
            <a:r>
              <a:rPr lang="en-US" sz="2300" b="1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Our Office can help you finding partners</a:t>
            </a:r>
          </a:p>
          <a:p>
            <a:pPr lvl="1">
              <a:lnSpc>
                <a:spcPct val="130000"/>
              </a:lnSpc>
              <a:defRPr/>
            </a:pPr>
            <a:endParaRPr lang="en-US" sz="800" b="1" dirty="0" smtClea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  <a:p>
            <a:pPr>
              <a:lnSpc>
                <a:spcPct val="130000"/>
              </a:lnSpc>
              <a:buBlip>
                <a:blip r:embed="rId2"/>
              </a:buBlip>
              <a:defRPr/>
            </a:pPr>
            <a:r>
              <a:rPr lang="en-US" sz="2400" b="1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Is the ROI fairly shared between industrial partners?</a:t>
            </a:r>
          </a:p>
          <a:p>
            <a:pPr>
              <a:lnSpc>
                <a:spcPct val="130000"/>
              </a:lnSpc>
              <a:buBlip>
                <a:blip r:embed="rId2"/>
              </a:buBlip>
              <a:defRPr/>
            </a:pPr>
            <a:endParaRPr lang="en-US" sz="800" b="1" dirty="0" smtClea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  <a:p>
            <a:pPr>
              <a:lnSpc>
                <a:spcPct val="130000"/>
              </a:lnSpc>
              <a:buBlip>
                <a:blip r:embed="rId2"/>
              </a:buBlip>
              <a:defRPr/>
            </a:pPr>
            <a:r>
              <a:rPr lang="en-US" sz="2400" b="1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Did I check the funding rules?</a:t>
            </a:r>
          </a:p>
          <a:p>
            <a:pPr lvl="1">
              <a:lnSpc>
                <a:spcPct val="130000"/>
              </a:lnSpc>
              <a:defRPr/>
            </a:pPr>
            <a:r>
              <a:rPr lang="en-US" sz="2300" b="1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Look at the EURIPIDES² web site “Public funding”</a:t>
            </a:r>
          </a:p>
          <a:p>
            <a:pPr lvl="1">
              <a:lnSpc>
                <a:spcPct val="130000"/>
              </a:lnSpc>
              <a:defRPr/>
            </a:pPr>
            <a:endParaRPr lang="en-US" sz="800" b="1" dirty="0" smtClea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  <a:p>
            <a:pPr>
              <a:lnSpc>
                <a:spcPct val="130000"/>
              </a:lnSpc>
              <a:buBlip>
                <a:blip r:embed="rId2"/>
              </a:buBlip>
              <a:defRPr/>
            </a:pPr>
            <a:r>
              <a:rPr lang="en-US" sz="2400" b="1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Do I have a case at national level?</a:t>
            </a:r>
          </a:p>
          <a:p>
            <a:pPr lvl="1">
              <a:lnSpc>
                <a:spcPct val="130000"/>
              </a:lnSpc>
              <a:defRPr/>
            </a:pPr>
            <a:r>
              <a:rPr lang="en-US" sz="2300" b="1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Contact your national representative</a:t>
            </a:r>
          </a:p>
          <a:p>
            <a:pPr lvl="1">
              <a:lnSpc>
                <a:spcPct val="130000"/>
              </a:lnSpc>
              <a:defRPr/>
            </a:pPr>
            <a:endParaRPr lang="en-US" sz="800" b="1" dirty="0" smtClea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  <a:p>
            <a:pPr>
              <a:lnSpc>
                <a:spcPct val="130000"/>
              </a:lnSpc>
              <a:buBlip>
                <a:blip r:embed="rId2"/>
              </a:buBlip>
              <a:defRPr/>
            </a:pPr>
            <a:r>
              <a:rPr lang="en-US" sz="250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How to improve </a:t>
            </a:r>
            <a:r>
              <a:rPr lang="en-US" sz="2500" b="1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my </a:t>
            </a:r>
            <a:r>
              <a:rPr lang="en-US" sz="250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proposal and make </a:t>
            </a:r>
            <a:r>
              <a:rPr lang="en-US" sz="2500" b="1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my </a:t>
            </a:r>
            <a:r>
              <a:rPr lang="en-US" sz="250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life </a:t>
            </a:r>
            <a:r>
              <a:rPr lang="en-US" sz="2500" b="1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easier?</a:t>
            </a:r>
            <a:endParaRPr lang="en-US" sz="2500" b="1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  <a:p>
            <a:pPr lvl="1">
              <a:lnSpc>
                <a:spcPct val="130000"/>
              </a:lnSpc>
              <a:defRPr/>
            </a:pPr>
            <a:r>
              <a:rPr lang="en-US" sz="2300" b="1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Get a free consultation with our Office at the earliest stage</a:t>
            </a:r>
          </a:p>
        </p:txBody>
      </p:sp>
      <p:sp>
        <p:nvSpPr>
          <p:cNvPr id="4" name="Slide Number Placeholder 5"/>
          <p:cNvSpPr txBox="1">
            <a:spLocks/>
          </p:cNvSpPr>
          <p:nvPr/>
        </p:nvSpPr>
        <p:spPr>
          <a:xfrm>
            <a:off x="8628418" y="6354457"/>
            <a:ext cx="343043" cy="36933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nl-NL"/>
            </a:defPPr>
            <a:lvl1pPr marL="0" algn="r" defTabSz="457200" rtl="0" eaLnBrk="1" latinLnBrk="0" hangingPunct="1">
              <a:defRPr sz="1800" b="0" i="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8C080AE-66C8-8249-B90B-B6D109566B0C}" type="slidenum">
              <a:rPr lang="en-US" sz="2400" b="1">
                <a:solidFill>
                  <a:schemeClr val="tx2"/>
                </a:solidFill>
              </a:rPr>
              <a:pPr/>
              <a:t>12</a:t>
            </a:fld>
            <a:endParaRPr lang="en-US" sz="2400" b="1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85014059"/>
      </p:ext>
    </p:extLst>
  </p:cSld>
  <p:clrMapOvr>
    <a:masterClrMapping/>
  </p:clrMapOvr>
  <p:transition spd="slow">
    <p:pull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5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500" fill="hold"/>
                                        <p:tgtEl>
                                          <p:spTgt spid="5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1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5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5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9" dur="500" fill="hold"/>
                                        <p:tgtEl>
                                          <p:spTgt spid="5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0" dur="500" fill="hold"/>
                                        <p:tgtEl>
                                          <p:spTgt spid="5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1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3" dur="500" fill="hold"/>
                                        <p:tgtEl>
                                          <p:spTgt spid="5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4" dur="500" fill="hold"/>
                                        <p:tgtEl>
                                          <p:spTgt spid="5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" fill="hold">
                      <p:stCondLst>
                        <p:cond delay="indefinite"/>
                      </p:stCondLst>
                      <p:childTnLst>
                        <p:par>
                          <p:cTn id="56" fill="hold">
                            <p:stCondLst>
                              <p:cond delay="0"/>
                            </p:stCondLst>
                            <p:childTnLst>
                              <p:par>
                                <p:cTn id="5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6" end="1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9" dur="500" fill="hold"/>
                                        <p:tgtEl>
                                          <p:spTgt spid="5">
                                            <p:txEl>
                                              <p:pRg st="16" end="1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0" dur="500" fill="hold"/>
                                        <p:tgtEl>
                                          <p:spTgt spid="5">
                                            <p:txEl>
                                              <p:pRg st="16" end="1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1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7" end="1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3" dur="500" fill="hold"/>
                                        <p:tgtEl>
                                          <p:spTgt spid="5">
                                            <p:txEl>
                                              <p:pRg st="17" end="17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4" dur="500" fill="hold"/>
                                        <p:tgtEl>
                                          <p:spTgt spid="5">
                                            <p:txEl>
                                              <p:pRg st="17" end="17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uiExpand="1" build="p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oneTexte 2"/>
          <p:cNvSpPr txBox="1"/>
          <p:nvPr/>
        </p:nvSpPr>
        <p:spPr>
          <a:xfrm>
            <a:off x="1773895" y="4068107"/>
            <a:ext cx="7092280" cy="7694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en-GB" sz="4400" b="1" spc="50" dirty="0" smtClean="0">
                <a:solidFill>
                  <a:prstClr val="white"/>
                </a:solidFill>
                <a:latin typeface="Arial" pitchFamily="34" charset="0"/>
                <a:ea typeface="Tahoma" pitchFamily="34" charset="0"/>
                <a:cs typeface="Arial" pitchFamily="34" charset="0"/>
              </a:rPr>
              <a:t>4. </a:t>
            </a:r>
            <a:r>
              <a:rPr lang="en-GB" sz="4400" b="1" spc="50" dirty="0" smtClean="0">
                <a:solidFill>
                  <a:prstClr val="white"/>
                </a:solidFill>
                <a:latin typeface="Arial" pitchFamily="34" charset="0"/>
                <a:ea typeface="Tahoma" pitchFamily="34" charset="0"/>
                <a:cs typeface="Arial" pitchFamily="34" charset="0"/>
              </a:rPr>
              <a:t>Call process</a:t>
            </a:r>
            <a:endParaRPr lang="en-GB" sz="4400" b="1" spc="50" dirty="0">
              <a:solidFill>
                <a:prstClr val="white"/>
              </a:solidFill>
              <a:latin typeface="Arial" pitchFamily="34" charset="0"/>
              <a:ea typeface="Tahoma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2838125"/>
      </p:ext>
    </p:extLst>
  </p:cSld>
  <p:clrMapOvr>
    <a:masterClrMapping/>
  </p:clrMapOvr>
  <p:transition spd="slow">
    <p:pull dir="r"/>
  </p:transition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oneTexte 3"/>
          <p:cNvSpPr txBox="1"/>
          <p:nvPr/>
        </p:nvSpPr>
        <p:spPr>
          <a:xfrm>
            <a:off x="611560" y="1196752"/>
            <a:ext cx="8208912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lvl="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000" i="1" dirty="0" smtClean="0">
              <a:solidFill>
                <a:srgbClr val="213A8B"/>
              </a:solidFill>
              <a:ea typeface="Tahoma" pitchFamily="34" charset="0"/>
              <a:cs typeface="Tahoma" pitchFamily="34" charset="0"/>
            </a:endParaRPr>
          </a:p>
          <a:p>
            <a:pPr marL="0" lvl="1" fontAlgn="auto">
              <a:spcBef>
                <a:spcPts val="0"/>
              </a:spcBef>
              <a:spcAft>
                <a:spcPts val="0"/>
              </a:spcAft>
              <a:buFontTx/>
              <a:buBlip>
                <a:blip r:embed="rId3"/>
              </a:buBlip>
              <a:defRPr/>
            </a:pPr>
            <a:endParaRPr lang="en-US" sz="2000" i="1" dirty="0" smtClean="0">
              <a:solidFill>
                <a:srgbClr val="213A8B"/>
              </a:solidFill>
              <a:ea typeface="Tahoma" pitchFamily="34" charset="0"/>
              <a:cs typeface="Tahoma" pitchFamily="34" charset="0"/>
            </a:endParaRPr>
          </a:p>
        </p:txBody>
      </p:sp>
      <p:sp>
        <p:nvSpPr>
          <p:cNvPr id="6" name="Titre 5"/>
          <p:cNvSpPr>
            <a:spLocks noGrp="1"/>
          </p:cNvSpPr>
          <p:nvPr>
            <p:ph type="title"/>
          </p:nvPr>
        </p:nvSpPr>
        <p:spPr>
          <a:xfrm>
            <a:off x="1547664" y="346725"/>
            <a:ext cx="6480720" cy="850028"/>
          </a:xfr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r>
              <a:rPr lang="en-GB" sz="3600" dirty="0" smtClean="0"/>
              <a:t>Ensuring maximum success</a:t>
            </a:r>
            <a:endParaRPr lang="en-GB" sz="3600" dirty="0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4294967295"/>
          </p:nvPr>
        </p:nvSpPr>
        <p:spPr>
          <a:xfrm>
            <a:off x="352425" y="1335088"/>
            <a:ext cx="8791575" cy="4830762"/>
          </a:xfrm>
        </p:spPr>
        <p:txBody>
          <a:bodyPr>
            <a:noAutofit/>
          </a:bodyPr>
          <a:lstStyle/>
          <a:p>
            <a:pPr marL="447675" lvl="1" indent="-358775">
              <a:defRPr/>
            </a:pPr>
            <a:r>
              <a:rPr lang="en-GB" sz="2400" b="1" dirty="0" smtClean="0">
                <a:latin typeface="Arial" pitchFamily="34" charset="0"/>
                <a:cs typeface="Arial" pitchFamily="34" charset="0"/>
              </a:rPr>
              <a:t>2 </a:t>
            </a:r>
            <a:r>
              <a:rPr lang="en-GB" sz="2400" b="1" dirty="0">
                <a:latin typeface="Arial" pitchFamily="34" charset="0"/>
                <a:cs typeface="Arial" pitchFamily="34" charset="0"/>
              </a:rPr>
              <a:t>calls per </a:t>
            </a:r>
            <a:r>
              <a:rPr lang="en-GB" sz="2400" b="1" dirty="0" smtClean="0">
                <a:latin typeface="Arial" pitchFamily="34" charset="0"/>
                <a:cs typeface="Arial" pitchFamily="34" charset="0"/>
              </a:rPr>
              <a:t>year</a:t>
            </a:r>
          </a:p>
          <a:p>
            <a:pPr marL="447675" lvl="1" indent="-358775">
              <a:defRPr/>
            </a:pPr>
            <a:endParaRPr lang="en-GB" sz="1000" b="1" dirty="0">
              <a:latin typeface="Arial" pitchFamily="34" charset="0"/>
              <a:cs typeface="Arial" pitchFamily="34" charset="0"/>
            </a:endParaRPr>
          </a:p>
          <a:p>
            <a:pPr marL="447675" lvl="1" indent="-358775">
              <a:defRPr/>
            </a:pPr>
            <a:r>
              <a:rPr lang="en-GB" sz="2400" b="1" dirty="0" smtClean="0">
                <a:latin typeface="Arial" pitchFamily="34" charset="0"/>
                <a:cs typeface="Arial" pitchFamily="34" charset="0"/>
              </a:rPr>
              <a:t>2 </a:t>
            </a:r>
            <a:r>
              <a:rPr lang="en-GB" sz="2400" b="1" dirty="0">
                <a:latin typeface="Arial" pitchFamily="34" charset="0"/>
                <a:cs typeface="Arial" pitchFamily="34" charset="0"/>
              </a:rPr>
              <a:t>steps </a:t>
            </a:r>
            <a:r>
              <a:rPr lang="en-GB" sz="2400" b="1" dirty="0" smtClean="0">
                <a:latin typeface="Arial" pitchFamily="34" charset="0"/>
                <a:cs typeface="Arial" pitchFamily="34" charset="0"/>
              </a:rPr>
              <a:t>procedure</a:t>
            </a:r>
          </a:p>
          <a:p>
            <a:pPr marL="447675" lvl="1" indent="-358775">
              <a:defRPr/>
            </a:pPr>
            <a:endParaRPr lang="en-GB" sz="1000" b="1" dirty="0">
              <a:latin typeface="Arial" pitchFamily="34" charset="0"/>
              <a:cs typeface="Arial" pitchFamily="34" charset="0"/>
            </a:endParaRPr>
          </a:p>
          <a:p>
            <a:pPr marL="447675" lvl="1" indent="-358775">
              <a:defRPr/>
            </a:pPr>
            <a:r>
              <a:rPr lang="en-GB" sz="2400" b="1" dirty="0" smtClean="0">
                <a:latin typeface="Arial" pitchFamily="34" charset="0"/>
                <a:cs typeface="Arial" pitchFamily="34" charset="0"/>
              </a:rPr>
              <a:t>Participants </a:t>
            </a:r>
            <a:r>
              <a:rPr lang="en-GB" sz="2400" b="1" dirty="0">
                <a:latin typeface="Arial" pitchFamily="34" charset="0"/>
                <a:cs typeface="Arial" pitchFamily="34" charset="0"/>
              </a:rPr>
              <a:t>from at least 2 EUREKA </a:t>
            </a:r>
            <a:r>
              <a:rPr lang="en-GB" sz="2400" b="1" dirty="0" smtClean="0">
                <a:latin typeface="Arial" pitchFamily="34" charset="0"/>
                <a:cs typeface="Arial" pitchFamily="34" charset="0"/>
              </a:rPr>
              <a:t>countries</a:t>
            </a:r>
          </a:p>
          <a:p>
            <a:pPr marL="447675" lvl="3" indent="-358775">
              <a:defRPr/>
            </a:pPr>
            <a:endParaRPr lang="en-GB" sz="1000" b="1" dirty="0">
              <a:latin typeface="Arial" pitchFamily="34" charset="0"/>
              <a:cs typeface="Arial" pitchFamily="34" charset="0"/>
            </a:endParaRPr>
          </a:p>
          <a:p>
            <a:pPr marL="447675" lvl="1" indent="-358775">
              <a:defRPr/>
            </a:pPr>
            <a:r>
              <a:rPr lang="en-GB" sz="2400" b="1" dirty="0" smtClean="0">
                <a:latin typeface="Arial" pitchFamily="34" charset="0"/>
                <a:cs typeface="Arial" pitchFamily="34" charset="0"/>
              </a:rPr>
              <a:t>Not more than 75% for one country</a:t>
            </a:r>
          </a:p>
          <a:p>
            <a:pPr marL="447675" lvl="1" indent="-358775">
              <a:defRPr/>
            </a:pPr>
            <a:endParaRPr lang="en-GB" sz="1000" b="1" dirty="0">
              <a:latin typeface="Arial" pitchFamily="34" charset="0"/>
              <a:cs typeface="Arial" pitchFamily="34" charset="0"/>
            </a:endParaRPr>
          </a:p>
          <a:p>
            <a:pPr marL="447675" lvl="1" indent="-358775">
              <a:defRPr/>
            </a:pPr>
            <a:r>
              <a:rPr lang="en-GB" sz="2400" b="1" dirty="0" smtClean="0">
                <a:latin typeface="Arial" pitchFamily="34" charset="0"/>
                <a:cs typeface="Arial" pitchFamily="34" charset="0"/>
              </a:rPr>
              <a:t>Innovation</a:t>
            </a:r>
          </a:p>
          <a:p>
            <a:pPr marL="447675" lvl="1" indent="-358775">
              <a:defRPr/>
            </a:pPr>
            <a:endParaRPr lang="en-GB" sz="1000" b="1" dirty="0">
              <a:latin typeface="Arial" pitchFamily="34" charset="0"/>
              <a:cs typeface="Arial" pitchFamily="34" charset="0"/>
            </a:endParaRPr>
          </a:p>
          <a:p>
            <a:pPr marL="447675" lvl="1" indent="-358775">
              <a:defRPr/>
            </a:pPr>
            <a:r>
              <a:rPr lang="en-GB" sz="2400" b="1" dirty="0" smtClean="0">
                <a:latin typeface="Arial" pitchFamily="34" charset="0"/>
                <a:cs typeface="Arial" pitchFamily="34" charset="0"/>
              </a:rPr>
              <a:t>Demonstrators  </a:t>
            </a:r>
            <a:r>
              <a:rPr lang="en-GB" sz="2400" b="1" dirty="0">
                <a:latin typeface="Arial" pitchFamily="34" charset="0"/>
                <a:cs typeface="Arial" pitchFamily="34" charset="0"/>
              </a:rPr>
              <a:t>- </a:t>
            </a:r>
            <a:r>
              <a:rPr lang="en-GB" sz="2400" b="1" dirty="0" smtClean="0">
                <a:latin typeface="Arial" pitchFamily="34" charset="0"/>
                <a:cs typeface="Arial" pitchFamily="34" charset="0"/>
              </a:rPr>
              <a:t>Products</a:t>
            </a:r>
            <a:endParaRPr lang="en-GB" sz="1000" b="1" dirty="0">
              <a:latin typeface="Arial" pitchFamily="34" charset="0"/>
              <a:cs typeface="Arial" pitchFamily="34" charset="0"/>
            </a:endParaRPr>
          </a:p>
          <a:p>
            <a:pPr marL="447675" lvl="1" indent="-358775">
              <a:defRPr/>
            </a:pPr>
            <a:endParaRPr lang="en-GB" sz="1000" b="1" dirty="0">
              <a:latin typeface="Arial" pitchFamily="34" charset="0"/>
              <a:cs typeface="Arial" pitchFamily="34" charset="0"/>
            </a:endParaRPr>
          </a:p>
          <a:p>
            <a:pPr marL="447675" lvl="1" indent="-358775">
              <a:defRPr/>
            </a:pPr>
            <a:r>
              <a:rPr lang="en-GB" sz="2400" b="1" dirty="0" smtClean="0">
                <a:latin typeface="Arial" pitchFamily="34" charset="0"/>
                <a:cs typeface="Arial" pitchFamily="34" charset="0"/>
              </a:rPr>
              <a:t>Market</a:t>
            </a:r>
          </a:p>
          <a:p>
            <a:pPr marL="447675" lvl="1" indent="-358775">
              <a:defRPr/>
            </a:pPr>
            <a:endParaRPr lang="en-GB" sz="1000" b="1" dirty="0">
              <a:latin typeface="Arial" pitchFamily="34" charset="0"/>
              <a:cs typeface="Arial" pitchFamily="34" charset="0"/>
            </a:endParaRPr>
          </a:p>
          <a:p>
            <a:pPr marL="447675" lvl="1" indent="-358775">
              <a:defRPr/>
            </a:pPr>
            <a:r>
              <a:rPr lang="en-GB" sz="2400" b="1" dirty="0" smtClean="0">
                <a:latin typeface="Arial" pitchFamily="34" charset="0"/>
                <a:cs typeface="Arial" pitchFamily="34" charset="0"/>
              </a:rPr>
              <a:t>Fair Return on Investment for each industrial partner</a:t>
            </a:r>
            <a:endParaRPr lang="en-GB" sz="2400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Slide Number Placeholder 5"/>
          <p:cNvSpPr txBox="1">
            <a:spLocks/>
          </p:cNvSpPr>
          <p:nvPr/>
        </p:nvSpPr>
        <p:spPr>
          <a:xfrm>
            <a:off x="8628418" y="6354457"/>
            <a:ext cx="343043" cy="36933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nl-NL"/>
            </a:defPPr>
            <a:lvl1pPr marL="0" algn="r" defTabSz="457200" rtl="0" eaLnBrk="1" latinLnBrk="0" hangingPunct="1">
              <a:defRPr sz="1800" b="0" i="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8C080AE-66C8-8249-B90B-B6D109566B0C}" type="slidenum">
              <a:rPr lang="en-US" sz="2400" b="1">
                <a:solidFill>
                  <a:schemeClr val="tx2"/>
                </a:solidFill>
              </a:rPr>
              <a:pPr/>
              <a:t>14</a:t>
            </a:fld>
            <a:endParaRPr lang="en-US" sz="2400" b="1" dirty="0">
              <a:solidFill>
                <a:schemeClr val="tx2"/>
              </a:solidFill>
            </a:endParaRPr>
          </a:p>
        </p:txBody>
      </p:sp>
    </p:spTree>
  </p:cSld>
  <p:clrMapOvr>
    <a:masterClrMapping/>
  </p:clrMapOvr>
  <p:transition spd="slow">
    <p:pull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1000"/>
                                        <p:tgtEl>
                                          <p:spTgt spid="8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8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8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1000"/>
                                        <p:tgtEl>
                                          <p:spTgt spid="8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8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1000" fill="hold"/>
                                        <p:tgtEl>
                                          <p:spTgt spid="8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1000"/>
                                        <p:tgtEl>
                                          <p:spTgt spid="8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8" dur="1000" fill="hold"/>
                                        <p:tgtEl>
                                          <p:spTgt spid="8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1000" fill="hold"/>
                                        <p:tgtEl>
                                          <p:spTgt spid="8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1000"/>
                                        <p:tgtEl>
                                          <p:spTgt spid="8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3" dur="1000" fill="hold"/>
                                        <p:tgtEl>
                                          <p:spTgt spid="8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1000" fill="hold"/>
                                        <p:tgtEl>
                                          <p:spTgt spid="8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uiExpand="1" build="p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2051"/>
          <p:cNvSpPr txBox="1">
            <a:spLocks noChangeArrowheads="1"/>
          </p:cNvSpPr>
          <p:nvPr/>
        </p:nvSpPr>
        <p:spPr bwMode="auto">
          <a:xfrm>
            <a:off x="323528" y="3212976"/>
            <a:ext cx="4464496" cy="3024336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Blip>
                <a:blip r:embed="rId3"/>
              </a:buBlip>
              <a:defRPr sz="1600" b="0" kern="1200" baseline="0">
                <a:solidFill>
                  <a:srgbClr val="0000CC"/>
                </a:solidFill>
                <a:latin typeface="Tahoma" pitchFamily="34" charset="0"/>
                <a:ea typeface="Tahoma" pitchFamily="34" charset="0"/>
                <a:cs typeface="Tahoma" pitchFamily="34" charset="0"/>
              </a:defRPr>
            </a:lvl1pPr>
            <a:lvl2pPr marL="742950" marR="0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Blip>
                <a:blip r:embed="rId3"/>
              </a:buBlip>
              <a:tabLst/>
              <a:defRPr sz="1500" kern="1200">
                <a:solidFill>
                  <a:srgbClr val="0000CC"/>
                </a:solidFill>
                <a:latin typeface="Tahoma" pitchFamily="34" charset="0"/>
                <a:ea typeface="Tahoma" pitchFamily="34" charset="0"/>
                <a:cs typeface="Tahoma" pitchFamily="34" charset="0"/>
              </a:defRPr>
            </a:lvl2pPr>
            <a:lvl3pPr marL="1200150" indent="-285750" algn="l" defTabSz="914400" rtl="0" eaLnBrk="1" latinLnBrk="0" hangingPunct="1">
              <a:spcBef>
                <a:spcPct val="20000"/>
              </a:spcBef>
              <a:buFontTx/>
              <a:buBlip>
                <a:blip r:embed="rId3"/>
              </a:buBlip>
              <a:defRPr sz="1400" kern="1200">
                <a:solidFill>
                  <a:srgbClr val="0000CC"/>
                </a:solidFill>
                <a:latin typeface="Tahoma" pitchFamily="34" charset="0"/>
                <a:ea typeface="Tahoma" pitchFamily="34" charset="0"/>
                <a:cs typeface="Tahoma" pitchFamily="34" charset="0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Tx/>
              <a:buBlip>
                <a:blip r:embed="rId3"/>
              </a:buBlip>
              <a:defRPr sz="1400" kern="1200">
                <a:solidFill>
                  <a:srgbClr val="0000CC"/>
                </a:solidFill>
                <a:latin typeface="Tahoma" pitchFamily="34" charset="0"/>
                <a:ea typeface="Tahoma" pitchFamily="34" charset="0"/>
                <a:cs typeface="Tahoma" pitchFamily="34" charset="0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Tx/>
              <a:buBlip>
                <a:blip r:embed="rId3"/>
              </a:buBlip>
              <a:defRPr sz="1600" kern="1200">
                <a:solidFill>
                  <a:srgbClr val="0000CC"/>
                </a:solidFill>
                <a:latin typeface="Tahoma" pitchFamily="34" charset="0"/>
                <a:ea typeface="Tahoma" pitchFamily="34" charset="0"/>
                <a:cs typeface="Tahom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Blip>
                <a:blip r:embed="rId4"/>
              </a:buBlip>
              <a:defRPr/>
            </a:pPr>
            <a:r>
              <a:rPr lang="en-GB" sz="21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Full </a:t>
            </a:r>
            <a:r>
              <a:rPr lang="en-GB" sz="2100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Project </a:t>
            </a:r>
            <a:r>
              <a:rPr lang="en-GB" sz="21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Proposal (FPP)</a:t>
            </a:r>
            <a:endParaRPr lang="en-GB" sz="2100" b="1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  <a:p>
            <a:pPr lvl="1">
              <a:buBlip>
                <a:blip r:embed="rId4"/>
              </a:buBlip>
              <a:defRPr/>
            </a:pPr>
            <a:r>
              <a:rPr lang="en-GB" sz="18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Innovation</a:t>
            </a:r>
          </a:p>
          <a:p>
            <a:pPr lvl="1">
              <a:buBlip>
                <a:blip r:embed="rId4"/>
              </a:buBlip>
              <a:defRPr/>
            </a:pPr>
            <a:r>
              <a:rPr lang="en-GB" sz="18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Partners and organisation</a:t>
            </a:r>
          </a:p>
          <a:p>
            <a:pPr lvl="1">
              <a:buBlip>
                <a:blip r:embed="rId4"/>
              </a:buBlip>
              <a:defRPr/>
            </a:pPr>
            <a:r>
              <a:rPr lang="en-GB" sz="18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Budget</a:t>
            </a:r>
            <a:endParaRPr lang="en-GB" sz="18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  <a:p>
            <a:pPr lvl="1">
              <a:buBlip>
                <a:blip r:embed="rId4"/>
              </a:buBlip>
              <a:defRPr/>
            </a:pPr>
            <a:r>
              <a:rPr lang="en-GB" sz="18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Deliverables </a:t>
            </a:r>
            <a:r>
              <a:rPr lang="en-GB" sz="18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and </a:t>
            </a:r>
            <a:r>
              <a:rPr lang="en-GB" sz="18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milestones</a:t>
            </a:r>
          </a:p>
          <a:p>
            <a:pPr lvl="1">
              <a:buBlip>
                <a:blip r:embed="rId4"/>
              </a:buBlip>
              <a:defRPr/>
            </a:pPr>
            <a:r>
              <a:rPr lang="en-GB" sz="18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Market and exploitation</a:t>
            </a:r>
          </a:p>
          <a:p>
            <a:pPr lvl="1">
              <a:buBlip>
                <a:blip r:embed="rId4"/>
              </a:buBlip>
              <a:defRPr/>
            </a:pPr>
            <a:r>
              <a:rPr lang="en-GB" sz="18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Risk evaluation</a:t>
            </a:r>
          </a:p>
          <a:p>
            <a:pPr lvl="1">
              <a:buBlip>
                <a:blip r:embed="rId4"/>
              </a:buBlip>
              <a:defRPr/>
            </a:pPr>
            <a:r>
              <a:rPr lang="en-GB" sz="18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30-40 pages</a:t>
            </a:r>
            <a:endParaRPr lang="en-GB" sz="18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Rectangle 2051"/>
          <p:cNvSpPr txBox="1">
            <a:spLocks noChangeArrowheads="1"/>
          </p:cNvSpPr>
          <p:nvPr/>
        </p:nvSpPr>
        <p:spPr bwMode="auto">
          <a:xfrm>
            <a:off x="4248472" y="4077072"/>
            <a:ext cx="4895528" cy="1512168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Blip>
                <a:blip r:embed="rId3"/>
              </a:buBlip>
              <a:defRPr sz="1600" b="0" kern="1200" baseline="0">
                <a:solidFill>
                  <a:srgbClr val="0000CC"/>
                </a:solidFill>
                <a:latin typeface="Tahoma" pitchFamily="34" charset="0"/>
                <a:ea typeface="Tahoma" pitchFamily="34" charset="0"/>
                <a:cs typeface="Tahoma" pitchFamily="34" charset="0"/>
              </a:defRPr>
            </a:lvl1pPr>
            <a:lvl2pPr marL="742950" marR="0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Blip>
                <a:blip r:embed="rId3"/>
              </a:buBlip>
              <a:tabLst/>
              <a:defRPr sz="1500" kern="1200">
                <a:solidFill>
                  <a:srgbClr val="0000CC"/>
                </a:solidFill>
                <a:latin typeface="Tahoma" pitchFamily="34" charset="0"/>
                <a:ea typeface="Tahoma" pitchFamily="34" charset="0"/>
                <a:cs typeface="Tahoma" pitchFamily="34" charset="0"/>
              </a:defRPr>
            </a:lvl2pPr>
            <a:lvl3pPr marL="1200150" indent="-285750" algn="l" defTabSz="914400" rtl="0" eaLnBrk="1" latinLnBrk="0" hangingPunct="1">
              <a:spcBef>
                <a:spcPct val="20000"/>
              </a:spcBef>
              <a:buFontTx/>
              <a:buBlip>
                <a:blip r:embed="rId3"/>
              </a:buBlip>
              <a:defRPr sz="1400" kern="1200">
                <a:solidFill>
                  <a:srgbClr val="0000CC"/>
                </a:solidFill>
                <a:latin typeface="Tahoma" pitchFamily="34" charset="0"/>
                <a:ea typeface="Tahoma" pitchFamily="34" charset="0"/>
                <a:cs typeface="Tahoma" pitchFamily="34" charset="0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Tx/>
              <a:buBlip>
                <a:blip r:embed="rId3"/>
              </a:buBlip>
              <a:defRPr sz="1400" kern="1200">
                <a:solidFill>
                  <a:srgbClr val="0000CC"/>
                </a:solidFill>
                <a:latin typeface="Tahoma" pitchFamily="34" charset="0"/>
                <a:ea typeface="Tahoma" pitchFamily="34" charset="0"/>
                <a:cs typeface="Tahoma" pitchFamily="34" charset="0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Tx/>
              <a:buBlip>
                <a:blip r:embed="rId3"/>
              </a:buBlip>
              <a:defRPr sz="1600" kern="1200">
                <a:solidFill>
                  <a:srgbClr val="0000CC"/>
                </a:solidFill>
                <a:latin typeface="Tahoma" pitchFamily="34" charset="0"/>
                <a:ea typeface="Tahoma" pitchFamily="34" charset="0"/>
                <a:cs typeface="Tahom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buBlip>
                <a:blip r:embed="rId4"/>
              </a:buBlip>
              <a:defRPr/>
            </a:pPr>
            <a:r>
              <a:rPr lang="en-GB" sz="20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Two </a:t>
            </a:r>
            <a:r>
              <a:rPr lang="en-GB" sz="20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external experts</a:t>
            </a:r>
          </a:p>
          <a:p>
            <a:pPr lvl="1">
              <a:buBlip>
                <a:blip r:embed="rId4"/>
              </a:buBlip>
              <a:defRPr/>
            </a:pPr>
            <a:r>
              <a:rPr lang="en-GB" sz="20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Evaluation report from the </a:t>
            </a:r>
            <a:r>
              <a:rPr lang="en-GB" sz="20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TEC</a:t>
            </a:r>
            <a:endParaRPr lang="en-GB" sz="20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  <a:p>
            <a:pPr marL="1069975" lvl="1" indent="-612775">
              <a:buBlip>
                <a:blip r:embed="rId4"/>
              </a:buBlip>
              <a:defRPr/>
            </a:pPr>
            <a:r>
              <a:rPr lang="en-GB" sz="20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EURIPIDAC second </a:t>
            </a:r>
            <a:r>
              <a:rPr lang="en-GB" sz="20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round on </a:t>
            </a:r>
            <a:r>
              <a:rPr lang="en-GB" sz="20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funding</a:t>
            </a:r>
            <a:endParaRPr lang="en-GB" sz="23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6867" name="Rectangle 2050"/>
          <p:cNvSpPr>
            <a:spLocks noGrp="1" noChangeArrowheads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>
              <a:defRPr/>
            </a:pPr>
            <a:r>
              <a:rPr lang="en-US" sz="4000" b="1" dirty="0" smtClean="0">
                <a:ea typeface="+mn-ea"/>
                <a:cs typeface="Arial" pitchFamily="34" charset="0"/>
              </a:rPr>
              <a:t>Call process</a:t>
            </a:r>
          </a:p>
        </p:txBody>
      </p:sp>
      <p:sp>
        <p:nvSpPr>
          <p:cNvPr id="29699" name="Rectangle 2051"/>
          <p:cNvSpPr>
            <a:spLocks noGrp="1" noChangeArrowheads="1"/>
          </p:cNvSpPr>
          <p:nvPr>
            <p:ph idx="4294967295"/>
          </p:nvPr>
        </p:nvSpPr>
        <p:spPr bwMode="auto">
          <a:xfrm>
            <a:off x="628650" y="1341438"/>
            <a:ext cx="8515350" cy="1582737"/>
          </a:xfr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buBlip>
                <a:blip r:embed="rId4"/>
              </a:buBlip>
              <a:defRPr/>
            </a:pPr>
            <a:r>
              <a:rPr lang="en-GB" sz="21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Project </a:t>
            </a:r>
            <a:r>
              <a:rPr lang="en-GB" sz="2100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Outline (PO)</a:t>
            </a:r>
          </a:p>
          <a:p>
            <a:pPr>
              <a:buBlip>
                <a:blip r:embed="rId4"/>
              </a:buBlip>
              <a:defRPr/>
            </a:pPr>
            <a:r>
              <a:rPr lang="en-GB" sz="20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Innovation </a:t>
            </a:r>
            <a:r>
              <a:rPr lang="en-GB" sz="20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and objectives</a:t>
            </a:r>
          </a:p>
          <a:p>
            <a:pPr>
              <a:buBlip>
                <a:blip r:embed="rId4"/>
              </a:buBlip>
              <a:defRPr/>
            </a:pPr>
            <a:r>
              <a:rPr lang="en-GB" sz="20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Consortium</a:t>
            </a:r>
            <a:r>
              <a:rPr lang="en-GB" sz="21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GB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(even </a:t>
            </a:r>
            <a:r>
              <a:rPr lang="en-GB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if not fully </a:t>
            </a:r>
            <a:r>
              <a:rPr lang="en-GB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settled)</a:t>
            </a:r>
            <a:endParaRPr lang="en-GB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  <a:p>
            <a:pPr>
              <a:buBlip>
                <a:blip r:embed="rId4"/>
              </a:buBlip>
              <a:defRPr/>
            </a:pPr>
            <a:r>
              <a:rPr lang="en-GB" sz="20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10-12 pages</a:t>
            </a:r>
          </a:p>
          <a:p>
            <a:pPr marL="457200" lvl="1" indent="0">
              <a:buNone/>
              <a:defRPr/>
            </a:pPr>
            <a:endParaRPr lang="en-GB" sz="23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Rectangle 2051"/>
          <p:cNvSpPr txBox="1">
            <a:spLocks noChangeArrowheads="1"/>
          </p:cNvSpPr>
          <p:nvPr/>
        </p:nvSpPr>
        <p:spPr bwMode="auto">
          <a:xfrm>
            <a:off x="4283969" y="1340768"/>
            <a:ext cx="4896543" cy="1584176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Blip>
                <a:blip r:embed="rId3"/>
              </a:buBlip>
              <a:defRPr sz="1600" b="0" kern="1200" baseline="0">
                <a:solidFill>
                  <a:srgbClr val="0000CC"/>
                </a:solidFill>
                <a:latin typeface="Tahoma" pitchFamily="34" charset="0"/>
                <a:ea typeface="Tahoma" pitchFamily="34" charset="0"/>
                <a:cs typeface="Tahoma" pitchFamily="34" charset="0"/>
              </a:defRPr>
            </a:lvl1pPr>
            <a:lvl2pPr marL="742950" marR="0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Blip>
                <a:blip r:embed="rId3"/>
              </a:buBlip>
              <a:tabLst/>
              <a:defRPr sz="1500" kern="1200">
                <a:solidFill>
                  <a:srgbClr val="0000CC"/>
                </a:solidFill>
                <a:latin typeface="Tahoma" pitchFamily="34" charset="0"/>
                <a:ea typeface="Tahoma" pitchFamily="34" charset="0"/>
                <a:cs typeface="Tahoma" pitchFamily="34" charset="0"/>
              </a:defRPr>
            </a:lvl2pPr>
            <a:lvl3pPr marL="1200150" indent="-285750" algn="l" defTabSz="914400" rtl="0" eaLnBrk="1" latinLnBrk="0" hangingPunct="1">
              <a:spcBef>
                <a:spcPct val="20000"/>
              </a:spcBef>
              <a:buFontTx/>
              <a:buBlip>
                <a:blip r:embed="rId3"/>
              </a:buBlip>
              <a:defRPr sz="1400" kern="1200">
                <a:solidFill>
                  <a:srgbClr val="0000CC"/>
                </a:solidFill>
                <a:latin typeface="Tahoma" pitchFamily="34" charset="0"/>
                <a:ea typeface="Tahoma" pitchFamily="34" charset="0"/>
                <a:cs typeface="Tahoma" pitchFamily="34" charset="0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Tx/>
              <a:buBlip>
                <a:blip r:embed="rId3"/>
              </a:buBlip>
              <a:defRPr sz="1400" kern="1200">
                <a:solidFill>
                  <a:srgbClr val="0000CC"/>
                </a:solidFill>
                <a:latin typeface="Tahoma" pitchFamily="34" charset="0"/>
                <a:ea typeface="Tahoma" pitchFamily="34" charset="0"/>
                <a:cs typeface="Tahoma" pitchFamily="34" charset="0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Tx/>
              <a:buBlip>
                <a:blip r:embed="rId3"/>
              </a:buBlip>
              <a:defRPr sz="1600" kern="1200">
                <a:solidFill>
                  <a:srgbClr val="0000CC"/>
                </a:solidFill>
                <a:latin typeface="Tahoma" pitchFamily="34" charset="0"/>
                <a:ea typeface="Tahoma" pitchFamily="34" charset="0"/>
                <a:cs typeface="Tahom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buFontTx/>
              <a:buBlip>
                <a:blip r:embed="rId4"/>
              </a:buBlip>
              <a:defRPr/>
            </a:pPr>
            <a:r>
              <a:rPr lang="en-GB" sz="20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Two external experts</a:t>
            </a:r>
          </a:p>
          <a:p>
            <a:pPr lvl="1">
              <a:buFontTx/>
              <a:buBlip>
                <a:blip r:embed="rId4"/>
              </a:buBlip>
              <a:defRPr/>
            </a:pPr>
            <a:r>
              <a:rPr lang="en-GB" sz="20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Technical Committee comments</a:t>
            </a:r>
          </a:p>
          <a:p>
            <a:pPr marL="1069975" lvl="1" indent="-612775">
              <a:buFontTx/>
              <a:buBlip>
                <a:blip r:embed="rId4"/>
              </a:buBlip>
              <a:defRPr/>
            </a:pPr>
            <a:r>
              <a:rPr lang="en-GB" sz="20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EURIPIDAC outlook on funding potentialities</a:t>
            </a:r>
            <a:endParaRPr lang="en-GB" sz="20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028" name="Picture 4" descr="C:\Users\RENAUDIN\AppData\Local\Microsoft\Windows\Temporary Internet Files\Content.IE5\86C3OPF0\MC900437050[1]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9952" y="1556792"/>
            <a:ext cx="648072" cy="6480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9" name="Picture 5" descr="C:\Users\RENAUDIN\AppData\Local\Microsoft\Windows\Temporary Internet Files\Content.IE5\VDJFZ00R\MC900437051[1]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67944" y="4080587"/>
            <a:ext cx="720080" cy="7200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Slide Number Placeholder 5"/>
          <p:cNvSpPr txBox="1">
            <a:spLocks/>
          </p:cNvSpPr>
          <p:nvPr/>
        </p:nvSpPr>
        <p:spPr>
          <a:xfrm>
            <a:off x="8628418" y="6354457"/>
            <a:ext cx="343043" cy="36933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nl-NL"/>
            </a:defPPr>
            <a:lvl1pPr marL="0" algn="r" defTabSz="457200" rtl="0" eaLnBrk="1" latinLnBrk="0" hangingPunct="1">
              <a:defRPr sz="1800" b="0" i="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8C080AE-66C8-8249-B90B-B6D109566B0C}" type="slidenum">
              <a:rPr lang="en-US" sz="2400" b="1">
                <a:solidFill>
                  <a:srgbClr val="1F497D"/>
                </a:solidFill>
              </a:rPr>
              <a:pPr/>
              <a:t>15</a:t>
            </a:fld>
            <a:endParaRPr lang="en-US" sz="2400" b="1" dirty="0">
              <a:solidFill>
                <a:srgbClr val="1F497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9695884"/>
      </p:ext>
    </p:extLst>
  </p:cSld>
  <p:clrMapOvr>
    <a:masterClrMapping/>
  </p:clrMapOvr>
  <p:transition spd="med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0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0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699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000"/>
                                        <p:tgtEl>
                                          <p:spTgt spid="29699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29699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29699">
                                            <p:bg/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69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1000"/>
                                        <p:tgtEl>
                                          <p:spTgt spid="2969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2969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2969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69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1000"/>
                                        <p:tgtEl>
                                          <p:spTgt spid="2969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2969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2969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69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1000"/>
                                        <p:tgtEl>
                                          <p:spTgt spid="2969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5" dur="1000" fill="hold"/>
                                        <p:tgtEl>
                                          <p:spTgt spid="2969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2969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69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1000"/>
                                        <p:tgtEl>
                                          <p:spTgt spid="2969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2" dur="1000" fill="hold"/>
                                        <p:tgtEl>
                                          <p:spTgt spid="2969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1000" fill="hold"/>
                                        <p:tgtEl>
                                          <p:spTgt spid="2969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4" fill="hold">
                      <p:stCondLst>
                        <p:cond delay="indefinite"/>
                      </p:stCondLst>
                      <p:childTnLst>
                        <p:par>
                          <p:cTn id="45" fill="hold">
                            <p:stCondLst>
                              <p:cond delay="0"/>
                            </p:stCondLst>
                            <p:childTnLst>
                              <p:par>
                                <p:cTn id="46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1000"/>
                                        <p:tgtEl>
                                          <p:spTgt spid="7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9" dur="1000" fill="hold"/>
                                        <p:tgtEl>
                                          <p:spTgt spid="7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0" dur="1000" fill="hold"/>
                                        <p:tgtEl>
                                          <p:spTgt spid="7">
                                            <p:bg/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1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10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4" dur="1000" fill="hold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5" dur="1000" fill="hold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6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1000"/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9" dur="1000" fill="hold"/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0" dur="1000" fill="hold"/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1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1000"/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4" dur="1000" fill="hold"/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5" dur="1000" fill="hold"/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6" fill="hold">
                      <p:stCondLst>
                        <p:cond delay="indefinite"/>
                      </p:stCondLst>
                      <p:childTnLst>
                        <p:par>
                          <p:cTn id="67" fill="hold">
                            <p:stCondLst>
                              <p:cond delay="0"/>
                            </p:stCondLst>
                            <p:childTnLst>
                              <p:par>
                                <p:cTn id="68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1000"/>
                                        <p:tgtEl>
                                          <p:spTgt spid="102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1" dur="1000" fill="hold"/>
                                        <p:tgtEl>
                                          <p:spTgt spid="10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2" dur="1000" fill="hold"/>
                                        <p:tgtEl>
                                          <p:spTgt spid="10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3" fill="hold">
                      <p:stCondLst>
                        <p:cond delay="indefinite"/>
                      </p:stCondLst>
                      <p:childTnLst>
                        <p:par>
                          <p:cTn id="74" fill="hold">
                            <p:stCondLst>
                              <p:cond delay="0"/>
                            </p:stCondLst>
                            <p:childTnLst>
                              <p:par>
                                <p:cTn id="7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7" dur="1000"/>
                                        <p:tgtEl>
                                          <p:spTgt spid="11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8" dur="1000" fill="hold"/>
                                        <p:tgtEl>
                                          <p:spTgt spid="11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9" dur="1000" fill="hold"/>
                                        <p:tgtEl>
                                          <p:spTgt spid="11">
                                            <p:bg/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0" fill="hold">
                      <p:stCondLst>
                        <p:cond delay="indefinite"/>
                      </p:stCondLst>
                      <p:childTnLst>
                        <p:par>
                          <p:cTn id="81" fill="hold">
                            <p:stCondLst>
                              <p:cond delay="0"/>
                            </p:stCondLst>
                            <p:childTnLst>
                              <p:par>
                                <p:cTn id="82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4" dur="1000"/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5" dur="1000" fill="hold"/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6" dur="1000" fill="hold"/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7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9" dur="1000"/>
                                        <p:tgtEl>
                                          <p:spTgt spid="1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90" dur="1000" fill="hold"/>
                                        <p:tgtEl>
                                          <p:spTgt spid="1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1" dur="1000" fill="hold"/>
                                        <p:tgtEl>
                                          <p:spTgt spid="1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2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4" dur="1000"/>
                                        <p:tgtEl>
                                          <p:spTgt spid="1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95" dur="1000" fill="hold"/>
                                        <p:tgtEl>
                                          <p:spTgt spid="1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6" dur="1000" fill="hold"/>
                                        <p:tgtEl>
                                          <p:spTgt spid="1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7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9" dur="1000"/>
                                        <p:tgtEl>
                                          <p:spTgt spid="1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00" dur="1000" fill="hold"/>
                                        <p:tgtEl>
                                          <p:spTgt spid="1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1" dur="1000" fill="hold"/>
                                        <p:tgtEl>
                                          <p:spTgt spid="1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2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4" dur="1000"/>
                                        <p:tgtEl>
                                          <p:spTgt spid="11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05" dur="1000" fill="hold"/>
                                        <p:tgtEl>
                                          <p:spTgt spid="11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6" dur="1000" fill="hold"/>
                                        <p:tgtEl>
                                          <p:spTgt spid="11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7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9" dur="1000"/>
                                        <p:tgtEl>
                                          <p:spTgt spid="11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10" dur="1000" fill="hold"/>
                                        <p:tgtEl>
                                          <p:spTgt spid="11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1" dur="1000" fill="hold"/>
                                        <p:tgtEl>
                                          <p:spTgt spid="11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2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4" dur="1000"/>
                                        <p:tgtEl>
                                          <p:spTgt spid="11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15" dur="1000" fill="hold"/>
                                        <p:tgtEl>
                                          <p:spTgt spid="11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6" dur="1000" fill="hold"/>
                                        <p:tgtEl>
                                          <p:spTgt spid="11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7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9" dur="1000"/>
                                        <p:tgtEl>
                                          <p:spTgt spid="11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0" dur="1000" fill="hold"/>
                                        <p:tgtEl>
                                          <p:spTgt spid="11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1" dur="1000" fill="hold"/>
                                        <p:tgtEl>
                                          <p:spTgt spid="11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2" fill="hold">
                      <p:stCondLst>
                        <p:cond delay="indefinite"/>
                      </p:stCondLst>
                      <p:childTnLst>
                        <p:par>
                          <p:cTn id="123" fill="hold">
                            <p:stCondLst>
                              <p:cond delay="0"/>
                            </p:stCondLst>
                            <p:childTnLst>
                              <p:par>
                                <p:cTn id="124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6" dur="1000"/>
                                        <p:tgtEl>
                                          <p:spTgt spid="12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7" dur="1000" fill="hold"/>
                                        <p:tgtEl>
                                          <p:spTgt spid="12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8" dur="1000" fill="hold"/>
                                        <p:tgtEl>
                                          <p:spTgt spid="12">
                                            <p:bg/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9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1" dur="1000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2" dur="1000" fill="hold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3" dur="1000" fill="hold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4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6" dur="1000"/>
                                        <p:tgtEl>
                                          <p:spTgt spid="1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7" dur="1000" fill="hold"/>
                                        <p:tgtEl>
                                          <p:spTgt spid="1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8" dur="1000" fill="hold"/>
                                        <p:tgtEl>
                                          <p:spTgt spid="1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9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1" dur="1000"/>
                                        <p:tgtEl>
                                          <p:spTgt spid="1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2" dur="1000" fill="hold"/>
                                        <p:tgtEl>
                                          <p:spTgt spid="1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3" dur="1000" fill="hold"/>
                                        <p:tgtEl>
                                          <p:spTgt spid="1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build="p" animBg="1"/>
      <p:bldP spid="12" grpId="0" build="p" animBg="1"/>
      <p:bldP spid="29699" grpId="0" build="p" animBg="1"/>
      <p:bldP spid="7" grpId="0" build="p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2578" name="Titre 2"/>
          <p:cNvSpPr>
            <a:spLocks noGrp="1"/>
          </p:cNvSpPr>
          <p:nvPr>
            <p:ph type="title"/>
          </p:nvPr>
        </p:nvSpPr>
        <p:spPr bwMode="auto">
          <a:xfrm>
            <a:off x="1835696" y="404664"/>
            <a:ext cx="6192837" cy="720080"/>
          </a:xfr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r>
              <a:rPr lang="en-GB" sz="3600" dirty="0" smtClean="0"/>
              <a:t>Call For Proposal Process</a:t>
            </a:r>
          </a:p>
        </p:txBody>
      </p:sp>
      <p:pic>
        <p:nvPicPr>
          <p:cNvPr id="2050" name="Picture 2" descr="Euripides Call Process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1600" y="1268760"/>
            <a:ext cx="3279092" cy="49535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4" name="Diagramme 3"/>
          <p:cNvGraphicFramePr/>
          <p:nvPr>
            <p:extLst/>
          </p:nvPr>
        </p:nvGraphicFramePr>
        <p:xfrm>
          <a:off x="6300192" y="1412777"/>
          <a:ext cx="2160240" cy="46805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grpSp>
        <p:nvGrpSpPr>
          <p:cNvPr id="5" name="Groupe 4"/>
          <p:cNvGrpSpPr/>
          <p:nvPr/>
        </p:nvGrpSpPr>
        <p:grpSpPr>
          <a:xfrm>
            <a:off x="4932040" y="2348880"/>
            <a:ext cx="1296144" cy="2232248"/>
            <a:chOff x="4932040" y="2348880"/>
            <a:chExt cx="1296144" cy="2232248"/>
          </a:xfrm>
        </p:grpSpPr>
        <p:sp>
          <p:nvSpPr>
            <p:cNvPr id="2" name="Double flèche verticale 1"/>
            <p:cNvSpPr/>
            <p:nvPr/>
          </p:nvSpPr>
          <p:spPr>
            <a:xfrm>
              <a:off x="4932040" y="2348880"/>
              <a:ext cx="1296144" cy="2232248"/>
            </a:xfrm>
            <a:prstGeom prst="upDown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pic>
          <p:nvPicPr>
            <p:cNvPr id="3" name="Image 2"/>
            <p:cNvPicPr>
              <a:picLocks noChangeAspect="1"/>
            </p:cNvPicPr>
            <p:nvPr/>
          </p:nvPicPr>
          <p:blipFill rotWithShape="1"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312" t="10708" r="16389"/>
            <a:stretch/>
          </p:blipFill>
          <p:spPr>
            <a:xfrm>
              <a:off x="5184068" y="2924944"/>
              <a:ext cx="792088" cy="1050950"/>
            </a:xfrm>
            <a:prstGeom prst="rect">
              <a:avLst/>
            </a:prstGeom>
            <a:ln>
              <a:noFill/>
            </a:ln>
            <a:effectLst>
              <a:softEdge rad="112500"/>
            </a:effectLst>
          </p:spPr>
        </p:pic>
      </p:grpSp>
      <p:sp>
        <p:nvSpPr>
          <p:cNvPr id="9" name="Slide Number Placeholder 5"/>
          <p:cNvSpPr txBox="1">
            <a:spLocks/>
          </p:cNvSpPr>
          <p:nvPr/>
        </p:nvSpPr>
        <p:spPr>
          <a:xfrm>
            <a:off x="8628418" y="6354457"/>
            <a:ext cx="343043" cy="36933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nl-NL"/>
            </a:defPPr>
            <a:lvl1pPr marL="0" algn="r" defTabSz="457200" rtl="0" eaLnBrk="1" latinLnBrk="0" hangingPunct="1">
              <a:defRPr sz="1800" b="0" i="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8C080AE-66C8-8249-B90B-B6D109566B0C}" type="slidenum">
              <a:rPr lang="en-US" sz="2400" b="1">
                <a:solidFill>
                  <a:srgbClr val="1F497D"/>
                </a:solidFill>
              </a:rPr>
              <a:pPr/>
              <a:t>16</a:t>
            </a:fld>
            <a:endParaRPr lang="en-US" sz="2400" b="1" dirty="0">
              <a:solidFill>
                <a:srgbClr val="1F497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75964986"/>
      </p:ext>
    </p:extLst>
  </p:cSld>
  <p:clrMapOvr>
    <a:masterClrMapping/>
  </p:clrMapOvr>
  <p:transition spd="med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05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05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05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4" grpId="0">
        <p:bldAsOne/>
      </p:bldGraphic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oneTexte 3"/>
          <p:cNvSpPr txBox="1"/>
          <p:nvPr/>
        </p:nvSpPr>
        <p:spPr>
          <a:xfrm>
            <a:off x="2627784" y="4099719"/>
            <a:ext cx="6336704" cy="7694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en-GB" sz="4400" b="1" spc="50" dirty="0" smtClean="0">
                <a:solidFill>
                  <a:prstClr val="white"/>
                </a:solidFill>
                <a:latin typeface="Arial" pitchFamily="34" charset="0"/>
                <a:ea typeface="Tahoma" pitchFamily="34" charset="0"/>
                <a:cs typeface="Arial" pitchFamily="34" charset="0"/>
              </a:rPr>
              <a:t>6. Funding</a:t>
            </a:r>
            <a:endParaRPr lang="en-GB" sz="4400" b="1" spc="50" dirty="0">
              <a:solidFill>
                <a:prstClr val="white"/>
              </a:solidFill>
              <a:latin typeface="Arial" pitchFamily="34" charset="0"/>
              <a:ea typeface="Tahoma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41697761"/>
      </p:ext>
    </p:extLst>
  </p:cSld>
  <p:clrMapOvr>
    <a:masterClrMapping/>
  </p:clrMapOvr>
  <p:transition spd="slow">
    <p:pull dir="r"/>
  </p:transition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33"/>
          <p:cNvSpPr/>
          <p:nvPr/>
        </p:nvSpPr>
        <p:spPr>
          <a:xfrm>
            <a:off x="467544" y="2051323"/>
            <a:ext cx="8160873" cy="1127610"/>
          </a:xfrm>
          <a:prstGeom prst="rect">
            <a:avLst/>
          </a:prstGeom>
          <a:solidFill>
            <a:schemeClr val="accent1">
              <a:lumMod val="20000"/>
              <a:lumOff val="80000"/>
              <a:alpha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prstClr val="white"/>
              </a:solidFill>
            </a:endParaRPr>
          </a:p>
        </p:txBody>
      </p:sp>
      <p:sp>
        <p:nvSpPr>
          <p:cNvPr id="26712" name="Titre 119"/>
          <p:cNvSpPr>
            <a:spLocks noGrp="1"/>
          </p:cNvSpPr>
          <p:nvPr>
            <p:ph type="title"/>
          </p:nvPr>
        </p:nvSpPr>
        <p:spPr bwMode="auto"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>
            <a:normAutofit/>
          </a:bodyPr>
          <a:lstStyle/>
          <a:p>
            <a:pPr algn="l"/>
            <a:r>
              <a:rPr lang="en-GB" sz="2800" b="1" dirty="0" smtClean="0">
                <a:solidFill>
                  <a:schemeClr val="bg1"/>
                </a:solidFill>
              </a:rPr>
              <a:t>EUREKA members commitment</a:t>
            </a:r>
            <a:endParaRPr lang="en-GB" sz="2800" dirty="0" smtClean="0">
              <a:solidFill>
                <a:schemeClr val="bg1"/>
              </a:solidFill>
            </a:endParaRPr>
          </a:p>
        </p:txBody>
      </p:sp>
      <p:grpSp>
        <p:nvGrpSpPr>
          <p:cNvPr id="7" name="Groupe 6"/>
          <p:cNvGrpSpPr/>
          <p:nvPr/>
        </p:nvGrpSpPr>
        <p:grpSpPr>
          <a:xfrm>
            <a:off x="467544" y="1556792"/>
            <a:ext cx="8208912" cy="3600400"/>
            <a:chOff x="467544" y="1556792"/>
            <a:chExt cx="8208912" cy="3600400"/>
          </a:xfrm>
        </p:grpSpPr>
        <p:grpSp>
          <p:nvGrpSpPr>
            <p:cNvPr id="5" name="Groupe 4"/>
            <p:cNvGrpSpPr/>
            <p:nvPr/>
          </p:nvGrpSpPr>
          <p:grpSpPr>
            <a:xfrm>
              <a:off x="467544" y="1556792"/>
              <a:ext cx="8208912" cy="3600400"/>
              <a:chOff x="467544" y="1556792"/>
              <a:chExt cx="8208912" cy="2604572"/>
            </a:xfrm>
          </p:grpSpPr>
          <p:sp>
            <p:nvSpPr>
              <p:cNvPr id="15" name="Rectangle 14"/>
              <p:cNvSpPr/>
              <p:nvPr/>
            </p:nvSpPr>
            <p:spPr>
              <a:xfrm>
                <a:off x="467544" y="1556792"/>
                <a:ext cx="8208912" cy="1407143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285750" indent="-285750">
                  <a:spcBef>
                    <a:spcPct val="20000"/>
                  </a:spcBef>
                  <a:buFontTx/>
                  <a:buBlip>
                    <a:blip r:embed="rId3"/>
                  </a:buBlip>
                  <a:defRPr/>
                </a:pPr>
                <a:r>
                  <a:rPr lang="en-GB" sz="2600" dirty="0" smtClean="0">
                    <a:solidFill>
                      <a:srgbClr val="002060"/>
                    </a:solidFill>
                    <a:latin typeface="Arial" pitchFamily="34" charset="0"/>
                    <a:ea typeface="Tahoma" pitchFamily="34" charset="0"/>
                    <a:cs typeface="Arial" pitchFamily="34" charset="0"/>
                  </a:rPr>
                  <a:t>  </a:t>
                </a:r>
                <a:r>
                  <a:rPr lang="en-GB" sz="2600" b="1" dirty="0" smtClean="0">
                    <a:solidFill>
                      <a:srgbClr val="002060"/>
                    </a:solidFill>
                    <a:latin typeface="Arial" pitchFamily="34" charset="0"/>
                    <a:ea typeface="Tahoma" pitchFamily="34" charset="0"/>
                    <a:cs typeface="Arial" pitchFamily="34" charset="0"/>
                  </a:rPr>
                  <a:t>20</a:t>
                </a:r>
                <a:r>
                  <a:rPr lang="en-GB" sz="2800" b="1" dirty="0" smtClean="0">
                    <a:solidFill>
                      <a:srgbClr val="002060"/>
                    </a:solidFill>
                    <a:latin typeface="Arial" pitchFamily="34" charset="0"/>
                    <a:ea typeface="Tahoma" pitchFamily="34" charset="0"/>
                    <a:cs typeface="Arial" pitchFamily="34" charset="0"/>
                  </a:rPr>
                  <a:t> Members supporting: </a:t>
                </a:r>
              </a:p>
              <a:p>
                <a:pPr algn="ctr">
                  <a:spcBef>
                    <a:spcPct val="20000"/>
                  </a:spcBef>
                  <a:defRPr/>
                </a:pPr>
                <a:r>
                  <a:rPr lang="en-GB" sz="2200" dirty="0" smtClean="0">
                    <a:solidFill>
                      <a:srgbClr val="002060"/>
                    </a:solidFill>
                    <a:latin typeface="Arial" pitchFamily="34" charset="0"/>
                    <a:ea typeface="Tahoma" pitchFamily="34" charset="0"/>
                    <a:cs typeface="Arial" pitchFamily="34" charset="0"/>
                  </a:rPr>
                  <a:t>Austria, Belgium</a:t>
                </a:r>
                <a:r>
                  <a:rPr lang="en-GB" sz="2200" dirty="0">
                    <a:solidFill>
                      <a:srgbClr val="002060"/>
                    </a:solidFill>
                    <a:latin typeface="Arial" pitchFamily="34" charset="0"/>
                    <a:ea typeface="Tahoma" pitchFamily="34" charset="0"/>
                    <a:cs typeface="Arial" pitchFamily="34" charset="0"/>
                  </a:rPr>
                  <a:t>, </a:t>
                </a:r>
                <a:r>
                  <a:rPr lang="en-GB" sz="2200" dirty="0" smtClean="0">
                    <a:solidFill>
                      <a:srgbClr val="002060"/>
                    </a:solidFill>
                    <a:latin typeface="Arial" pitchFamily="34" charset="0"/>
                    <a:ea typeface="Tahoma" pitchFamily="34" charset="0"/>
                    <a:cs typeface="Arial" pitchFamily="34" charset="0"/>
                  </a:rPr>
                  <a:t>Canada, Czech Republic, </a:t>
                </a:r>
                <a:r>
                  <a:rPr lang="en-GB" sz="2200" dirty="0">
                    <a:solidFill>
                      <a:srgbClr val="002060"/>
                    </a:solidFill>
                    <a:latin typeface="Arial" pitchFamily="34" charset="0"/>
                    <a:ea typeface="Tahoma" pitchFamily="34" charset="0"/>
                    <a:cs typeface="Arial" pitchFamily="34" charset="0"/>
                  </a:rPr>
                  <a:t>Estonia, Finland, </a:t>
                </a:r>
                <a:r>
                  <a:rPr lang="en-GB" sz="2200" dirty="0" smtClean="0">
                    <a:solidFill>
                      <a:srgbClr val="002060"/>
                    </a:solidFill>
                    <a:latin typeface="Arial" pitchFamily="34" charset="0"/>
                    <a:ea typeface="Tahoma" pitchFamily="34" charset="0"/>
                    <a:cs typeface="Arial" pitchFamily="34" charset="0"/>
                  </a:rPr>
                  <a:t>France, Germany, Ireland</a:t>
                </a:r>
                <a:r>
                  <a:rPr lang="en-GB" sz="2200" dirty="0">
                    <a:solidFill>
                      <a:srgbClr val="002060"/>
                    </a:solidFill>
                    <a:latin typeface="Arial" pitchFamily="34" charset="0"/>
                    <a:ea typeface="Tahoma" pitchFamily="34" charset="0"/>
                    <a:cs typeface="Arial" pitchFamily="34" charset="0"/>
                  </a:rPr>
                  <a:t>, Israel, </a:t>
                </a:r>
                <a:r>
                  <a:rPr lang="en-GB" sz="2200" dirty="0" smtClean="0">
                    <a:solidFill>
                      <a:srgbClr val="002060"/>
                    </a:solidFill>
                    <a:latin typeface="Arial" pitchFamily="34" charset="0"/>
                    <a:ea typeface="Tahoma" pitchFamily="34" charset="0"/>
                    <a:cs typeface="Arial" pitchFamily="34" charset="0"/>
                  </a:rPr>
                  <a:t>Hungary, Norway</a:t>
                </a:r>
                <a:r>
                  <a:rPr lang="en-GB" sz="2200" dirty="0">
                    <a:solidFill>
                      <a:srgbClr val="002060"/>
                    </a:solidFill>
                    <a:latin typeface="Arial" pitchFamily="34" charset="0"/>
                    <a:ea typeface="Tahoma" pitchFamily="34" charset="0"/>
                    <a:cs typeface="Arial" pitchFamily="34" charset="0"/>
                  </a:rPr>
                  <a:t>, Monaco, </a:t>
                </a:r>
                <a:r>
                  <a:rPr lang="en-GB" sz="2200" dirty="0" smtClean="0">
                    <a:solidFill>
                      <a:srgbClr val="002060"/>
                    </a:solidFill>
                    <a:latin typeface="Arial" pitchFamily="34" charset="0"/>
                    <a:ea typeface="Tahoma" pitchFamily="34" charset="0"/>
                    <a:cs typeface="Arial" pitchFamily="34" charset="0"/>
                  </a:rPr>
                  <a:t>Poland, Romania, South Korea</a:t>
                </a:r>
                <a:r>
                  <a:rPr lang="en-GB" sz="2200" dirty="0">
                    <a:solidFill>
                      <a:srgbClr val="002060"/>
                    </a:solidFill>
                    <a:latin typeface="Arial" pitchFamily="34" charset="0"/>
                    <a:ea typeface="Tahoma" pitchFamily="34" charset="0"/>
                    <a:cs typeface="Arial" pitchFamily="34" charset="0"/>
                  </a:rPr>
                  <a:t>, Spain, Sweden, </a:t>
                </a:r>
                <a:r>
                  <a:rPr lang="en-GB" sz="2200" dirty="0" smtClean="0">
                    <a:solidFill>
                      <a:srgbClr val="002060"/>
                    </a:solidFill>
                    <a:latin typeface="Arial" pitchFamily="34" charset="0"/>
                    <a:ea typeface="Tahoma" pitchFamily="34" charset="0"/>
                    <a:cs typeface="Arial" pitchFamily="34" charset="0"/>
                  </a:rPr>
                  <a:t>Switzerland and Turkey</a:t>
                </a:r>
                <a:endParaRPr lang="en-GB" sz="2200" dirty="0">
                  <a:solidFill>
                    <a:srgbClr val="002060"/>
                  </a:solidFill>
                  <a:latin typeface="Arial" pitchFamily="34" charset="0"/>
                  <a:ea typeface="Tahoma" pitchFamily="34" charset="0"/>
                  <a:cs typeface="Arial" pitchFamily="34" charset="0"/>
                </a:endParaRPr>
              </a:p>
            </p:txBody>
          </p:sp>
          <p:grpSp>
            <p:nvGrpSpPr>
              <p:cNvPr id="2" name="Groupe 1"/>
              <p:cNvGrpSpPr/>
              <p:nvPr/>
            </p:nvGrpSpPr>
            <p:grpSpPr>
              <a:xfrm>
                <a:off x="2051720" y="3356183"/>
                <a:ext cx="5071624" cy="805181"/>
                <a:chOff x="2051720" y="3356183"/>
                <a:chExt cx="5071624" cy="805181"/>
              </a:xfrm>
            </p:grpSpPr>
            <p:pic>
              <p:nvPicPr>
                <p:cNvPr id="118" name="Image 117" descr="250px-Flag_of_Poland.svg.png"/>
                <p:cNvPicPr>
                  <a:picLocks noChangeAspect="1"/>
                </p:cNvPicPr>
                <p:nvPr/>
              </p:nvPicPr>
              <p:blipFill>
                <a:blip r:embed="rId4" cstate="print"/>
                <a:stretch>
                  <a:fillRect/>
                </a:stretch>
              </p:blipFill>
              <p:spPr>
                <a:xfrm>
                  <a:off x="3316800" y="3847400"/>
                  <a:ext cx="431244" cy="295325"/>
                </a:xfrm>
                <a:prstGeom prst="rect">
                  <a:avLst/>
                </a:prstGeom>
                <a:ln>
                  <a:solidFill>
                    <a:schemeClr val="tx1"/>
                  </a:solidFill>
                </a:ln>
              </p:spPr>
            </p:pic>
            <p:pic>
              <p:nvPicPr>
                <p:cNvPr id="105" name="Image 104" descr="225px-Flag_of_Ireland.svg.png"/>
                <p:cNvPicPr>
                  <a:picLocks noChangeAspect="1"/>
                </p:cNvPicPr>
                <p:nvPr/>
              </p:nvPicPr>
              <p:blipFill>
                <a:blip r:embed="rId5" cstate="print"/>
                <a:stretch>
                  <a:fillRect/>
                </a:stretch>
              </p:blipFill>
              <p:spPr>
                <a:xfrm>
                  <a:off x="5697308" y="3381853"/>
                  <a:ext cx="417122" cy="283448"/>
                </a:xfrm>
                <a:prstGeom prst="rect">
                  <a:avLst/>
                </a:prstGeom>
                <a:ln>
                  <a:solidFill>
                    <a:schemeClr val="tx1"/>
                  </a:solidFill>
                </a:ln>
              </p:spPr>
            </p:pic>
            <p:pic>
              <p:nvPicPr>
                <p:cNvPr id="106" name="Image 105" descr="225px-Flag_of_Germany.svg.png"/>
                <p:cNvPicPr>
                  <a:picLocks noChangeAspect="1"/>
                </p:cNvPicPr>
                <p:nvPr/>
              </p:nvPicPr>
              <p:blipFill>
                <a:blip r:embed="rId6" cstate="print"/>
                <a:stretch>
                  <a:fillRect/>
                </a:stretch>
              </p:blipFill>
              <p:spPr>
                <a:xfrm>
                  <a:off x="5181941" y="3365108"/>
                  <a:ext cx="423244" cy="286805"/>
                </a:xfrm>
                <a:prstGeom prst="rect">
                  <a:avLst/>
                </a:prstGeom>
                <a:ln>
                  <a:solidFill>
                    <a:schemeClr val="tx1"/>
                  </a:solidFill>
                </a:ln>
              </p:spPr>
            </p:pic>
            <p:pic>
              <p:nvPicPr>
                <p:cNvPr id="3075" name="Picture 3"/>
                <p:cNvPicPr>
                  <a:picLocks noChangeAspect="1" noChangeArrowheads="1"/>
                </p:cNvPicPr>
                <p:nvPr/>
              </p:nvPicPr>
              <p:blipFill>
                <a:blip r:embed="rId7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6200333" y="3379447"/>
                  <a:ext cx="412086" cy="285854"/>
                </a:xfrm>
                <a:prstGeom prst="rect">
                  <a:avLst/>
                </a:prstGeom>
                <a:noFill/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</a:extLst>
              </p:spPr>
            </p:pic>
            <p:pic>
              <p:nvPicPr>
                <p:cNvPr id="3074" name="Picture 2"/>
                <p:cNvPicPr>
                  <a:picLocks noChangeAspect="1" noChangeArrowheads="1"/>
                </p:cNvPicPr>
                <p:nvPr/>
              </p:nvPicPr>
              <p:blipFill>
                <a:blip r:embed="rId8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3676119" y="3356183"/>
                  <a:ext cx="418891" cy="284908"/>
                </a:xfrm>
                <a:prstGeom prst="rect">
                  <a:avLst/>
                </a:prstGeom>
                <a:noFill/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</a:extLst>
              </p:spPr>
            </p:pic>
            <p:pic>
              <p:nvPicPr>
                <p:cNvPr id="3076" name="Picture 4"/>
                <p:cNvPicPr>
                  <a:picLocks noChangeAspect="1" noChangeArrowheads="1"/>
                </p:cNvPicPr>
                <p:nvPr/>
              </p:nvPicPr>
              <p:blipFill>
                <a:blip r:embed="rId9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2771800" y="3848815"/>
                  <a:ext cx="415400" cy="276934"/>
                </a:xfrm>
                <a:prstGeom prst="rect">
                  <a:avLst/>
                </a:prstGeom>
                <a:noFill/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</a:extLst>
              </p:spPr>
            </p:pic>
            <p:pic>
              <p:nvPicPr>
                <p:cNvPr id="3077" name="Picture 5"/>
                <p:cNvPicPr>
                  <a:picLocks noChangeAspect="1" noChangeArrowheads="1"/>
                </p:cNvPicPr>
                <p:nvPr/>
              </p:nvPicPr>
              <p:blipFill>
                <a:blip r:embed="rId10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3839639" y="3869589"/>
                  <a:ext cx="413265" cy="276934"/>
                </a:xfrm>
                <a:prstGeom prst="rect">
                  <a:avLst/>
                </a:prstGeom>
                <a:noFill/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</a:extLst>
              </p:spPr>
            </p:pic>
            <p:pic>
              <p:nvPicPr>
                <p:cNvPr id="101" name="Image 100" descr="220px-Flag_of_Spain.svg.png"/>
                <p:cNvPicPr>
                  <a:picLocks noChangeAspect="1"/>
                </p:cNvPicPr>
                <p:nvPr/>
              </p:nvPicPr>
              <p:blipFill>
                <a:blip r:embed="rId11" cstate="print"/>
                <a:stretch>
                  <a:fillRect/>
                </a:stretch>
              </p:blipFill>
              <p:spPr>
                <a:xfrm>
                  <a:off x="5033127" y="3859469"/>
                  <a:ext cx="402969" cy="276815"/>
                </a:xfrm>
                <a:prstGeom prst="rect">
                  <a:avLst/>
                </a:prstGeom>
                <a:ln>
                  <a:solidFill>
                    <a:schemeClr val="tx1"/>
                  </a:solidFill>
                </a:ln>
              </p:spPr>
            </p:pic>
            <p:pic>
              <p:nvPicPr>
                <p:cNvPr id="103" name="Image 102" descr="225px-Flag_of_Turkey.svg.png"/>
                <p:cNvPicPr>
                  <a:picLocks noChangeAspect="1"/>
                </p:cNvPicPr>
                <p:nvPr/>
              </p:nvPicPr>
              <p:blipFill rotWithShape="1">
                <a:blip r:embed="rId12" cstate="print"/>
                <a:srcRect r="2283"/>
                <a:stretch/>
              </p:blipFill>
              <p:spPr>
                <a:xfrm>
                  <a:off x="6524657" y="3869708"/>
                  <a:ext cx="423607" cy="283264"/>
                </a:xfrm>
                <a:prstGeom prst="rect">
                  <a:avLst/>
                </a:prstGeom>
                <a:ln>
                  <a:solidFill>
                    <a:schemeClr val="tx1"/>
                  </a:solidFill>
                </a:ln>
              </p:spPr>
            </p:pic>
            <p:pic>
              <p:nvPicPr>
                <p:cNvPr id="107" name="Image 106" descr="225px-Flag_of_Norway.svg.png"/>
                <p:cNvPicPr>
                  <a:picLocks noChangeAspect="1"/>
                </p:cNvPicPr>
                <p:nvPr/>
              </p:nvPicPr>
              <p:blipFill>
                <a:blip r:embed="rId13" cstate="print"/>
                <a:stretch>
                  <a:fillRect/>
                </a:stretch>
              </p:blipFill>
              <p:spPr>
                <a:xfrm>
                  <a:off x="2195736" y="3831543"/>
                  <a:ext cx="464614" cy="311181"/>
                </a:xfrm>
                <a:prstGeom prst="rect">
                  <a:avLst/>
                </a:prstGeom>
                <a:ln>
                  <a:solidFill>
                    <a:schemeClr val="tx1"/>
                  </a:solidFill>
                </a:ln>
              </p:spPr>
            </p:pic>
            <p:pic>
              <p:nvPicPr>
                <p:cNvPr id="113" name="Image 112" descr="225px-Flag_of_Sweden.svg.png"/>
                <p:cNvPicPr>
                  <a:picLocks noChangeAspect="1"/>
                </p:cNvPicPr>
                <p:nvPr/>
              </p:nvPicPr>
              <p:blipFill>
                <a:blip r:embed="rId14" cstate="print"/>
                <a:stretch>
                  <a:fillRect/>
                </a:stretch>
              </p:blipFill>
              <p:spPr>
                <a:xfrm>
                  <a:off x="5523142" y="3869708"/>
                  <a:ext cx="417010" cy="279805"/>
                </a:xfrm>
                <a:prstGeom prst="rect">
                  <a:avLst/>
                </a:prstGeom>
                <a:ln>
                  <a:solidFill>
                    <a:schemeClr val="tx1"/>
                  </a:solidFill>
                </a:ln>
              </p:spPr>
            </p:pic>
            <p:pic>
              <p:nvPicPr>
                <p:cNvPr id="97" name="Image 96" descr="225px-Flag_of_Finland.svg.png"/>
                <p:cNvPicPr>
                  <a:picLocks noChangeAspect="1"/>
                </p:cNvPicPr>
                <p:nvPr/>
              </p:nvPicPr>
              <p:blipFill>
                <a:blip r:embed="rId15" cstate="print"/>
                <a:stretch>
                  <a:fillRect/>
                </a:stretch>
              </p:blipFill>
              <p:spPr>
                <a:xfrm>
                  <a:off x="4180914" y="3363041"/>
                  <a:ext cx="415947" cy="285313"/>
                </a:xfrm>
                <a:prstGeom prst="rect">
                  <a:avLst/>
                </a:prstGeom>
                <a:ln>
                  <a:solidFill>
                    <a:schemeClr val="tx1"/>
                  </a:solidFill>
                </a:ln>
              </p:spPr>
            </p:pic>
            <p:pic>
              <p:nvPicPr>
                <p:cNvPr id="99" name="Image 98" descr="220px-Flag_of_Hungary.svg.png"/>
                <p:cNvPicPr>
                  <a:picLocks noChangeAspect="1"/>
                </p:cNvPicPr>
                <p:nvPr/>
              </p:nvPicPr>
              <p:blipFill>
                <a:blip r:embed="rId16" cstate="print"/>
                <a:stretch>
                  <a:fillRect/>
                </a:stretch>
              </p:blipFill>
              <p:spPr>
                <a:xfrm>
                  <a:off x="6710811" y="3378756"/>
                  <a:ext cx="412533" cy="283684"/>
                </a:xfrm>
                <a:prstGeom prst="rect">
                  <a:avLst/>
                </a:prstGeom>
                <a:ln>
                  <a:solidFill>
                    <a:schemeClr val="tx1"/>
                  </a:solidFill>
                </a:ln>
              </p:spPr>
            </p:pic>
            <p:pic>
              <p:nvPicPr>
                <p:cNvPr id="104" name="Image 103" descr="225px-Flag_of_France.svg.png"/>
                <p:cNvPicPr>
                  <a:picLocks noChangeAspect="1"/>
                </p:cNvPicPr>
                <p:nvPr/>
              </p:nvPicPr>
              <p:blipFill>
                <a:blip r:embed="rId17" cstate="print"/>
                <a:stretch>
                  <a:fillRect/>
                </a:stretch>
              </p:blipFill>
              <p:spPr>
                <a:xfrm>
                  <a:off x="4689196" y="3364827"/>
                  <a:ext cx="415014" cy="281399"/>
                </a:xfrm>
                <a:prstGeom prst="rect">
                  <a:avLst/>
                </a:prstGeom>
                <a:ln>
                  <a:solidFill>
                    <a:schemeClr val="tx1"/>
                  </a:solidFill>
                </a:ln>
              </p:spPr>
            </p:pic>
            <p:pic>
              <p:nvPicPr>
                <p:cNvPr id="115" name="Image 114" descr="225px-Flag_of_the_Czech_Republic.svg.png"/>
                <p:cNvPicPr>
                  <a:picLocks noChangeAspect="1"/>
                </p:cNvPicPr>
                <p:nvPr/>
              </p:nvPicPr>
              <p:blipFill>
                <a:blip r:embed="rId18" cstate="print"/>
                <a:stretch>
                  <a:fillRect/>
                </a:stretch>
              </p:blipFill>
              <p:spPr>
                <a:xfrm>
                  <a:off x="3153717" y="3356992"/>
                  <a:ext cx="432128" cy="282750"/>
                </a:xfrm>
                <a:prstGeom prst="rect">
                  <a:avLst/>
                </a:prstGeom>
                <a:ln>
                  <a:solidFill>
                    <a:schemeClr val="tx1"/>
                  </a:solidFill>
                </a:ln>
              </p:spPr>
            </p:pic>
            <p:pic>
              <p:nvPicPr>
                <p:cNvPr id="119" name="Image 118" descr="drapeau_belgique.gif"/>
                <p:cNvPicPr>
                  <a:picLocks noChangeAspect="1"/>
                </p:cNvPicPr>
                <p:nvPr/>
              </p:nvPicPr>
              <p:blipFill rotWithShape="1">
                <a:blip r:embed="rId19" cstate="print"/>
                <a:srcRect l="3539" t="10234" r="4526" b="5357"/>
                <a:stretch/>
              </p:blipFill>
              <p:spPr>
                <a:xfrm>
                  <a:off x="2051720" y="3359842"/>
                  <a:ext cx="457393" cy="281587"/>
                </a:xfrm>
                <a:prstGeom prst="rect">
                  <a:avLst/>
                </a:prstGeom>
                <a:ln>
                  <a:solidFill>
                    <a:schemeClr val="tx1"/>
                  </a:solidFill>
                </a:ln>
              </p:spPr>
            </p:pic>
            <p:pic>
              <p:nvPicPr>
                <p:cNvPr id="120" name="Image 119" descr="drapeausuisse.jpg"/>
                <p:cNvPicPr>
                  <a:picLocks noChangeAspect="1"/>
                </p:cNvPicPr>
                <p:nvPr/>
              </p:nvPicPr>
              <p:blipFill rotWithShape="1">
                <a:blip r:embed="rId20" cstate="print"/>
                <a:srcRect l="1527" r="8321"/>
                <a:stretch/>
              </p:blipFill>
              <p:spPr>
                <a:xfrm>
                  <a:off x="6029194" y="3872881"/>
                  <a:ext cx="415014" cy="288483"/>
                </a:xfrm>
                <a:prstGeom prst="rect">
                  <a:avLst/>
                </a:prstGeom>
                <a:ln>
                  <a:solidFill>
                    <a:schemeClr val="tx1"/>
                  </a:solidFill>
                </a:ln>
              </p:spPr>
            </p:pic>
            <p:pic>
              <p:nvPicPr>
                <p:cNvPr id="68" name="Image 67" descr="Canada.png"/>
                <p:cNvPicPr>
                  <a:picLocks noChangeAspect="1"/>
                </p:cNvPicPr>
                <p:nvPr/>
              </p:nvPicPr>
              <p:blipFill>
                <a:blip r:embed="rId21" cstate="print"/>
                <a:stretch>
                  <a:fillRect/>
                </a:stretch>
              </p:blipFill>
              <p:spPr>
                <a:xfrm>
                  <a:off x="2627991" y="3363041"/>
                  <a:ext cx="427114" cy="283617"/>
                </a:xfrm>
                <a:prstGeom prst="rect">
                  <a:avLst/>
                </a:prstGeom>
                <a:ln w="3175">
                  <a:solidFill>
                    <a:schemeClr val="tx1"/>
                  </a:solidFill>
                </a:ln>
              </p:spPr>
            </p:pic>
          </p:grpSp>
        </p:grpSp>
        <p:pic>
          <p:nvPicPr>
            <p:cNvPr id="96" name="Image 95" descr="225px-Flag_of_Austria.svg.png"/>
            <p:cNvPicPr>
              <a:picLocks noChangeAspect="1"/>
            </p:cNvPicPr>
            <p:nvPr/>
          </p:nvPicPr>
          <p:blipFill>
            <a:blip r:embed="rId22" cstate="print"/>
            <a:stretch>
              <a:fillRect/>
            </a:stretch>
          </p:blipFill>
          <p:spPr>
            <a:xfrm>
              <a:off x="1403648" y="4046047"/>
              <a:ext cx="582385" cy="399050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  <p:pic>
          <p:nvPicPr>
            <p:cNvPr id="67" name="Image 66" descr="south-korea-flag.gif"/>
            <p:cNvPicPr>
              <a:picLocks noChangeAspect="1"/>
            </p:cNvPicPr>
            <p:nvPr/>
          </p:nvPicPr>
          <p:blipFill>
            <a:blip r:embed="rId23" cstate="print"/>
            <a:stretch>
              <a:fillRect/>
            </a:stretch>
          </p:blipFill>
          <p:spPr>
            <a:xfrm>
              <a:off x="4375831" y="4780746"/>
              <a:ext cx="556209" cy="376446"/>
            </a:xfrm>
            <a:prstGeom prst="rect">
              <a:avLst/>
            </a:prstGeom>
            <a:ln w="3175">
              <a:solidFill>
                <a:schemeClr val="tx1"/>
              </a:solidFill>
            </a:ln>
          </p:spPr>
        </p:pic>
      </p:grpSp>
      <p:sp>
        <p:nvSpPr>
          <p:cNvPr id="32" name="Slide Number Placeholder 5"/>
          <p:cNvSpPr txBox="1">
            <a:spLocks/>
          </p:cNvSpPr>
          <p:nvPr/>
        </p:nvSpPr>
        <p:spPr>
          <a:xfrm>
            <a:off x="8628418" y="6354457"/>
            <a:ext cx="343043" cy="36933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nl-NL"/>
            </a:defPPr>
            <a:lvl1pPr marL="0" algn="r" defTabSz="457200" rtl="0" eaLnBrk="1" latinLnBrk="0" hangingPunct="1">
              <a:defRPr sz="1800" b="0" i="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8C080AE-66C8-8249-B90B-B6D109566B0C}" type="slidenum">
              <a:rPr lang="en-US" sz="2400" b="1">
                <a:solidFill>
                  <a:srgbClr val="1F497D"/>
                </a:solidFill>
              </a:rPr>
              <a:pPr/>
              <a:t>18</a:t>
            </a:fld>
            <a:endParaRPr lang="en-US" sz="2400" b="1" dirty="0">
              <a:solidFill>
                <a:srgbClr val="1F497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27534829"/>
      </p:ext>
    </p:extLst>
  </p:cSld>
  <p:clrMapOvr>
    <a:masterClrMapping/>
  </p:clrMapOvr>
  <p:transition spd="slow">
    <p:pull/>
  </p:transition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sz="4000" dirty="0" smtClean="0"/>
              <a:t>Funding</a:t>
            </a:r>
            <a:endParaRPr lang="en-GB" sz="4000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4294967295"/>
          </p:nvPr>
        </p:nvSpPr>
        <p:spPr>
          <a:xfrm>
            <a:off x="179388" y="1341438"/>
            <a:ext cx="8964612" cy="2046287"/>
          </a:xfrm>
        </p:spPr>
        <p:txBody>
          <a:bodyPr>
            <a:normAutofit fontScale="92500"/>
          </a:bodyPr>
          <a:lstStyle/>
          <a:p>
            <a:pPr>
              <a:buBlip>
                <a:blip r:embed="rId3"/>
              </a:buBlip>
              <a:defRPr/>
            </a:pPr>
            <a:r>
              <a:rPr lang="en-US" sz="2400" b="1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Funding is decided at national level</a:t>
            </a:r>
          </a:p>
          <a:p>
            <a:pPr>
              <a:buBlip>
                <a:blip r:embed="rId3"/>
              </a:buBlip>
              <a:defRPr/>
            </a:pPr>
            <a:endParaRPr lang="en-US" sz="1200" b="1" dirty="0" smtClea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  <a:p>
            <a:pPr marL="620713" indent="-620713">
              <a:buBlip>
                <a:blip r:embed="rId3"/>
              </a:buBlip>
              <a:defRPr/>
            </a:pPr>
            <a:r>
              <a:rPr lang="en-US" sz="2400" b="1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One “promoter” per country involved: mandatory to ensure</a:t>
            </a:r>
            <a:br>
              <a:rPr lang="en-US" sz="2400" b="1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</a:br>
            <a:r>
              <a:rPr lang="en-US" sz="2400" b="1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the funding availability in all countries involved</a:t>
            </a:r>
          </a:p>
          <a:p>
            <a:pPr marL="620713" indent="-620713">
              <a:buBlip>
                <a:blip r:embed="rId3"/>
              </a:buBlip>
              <a:defRPr/>
            </a:pPr>
            <a:endParaRPr lang="en-US" sz="1300" b="1" dirty="0" smtClea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  <a:p>
            <a:pPr>
              <a:buBlip>
                <a:blip r:embed="rId3"/>
              </a:buBlip>
              <a:defRPr/>
            </a:pPr>
            <a:r>
              <a:rPr lang="en-US" sz="2400" b="1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Check the funding rules on the E² website</a:t>
            </a:r>
            <a:endParaRPr lang="en-US" sz="2400" b="1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7" name="Image 6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27784" y="3387768"/>
            <a:ext cx="4464496" cy="2921552"/>
          </a:xfrm>
          <a:prstGeom prst="rect">
            <a:avLst/>
          </a:prstGeom>
        </p:spPr>
      </p:pic>
      <p:sp>
        <p:nvSpPr>
          <p:cNvPr id="6" name="Slide Number Placeholder 5"/>
          <p:cNvSpPr txBox="1">
            <a:spLocks/>
          </p:cNvSpPr>
          <p:nvPr/>
        </p:nvSpPr>
        <p:spPr>
          <a:xfrm>
            <a:off x="8628418" y="6354457"/>
            <a:ext cx="343043" cy="36933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nl-NL"/>
            </a:defPPr>
            <a:lvl1pPr marL="0" algn="r" defTabSz="457200" rtl="0" eaLnBrk="1" latinLnBrk="0" hangingPunct="1">
              <a:defRPr sz="1800" b="0" i="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400" b="1" dirty="0" smtClean="0">
                <a:solidFill>
                  <a:srgbClr val="1F497D"/>
                </a:solidFill>
              </a:rPr>
              <a:t>30</a:t>
            </a:r>
            <a:endParaRPr lang="en-US" sz="2400" b="1" dirty="0">
              <a:solidFill>
                <a:srgbClr val="1F497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60715953"/>
      </p:ext>
    </p:extLst>
  </p:cSld>
  <p:clrMapOvr>
    <a:masterClrMapping/>
  </p:clrMapOvr>
  <p:transition spd="slow">
    <p:pull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build="p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oneTexte 1"/>
          <p:cNvSpPr txBox="1"/>
          <p:nvPr/>
        </p:nvSpPr>
        <p:spPr>
          <a:xfrm>
            <a:off x="2483768" y="404664"/>
            <a:ext cx="5256882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3600" b="1" spc="50" dirty="0" smtClean="0">
                <a:solidFill>
                  <a:prstClr val="white"/>
                </a:solidFill>
                <a:latin typeface="Arial" pitchFamily="34" charset="0"/>
                <a:ea typeface="Tahoma" pitchFamily="34" charset="0"/>
                <a:cs typeface="Arial" pitchFamily="34" charset="0"/>
              </a:rPr>
              <a:t>Summary</a:t>
            </a:r>
            <a:endParaRPr lang="en-GB" sz="3600" b="1" spc="50" dirty="0">
              <a:solidFill>
                <a:prstClr val="white"/>
              </a:solidFill>
              <a:latin typeface="Arial" pitchFamily="34" charset="0"/>
              <a:ea typeface="Tahoma" pitchFamily="34" charset="0"/>
              <a:cs typeface="Arial" pitchFamily="34" charset="0"/>
            </a:endParaRPr>
          </a:p>
        </p:txBody>
      </p:sp>
      <p:sp>
        <p:nvSpPr>
          <p:cNvPr id="9" name="Rectangle 2051"/>
          <p:cNvSpPr txBox="1">
            <a:spLocks noChangeArrowheads="1"/>
          </p:cNvSpPr>
          <p:nvPr/>
        </p:nvSpPr>
        <p:spPr bwMode="auto">
          <a:xfrm>
            <a:off x="683568" y="1268760"/>
            <a:ext cx="7776864" cy="4968552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360363" marR="0" lvl="0" indent="-360363" fontAlgn="base">
              <a:spcBef>
                <a:spcPct val="20000"/>
              </a:spcBef>
              <a:spcAft>
                <a:spcPct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fr-FR" sz="2400" b="1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fr-FR" sz="2400" b="1" dirty="0" smtClean="0">
                <a:solidFill>
                  <a:srgbClr val="00B0F0"/>
                </a:solidFill>
                <a:latin typeface="Arial" pitchFamily="34" charset="0"/>
                <a:cs typeface="Arial" pitchFamily="34" charset="0"/>
              </a:rPr>
              <a:t>I </a:t>
            </a:r>
            <a:r>
              <a:rPr lang="fr-FR" sz="2400" b="1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GB" sz="2400" b="1" dirty="0" smtClean="0">
                <a:latin typeface="Arial" pitchFamily="34" charset="0"/>
                <a:cs typeface="Arial" pitchFamily="34" charset="0"/>
              </a:rPr>
              <a:t>EURIPIDES² </a:t>
            </a:r>
            <a:r>
              <a:rPr lang="en-GB" sz="2400" b="1" dirty="0" smtClean="0">
                <a:latin typeface="Arial" pitchFamily="34" charset="0"/>
                <a:cs typeface="Arial" pitchFamily="34" charset="0"/>
              </a:rPr>
              <a:t>scope</a:t>
            </a:r>
          </a:p>
          <a:p>
            <a:pPr marL="360363" indent="-360363" fontAlgn="base">
              <a:spcBef>
                <a:spcPct val="20000"/>
              </a:spcBef>
              <a:spcAft>
                <a:spcPct val="0"/>
              </a:spcAft>
              <a:buFont typeface="+mj-lt"/>
              <a:buAutoNum type="arabicPeriod"/>
              <a:defRPr/>
            </a:pPr>
            <a:endParaRPr lang="en-GB" sz="1100" b="1" dirty="0">
              <a:latin typeface="Arial" pitchFamily="34" charset="0"/>
              <a:ea typeface="Tahoma" pitchFamily="34" charset="0"/>
              <a:cs typeface="Arial" pitchFamily="34" charset="0"/>
            </a:endParaRPr>
          </a:p>
          <a:p>
            <a:pPr marL="360363" indent="-360363" fontAlgn="base">
              <a:spcBef>
                <a:spcPct val="20000"/>
              </a:spcBef>
              <a:spcAft>
                <a:spcPct val="0"/>
              </a:spcAft>
              <a:buFont typeface="+mj-lt"/>
              <a:buAutoNum type="arabicPeriod"/>
              <a:defRPr/>
            </a:pPr>
            <a:r>
              <a:rPr lang="en-GB" sz="2400" b="1" dirty="0">
                <a:latin typeface="Arial" pitchFamily="34" charset="0"/>
                <a:cs typeface="Arial" pitchFamily="34" charset="0"/>
              </a:rPr>
              <a:t> </a:t>
            </a:r>
            <a:r>
              <a:rPr lang="en-GB" sz="2400" b="1" dirty="0">
                <a:solidFill>
                  <a:srgbClr val="00B0F0"/>
                </a:solidFill>
                <a:latin typeface="Arial" pitchFamily="34" charset="0"/>
                <a:cs typeface="Arial" pitchFamily="34" charset="0"/>
              </a:rPr>
              <a:t>I</a:t>
            </a:r>
            <a:r>
              <a:rPr lang="en-GB" sz="2400" b="1" dirty="0">
                <a:latin typeface="Arial" pitchFamily="34" charset="0"/>
                <a:cs typeface="Arial" pitchFamily="34" charset="0"/>
              </a:rPr>
              <a:t>  </a:t>
            </a:r>
            <a:r>
              <a:rPr lang="en-GB" sz="2400" b="1" dirty="0" smtClean="0">
                <a:latin typeface="Arial" pitchFamily="34" charset="0"/>
                <a:cs typeface="Arial" pitchFamily="34" charset="0"/>
              </a:rPr>
              <a:t>International Board</a:t>
            </a:r>
          </a:p>
          <a:p>
            <a:pPr marL="360363" indent="-360363" fontAlgn="base">
              <a:spcBef>
                <a:spcPct val="20000"/>
              </a:spcBef>
              <a:spcAft>
                <a:spcPct val="0"/>
              </a:spcAft>
              <a:buFont typeface="+mj-lt"/>
              <a:buAutoNum type="arabicPeriod"/>
              <a:defRPr/>
            </a:pPr>
            <a:endParaRPr lang="en-GB" sz="1100" b="1" dirty="0">
              <a:latin typeface="Arial" pitchFamily="34" charset="0"/>
              <a:ea typeface="Tahoma" pitchFamily="34" charset="0"/>
              <a:cs typeface="Arial" pitchFamily="34" charset="0"/>
            </a:endParaRPr>
          </a:p>
          <a:p>
            <a:pPr marL="360363" indent="-360363" fontAlgn="base">
              <a:spcBef>
                <a:spcPct val="20000"/>
              </a:spcBef>
              <a:spcAft>
                <a:spcPct val="0"/>
              </a:spcAft>
              <a:buFont typeface="+mj-lt"/>
              <a:buAutoNum type="arabicPeriod"/>
              <a:defRPr/>
            </a:pPr>
            <a:r>
              <a:rPr lang="en-GB" sz="2400" b="1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GB" sz="2400" b="1" dirty="0" smtClean="0">
                <a:solidFill>
                  <a:srgbClr val="00B0F0"/>
                </a:solidFill>
                <a:latin typeface="Arial" pitchFamily="34" charset="0"/>
                <a:cs typeface="Arial" pitchFamily="34" charset="0"/>
              </a:rPr>
              <a:t>I  </a:t>
            </a:r>
            <a:r>
              <a:rPr lang="en-GB" sz="2400" b="1" dirty="0">
                <a:latin typeface="Arial" pitchFamily="34" charset="0"/>
                <a:cs typeface="Arial" pitchFamily="34" charset="0"/>
              </a:rPr>
              <a:t>Winning </a:t>
            </a:r>
            <a:r>
              <a:rPr lang="en-GB" sz="2400" b="1" dirty="0" smtClean="0">
                <a:latin typeface="Arial" pitchFamily="34" charset="0"/>
                <a:cs typeface="Arial" pitchFamily="34" charset="0"/>
              </a:rPr>
              <a:t>proposal</a:t>
            </a:r>
          </a:p>
          <a:p>
            <a:pPr marL="360363" indent="-360363" fontAlgn="base">
              <a:spcBef>
                <a:spcPct val="20000"/>
              </a:spcBef>
              <a:spcAft>
                <a:spcPct val="0"/>
              </a:spcAft>
              <a:buFont typeface="+mj-lt"/>
              <a:buAutoNum type="arabicPeriod"/>
              <a:defRPr/>
            </a:pPr>
            <a:endParaRPr lang="en-GB" sz="1100" b="1" dirty="0">
              <a:latin typeface="Arial" pitchFamily="34" charset="0"/>
              <a:ea typeface="Tahoma" pitchFamily="34" charset="0"/>
              <a:cs typeface="Arial" pitchFamily="34" charset="0"/>
            </a:endParaRPr>
          </a:p>
          <a:p>
            <a:pPr marL="360363" indent="-360363" fontAlgn="base">
              <a:spcBef>
                <a:spcPct val="20000"/>
              </a:spcBef>
              <a:spcAft>
                <a:spcPct val="0"/>
              </a:spcAft>
              <a:buFont typeface="+mj-lt"/>
              <a:buAutoNum type="arabicPeriod"/>
              <a:defRPr/>
            </a:pPr>
            <a:r>
              <a:rPr lang="en-GB" sz="2400" b="1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GB" sz="2400" b="1" dirty="0" smtClean="0">
                <a:solidFill>
                  <a:srgbClr val="00B0F0"/>
                </a:solidFill>
                <a:latin typeface="Arial" pitchFamily="34" charset="0"/>
                <a:cs typeface="Arial" pitchFamily="34" charset="0"/>
              </a:rPr>
              <a:t>I  </a:t>
            </a:r>
            <a:r>
              <a:rPr lang="en-GB" sz="2400" b="1" dirty="0" smtClean="0">
                <a:latin typeface="Arial" pitchFamily="34" charset="0"/>
                <a:cs typeface="Arial" pitchFamily="34" charset="0"/>
              </a:rPr>
              <a:t>Call process</a:t>
            </a:r>
          </a:p>
          <a:p>
            <a:pPr marL="360363" indent="-360363" fontAlgn="base">
              <a:spcBef>
                <a:spcPct val="20000"/>
              </a:spcBef>
              <a:spcAft>
                <a:spcPct val="0"/>
              </a:spcAft>
              <a:buFont typeface="+mj-lt"/>
              <a:buAutoNum type="arabicPeriod"/>
              <a:defRPr/>
            </a:pPr>
            <a:endParaRPr lang="en-GB" sz="1100" b="1" dirty="0">
              <a:latin typeface="Arial" pitchFamily="34" charset="0"/>
              <a:ea typeface="Tahoma" pitchFamily="34" charset="0"/>
              <a:cs typeface="Arial" pitchFamily="34" charset="0"/>
            </a:endParaRPr>
          </a:p>
          <a:p>
            <a:pPr marL="360363" indent="-360363" fontAlgn="base">
              <a:spcBef>
                <a:spcPct val="20000"/>
              </a:spcBef>
              <a:spcAft>
                <a:spcPct val="0"/>
              </a:spcAft>
              <a:buFont typeface="+mj-lt"/>
              <a:buAutoNum type="arabicPeriod"/>
              <a:defRPr/>
            </a:pPr>
            <a:r>
              <a:rPr lang="en-GB" sz="2400" b="1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GB" sz="2400" b="1" dirty="0" smtClean="0">
                <a:solidFill>
                  <a:srgbClr val="00B0F0"/>
                </a:solidFill>
                <a:latin typeface="Arial" pitchFamily="34" charset="0"/>
                <a:cs typeface="Arial" pitchFamily="34" charset="0"/>
              </a:rPr>
              <a:t>I</a:t>
            </a:r>
            <a:r>
              <a:rPr lang="en-GB" sz="2400" b="1" dirty="0" smtClean="0">
                <a:latin typeface="Arial" pitchFamily="34" charset="0"/>
                <a:cs typeface="Arial" pitchFamily="34" charset="0"/>
              </a:rPr>
              <a:t>  Funding</a:t>
            </a:r>
          </a:p>
          <a:p>
            <a:pPr marL="360363" indent="-360363" fontAlgn="base">
              <a:spcBef>
                <a:spcPct val="20000"/>
              </a:spcBef>
              <a:spcAft>
                <a:spcPct val="0"/>
              </a:spcAft>
              <a:buFont typeface="+mj-lt"/>
              <a:buAutoNum type="arabicPeriod"/>
              <a:defRPr/>
            </a:pPr>
            <a:endParaRPr lang="en-GB" sz="1100" b="1" dirty="0">
              <a:latin typeface="Arial" pitchFamily="34" charset="0"/>
              <a:ea typeface="Tahoma" pitchFamily="34" charset="0"/>
              <a:cs typeface="Arial" pitchFamily="34" charset="0"/>
            </a:endParaRPr>
          </a:p>
          <a:p>
            <a:pPr marL="360363" indent="-360363" fontAlgn="base">
              <a:spcBef>
                <a:spcPct val="20000"/>
              </a:spcBef>
              <a:spcAft>
                <a:spcPct val="0"/>
              </a:spcAft>
              <a:buFont typeface="+mj-lt"/>
              <a:buAutoNum type="arabicPeriod"/>
              <a:defRPr/>
            </a:pPr>
            <a:r>
              <a:rPr lang="en-GB" sz="2400" b="1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GB" sz="2400" b="1" dirty="0" smtClean="0">
                <a:solidFill>
                  <a:srgbClr val="00B0F0"/>
                </a:solidFill>
                <a:latin typeface="Arial" pitchFamily="34" charset="0"/>
                <a:cs typeface="Arial" pitchFamily="34" charset="0"/>
              </a:rPr>
              <a:t>I  </a:t>
            </a:r>
            <a:r>
              <a:rPr lang="en-GB" sz="2400" b="1" dirty="0" smtClean="0">
                <a:latin typeface="Arial" pitchFamily="34" charset="0"/>
                <a:cs typeface="Arial" pitchFamily="34" charset="0"/>
              </a:rPr>
              <a:t>Success stories</a:t>
            </a:r>
            <a:endParaRPr lang="en-GB" sz="1100" b="1" dirty="0">
              <a:latin typeface="Arial" pitchFamily="34" charset="0"/>
              <a:ea typeface="Tahoma" pitchFamily="34" charset="0"/>
              <a:cs typeface="Arial" pitchFamily="34" charset="0"/>
            </a:endParaRPr>
          </a:p>
          <a:p>
            <a:pPr marL="360363" indent="-360363" fontAlgn="base">
              <a:spcBef>
                <a:spcPct val="20000"/>
              </a:spcBef>
              <a:spcAft>
                <a:spcPct val="0"/>
              </a:spcAft>
              <a:buFont typeface="+mj-lt"/>
              <a:buAutoNum type="arabicPeriod"/>
              <a:defRPr/>
            </a:pPr>
            <a:endParaRPr lang="en-GB" sz="1100" b="1" dirty="0" smtClean="0">
              <a:latin typeface="Arial" pitchFamily="34" charset="0"/>
              <a:cs typeface="Arial" pitchFamily="34" charset="0"/>
            </a:endParaRPr>
          </a:p>
          <a:p>
            <a:pPr marL="360363" indent="-360363" fontAlgn="base">
              <a:spcBef>
                <a:spcPct val="20000"/>
              </a:spcBef>
              <a:spcAft>
                <a:spcPct val="0"/>
              </a:spcAft>
              <a:buFont typeface="+mj-lt"/>
              <a:buAutoNum type="arabicPeriod"/>
              <a:defRPr/>
            </a:pPr>
            <a:r>
              <a:rPr lang="en-GB" sz="2400" b="1" dirty="0">
                <a:latin typeface="Arial" pitchFamily="34" charset="0"/>
                <a:cs typeface="Arial" pitchFamily="34" charset="0"/>
              </a:rPr>
              <a:t> </a:t>
            </a:r>
            <a:r>
              <a:rPr lang="en-GB" sz="2400" b="1" dirty="0">
                <a:solidFill>
                  <a:srgbClr val="00B0F0"/>
                </a:solidFill>
                <a:latin typeface="Arial" pitchFamily="34" charset="0"/>
                <a:cs typeface="Arial" pitchFamily="34" charset="0"/>
              </a:rPr>
              <a:t>I</a:t>
            </a:r>
            <a:r>
              <a:rPr lang="en-GB" sz="2400" b="1" dirty="0" smtClean="0">
                <a:latin typeface="Arial" pitchFamily="34" charset="0"/>
                <a:cs typeface="Arial" pitchFamily="34" charset="0"/>
              </a:rPr>
              <a:t>  Calls 2018</a:t>
            </a:r>
            <a:endParaRPr lang="en-GB" sz="1600" b="1" dirty="0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Slide Number Placeholder 5"/>
          <p:cNvSpPr txBox="1">
            <a:spLocks/>
          </p:cNvSpPr>
          <p:nvPr/>
        </p:nvSpPr>
        <p:spPr>
          <a:xfrm>
            <a:off x="8628418" y="6354457"/>
            <a:ext cx="343043" cy="36933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nl-NL"/>
            </a:defPPr>
            <a:lvl1pPr marL="0" algn="r" defTabSz="457200" rtl="0" eaLnBrk="1" latinLnBrk="0" hangingPunct="1">
              <a:defRPr sz="1800" b="0" i="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8C080AE-66C8-8249-B90B-B6D109566B0C}" type="slidenum">
              <a:rPr lang="en-US" sz="2400" b="1">
                <a:solidFill>
                  <a:schemeClr val="tx2"/>
                </a:solidFill>
              </a:rPr>
              <a:pPr/>
              <a:t>2</a:t>
            </a:fld>
            <a:endParaRPr lang="en-US" sz="2400" b="1" dirty="0">
              <a:solidFill>
                <a:schemeClr val="tx2"/>
              </a:solidFill>
            </a:endParaRPr>
          </a:p>
        </p:txBody>
      </p:sp>
    </p:spTree>
  </p:cSld>
  <p:clrMapOvr>
    <a:masterClrMapping/>
  </p:clrMapOvr>
  <p:transition spd="slow">
    <p:pull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oneTexte 2"/>
          <p:cNvSpPr txBox="1"/>
          <p:nvPr/>
        </p:nvSpPr>
        <p:spPr>
          <a:xfrm>
            <a:off x="1773895" y="4068107"/>
            <a:ext cx="7092280" cy="7694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en-GB" sz="4400" b="1" spc="50" dirty="0" smtClean="0">
                <a:solidFill>
                  <a:prstClr val="white"/>
                </a:solidFill>
                <a:latin typeface="Arial" pitchFamily="34" charset="0"/>
                <a:ea typeface="Tahoma" pitchFamily="34" charset="0"/>
                <a:cs typeface="Arial" pitchFamily="34" charset="0"/>
              </a:rPr>
              <a:t>7. </a:t>
            </a:r>
            <a:r>
              <a:rPr lang="en-GB" sz="4400" b="1" spc="50" dirty="0">
                <a:solidFill>
                  <a:prstClr val="white"/>
                </a:solidFill>
                <a:latin typeface="Arial" pitchFamily="34" charset="0"/>
                <a:ea typeface="Tahoma" pitchFamily="34" charset="0"/>
                <a:cs typeface="Arial" pitchFamily="34" charset="0"/>
              </a:rPr>
              <a:t>Success Stories</a:t>
            </a:r>
          </a:p>
        </p:txBody>
      </p:sp>
    </p:spTree>
    <p:extLst>
      <p:ext uri="{BB962C8B-B14F-4D97-AF65-F5344CB8AC3E}">
        <p14:creationId xmlns:p14="http://schemas.microsoft.com/office/powerpoint/2010/main" val="4068785664"/>
      </p:ext>
    </p:extLst>
  </p:cSld>
  <p:clrMapOvr>
    <a:masterClrMapping/>
  </p:clrMapOvr>
  <p:transition spd="slow">
    <p:pull dir="r"/>
  </p:transition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7" name="Rectangle 2050"/>
          <p:cNvSpPr>
            <a:spLocks noGrp="1" noChangeArrowheads="1"/>
          </p:cNvSpPr>
          <p:nvPr>
            <p:ph type="title"/>
          </p:nvPr>
        </p:nvSpPr>
        <p:spPr/>
        <p:txBody>
          <a:bodyPr rtlCol="0">
            <a:normAutofit/>
          </a:bodyPr>
          <a:lstStyle/>
          <a:p>
            <a:pPr eaLnBrk="1" fontAlgn="auto" hangingPunct="1">
              <a:spcAft>
                <a:spcPts val="0"/>
              </a:spcAft>
              <a:defRPr/>
            </a:pPr>
            <a:r>
              <a:rPr lang="en-US" sz="4000" b="1" dirty="0" smtClean="0">
                <a:ea typeface="+mn-ea"/>
              </a:rPr>
              <a:t>Running projects</a:t>
            </a:r>
          </a:p>
        </p:txBody>
      </p:sp>
      <p:sp>
        <p:nvSpPr>
          <p:cNvPr id="29699" name="Rectangle 2051"/>
          <p:cNvSpPr>
            <a:spLocks noGrp="1" noChangeArrowheads="1"/>
          </p:cNvSpPr>
          <p:nvPr>
            <p:ph idx="4294967295"/>
          </p:nvPr>
        </p:nvSpPr>
        <p:spPr>
          <a:xfrm>
            <a:off x="466725" y="1289050"/>
            <a:ext cx="8677275" cy="4886325"/>
          </a:xfrm>
        </p:spPr>
        <p:txBody>
          <a:bodyPr rtlCol="0">
            <a:normAutofit lnSpcReduction="10000"/>
          </a:bodyPr>
          <a:lstStyle/>
          <a:p>
            <a:pPr marL="171450" indent="-171450" eaLnBrk="1" fontAlgn="auto" hangingPunct="1">
              <a:spcAft>
                <a:spcPts val="0"/>
              </a:spcAft>
              <a:buBlip>
                <a:blip r:embed="rId3"/>
              </a:buBlip>
              <a:defRPr/>
            </a:pPr>
            <a:endParaRPr lang="en-GB" sz="800" dirty="0" smtClean="0">
              <a:latin typeface="Arial" pitchFamily="34" charset="0"/>
              <a:cs typeface="Arial" pitchFamily="34" charset="0"/>
            </a:endParaRPr>
          </a:p>
          <a:p>
            <a:pPr marL="342900" indent="-342900" eaLnBrk="1" fontAlgn="auto" hangingPunct="1">
              <a:spcAft>
                <a:spcPts val="0"/>
              </a:spcAft>
              <a:buBlip>
                <a:blip r:embed="rId3"/>
              </a:buBlip>
              <a:defRPr/>
            </a:pPr>
            <a:r>
              <a:rPr lang="en-GB" sz="2100" dirty="0" smtClean="0">
                <a:latin typeface="Arial" pitchFamily="34" charset="0"/>
                <a:cs typeface="Arial" pitchFamily="34" charset="0"/>
              </a:rPr>
              <a:t>PAMIAQ</a:t>
            </a:r>
            <a:r>
              <a:rPr lang="en-GB" sz="2100" dirty="0">
                <a:latin typeface="Arial" pitchFamily="34" charset="0"/>
                <a:cs typeface="Arial" pitchFamily="34" charset="0"/>
              </a:rPr>
              <a:t>: </a:t>
            </a:r>
            <a:r>
              <a:rPr lang="en-GB" sz="2100" b="1" dirty="0">
                <a:latin typeface="Arial" pitchFamily="34" charset="0"/>
                <a:cs typeface="Arial" pitchFamily="34" charset="0"/>
              </a:rPr>
              <a:t>Sensor</a:t>
            </a:r>
            <a:r>
              <a:rPr lang="en-GB" sz="2100" dirty="0">
                <a:latin typeface="Arial" pitchFamily="34" charset="0"/>
                <a:cs typeface="Arial" pitchFamily="34" charset="0"/>
              </a:rPr>
              <a:t> for indoor air </a:t>
            </a:r>
            <a:r>
              <a:rPr lang="en-GB" sz="2100" dirty="0" smtClean="0">
                <a:latin typeface="Arial" pitchFamily="34" charset="0"/>
                <a:cs typeface="Arial" pitchFamily="34" charset="0"/>
              </a:rPr>
              <a:t>quality. 3,1 M€</a:t>
            </a:r>
          </a:p>
          <a:p>
            <a:pPr marL="342900" indent="-342900" eaLnBrk="1" fontAlgn="auto" hangingPunct="1">
              <a:spcAft>
                <a:spcPts val="0"/>
              </a:spcAft>
              <a:buBlip>
                <a:blip r:embed="rId3"/>
              </a:buBlip>
              <a:tabLst>
                <a:tab pos="631825" algn="l"/>
              </a:tabLst>
              <a:defRPr/>
            </a:pPr>
            <a:endParaRPr lang="en-GB" sz="2100" dirty="0" smtClean="0">
              <a:latin typeface="Arial" pitchFamily="34" charset="0"/>
              <a:cs typeface="Arial" pitchFamily="34" charset="0"/>
            </a:endParaRPr>
          </a:p>
          <a:p>
            <a:pPr marL="342900" indent="-342900" eaLnBrk="1" fontAlgn="auto" hangingPunct="1">
              <a:spcAft>
                <a:spcPts val="0"/>
              </a:spcAft>
              <a:buBlip>
                <a:blip r:embed="rId3"/>
              </a:buBlip>
              <a:tabLst>
                <a:tab pos="631825" algn="l"/>
              </a:tabLst>
              <a:defRPr/>
            </a:pPr>
            <a:r>
              <a:rPr lang="en-GB" sz="2100" dirty="0" smtClean="0">
                <a:latin typeface="Arial" pitchFamily="34" charset="0"/>
                <a:cs typeface="Arial" pitchFamily="34" charset="0"/>
              </a:rPr>
              <a:t>ADVANTEX</a:t>
            </a:r>
            <a:r>
              <a:rPr lang="en-GB" sz="2100" dirty="0">
                <a:latin typeface="Arial" pitchFamily="34" charset="0"/>
                <a:cs typeface="Arial" pitchFamily="34" charset="0"/>
              </a:rPr>
              <a:t>: </a:t>
            </a:r>
            <a:r>
              <a:rPr lang="en-GB" sz="2100" dirty="0" smtClean="0">
                <a:latin typeface="Arial" pitchFamily="34" charset="0"/>
                <a:cs typeface="Arial" pitchFamily="34" charset="0"/>
              </a:rPr>
              <a:t>Smart </a:t>
            </a:r>
            <a:r>
              <a:rPr lang="en-GB" sz="2100" dirty="0">
                <a:latin typeface="Arial" pitchFamily="34" charset="0"/>
                <a:cs typeface="Arial" pitchFamily="34" charset="0"/>
              </a:rPr>
              <a:t>protective clothing with integrated </a:t>
            </a:r>
            <a:r>
              <a:rPr lang="en-GB" sz="2100" dirty="0" smtClean="0">
                <a:latin typeface="Arial" pitchFamily="34" charset="0"/>
                <a:cs typeface="Arial" pitchFamily="34" charset="0"/>
              </a:rPr>
              <a:t>	sophisticated </a:t>
            </a:r>
            <a:r>
              <a:rPr lang="en-GB" sz="2100" b="1" dirty="0">
                <a:latin typeface="Arial" pitchFamily="34" charset="0"/>
                <a:cs typeface="Arial" pitchFamily="34" charset="0"/>
              </a:rPr>
              <a:t>microsystems</a:t>
            </a:r>
            <a:r>
              <a:rPr lang="en-GB" sz="2100" dirty="0">
                <a:latin typeface="Arial" pitchFamily="34" charset="0"/>
                <a:cs typeface="Arial" pitchFamily="34" charset="0"/>
              </a:rPr>
              <a:t>. </a:t>
            </a:r>
            <a:r>
              <a:rPr lang="en-GB" sz="2100" dirty="0" smtClean="0">
                <a:latin typeface="Arial" pitchFamily="34" charset="0"/>
                <a:cs typeface="Arial" pitchFamily="34" charset="0"/>
              </a:rPr>
              <a:t>5,9 M€</a:t>
            </a:r>
          </a:p>
          <a:p>
            <a:pPr marL="631825" indent="-631825" eaLnBrk="1" fontAlgn="auto" hangingPunct="1">
              <a:spcAft>
                <a:spcPts val="0"/>
              </a:spcAft>
              <a:buBlip>
                <a:blip r:embed="rId3"/>
              </a:buBlip>
              <a:defRPr/>
            </a:pPr>
            <a:endParaRPr lang="en-GB" sz="1800" dirty="0" smtClean="0">
              <a:latin typeface="Arial" pitchFamily="34" charset="0"/>
              <a:cs typeface="Arial" pitchFamily="34" charset="0"/>
            </a:endParaRPr>
          </a:p>
          <a:p>
            <a:pPr marL="631825" indent="-631825" eaLnBrk="1" fontAlgn="auto" hangingPunct="1">
              <a:spcAft>
                <a:spcPts val="0"/>
              </a:spcAft>
              <a:buBlip>
                <a:blip r:embed="rId3"/>
              </a:buBlip>
              <a:defRPr/>
            </a:pPr>
            <a:r>
              <a:rPr lang="en-GB" sz="2100" dirty="0" smtClean="0">
                <a:latin typeface="Arial" pitchFamily="34" charset="0"/>
                <a:cs typeface="Arial" pitchFamily="34" charset="0"/>
              </a:rPr>
              <a:t>ASES: </a:t>
            </a:r>
            <a:r>
              <a:rPr lang="en-US" sz="2100" dirty="0">
                <a:latin typeface="Arial" pitchFamily="34" charset="0"/>
                <a:cs typeface="Arial" pitchFamily="34" charset="0"/>
              </a:rPr>
              <a:t>High Efficiency Alternative </a:t>
            </a:r>
            <a:r>
              <a:rPr lang="en-US" sz="2100" b="1" dirty="0">
                <a:latin typeface="Arial" pitchFamily="34" charset="0"/>
                <a:cs typeface="Arial" pitchFamily="34" charset="0"/>
              </a:rPr>
              <a:t>Solar Energy</a:t>
            </a:r>
            <a:r>
              <a:rPr lang="en-US" sz="2100" dirty="0">
                <a:latin typeface="Arial" pitchFamily="34" charset="0"/>
                <a:cs typeface="Arial" pitchFamily="34" charset="0"/>
              </a:rPr>
              <a:t> </a:t>
            </a:r>
            <a:r>
              <a:rPr lang="en-US" sz="2100" dirty="0" smtClean="0">
                <a:latin typeface="Arial" pitchFamily="34" charset="0"/>
                <a:cs typeface="Arial" pitchFamily="34" charset="0"/>
              </a:rPr>
              <a:t>Source. 3,2 M€</a:t>
            </a:r>
          </a:p>
          <a:p>
            <a:pPr marL="631825" indent="-631825" eaLnBrk="1" fontAlgn="auto" hangingPunct="1">
              <a:spcAft>
                <a:spcPts val="0"/>
              </a:spcAft>
              <a:buBlip>
                <a:blip r:embed="rId3"/>
              </a:buBlip>
              <a:defRPr/>
            </a:pPr>
            <a:endParaRPr lang="en-US" sz="1800" dirty="0" smtClean="0">
              <a:latin typeface="Arial" pitchFamily="34" charset="0"/>
              <a:cs typeface="Arial" pitchFamily="34" charset="0"/>
            </a:endParaRPr>
          </a:p>
          <a:p>
            <a:pPr marL="631825" indent="-631825" eaLnBrk="1" fontAlgn="auto" hangingPunct="1">
              <a:spcAft>
                <a:spcPts val="0"/>
              </a:spcAft>
              <a:buBlip>
                <a:blip r:embed="rId3"/>
              </a:buBlip>
              <a:defRPr/>
            </a:pPr>
            <a:endParaRPr lang="en-GB" sz="800" dirty="0" smtClean="0">
              <a:latin typeface="Arial" pitchFamily="34" charset="0"/>
              <a:cs typeface="Arial" pitchFamily="34" charset="0"/>
            </a:endParaRPr>
          </a:p>
          <a:p>
            <a:pPr marL="631825" indent="-631825" eaLnBrk="1" fontAlgn="auto" hangingPunct="1">
              <a:spcAft>
                <a:spcPts val="0"/>
              </a:spcAft>
              <a:buBlip>
                <a:blip r:embed="rId3"/>
              </a:buBlip>
              <a:defRPr/>
            </a:pPr>
            <a:r>
              <a:rPr lang="en-GB" sz="2100" dirty="0" smtClean="0">
                <a:latin typeface="Arial" pitchFamily="34" charset="0"/>
                <a:cs typeface="Arial" pitchFamily="34" charset="0"/>
              </a:rPr>
              <a:t>FLEXIDIS</a:t>
            </a:r>
            <a:r>
              <a:rPr lang="en-GB" sz="2100" dirty="0">
                <a:latin typeface="Arial" pitchFamily="34" charset="0"/>
                <a:cs typeface="Arial" pitchFamily="34" charset="0"/>
              </a:rPr>
              <a:t>: Flexible Digital X-ray </a:t>
            </a:r>
            <a:r>
              <a:rPr lang="en-GB" sz="2100" b="1" dirty="0">
                <a:latin typeface="Arial" pitchFamily="34" charset="0"/>
                <a:cs typeface="Arial" pitchFamily="34" charset="0"/>
              </a:rPr>
              <a:t>Imaging</a:t>
            </a:r>
            <a:r>
              <a:rPr lang="en-GB" sz="2100" dirty="0">
                <a:latin typeface="Arial" pitchFamily="34" charset="0"/>
                <a:cs typeface="Arial" pitchFamily="34" charset="0"/>
              </a:rPr>
              <a:t> </a:t>
            </a:r>
            <a:r>
              <a:rPr lang="en-GB" sz="2100" dirty="0" smtClean="0">
                <a:latin typeface="Arial" pitchFamily="34" charset="0"/>
                <a:cs typeface="Arial" pitchFamily="34" charset="0"/>
              </a:rPr>
              <a:t>System. 1,7 M€</a:t>
            </a:r>
          </a:p>
          <a:p>
            <a:pPr marL="631825" indent="-631825" eaLnBrk="1" fontAlgn="auto" hangingPunct="1">
              <a:spcAft>
                <a:spcPts val="0"/>
              </a:spcAft>
              <a:buBlip>
                <a:blip r:embed="rId3"/>
              </a:buBlip>
              <a:defRPr/>
            </a:pPr>
            <a:endParaRPr lang="en-GB" sz="1800" dirty="0">
              <a:latin typeface="Arial" pitchFamily="34" charset="0"/>
              <a:cs typeface="Arial" pitchFamily="34" charset="0"/>
            </a:endParaRPr>
          </a:p>
          <a:p>
            <a:pPr marL="631825" indent="-631825" eaLnBrk="1" fontAlgn="auto" hangingPunct="1">
              <a:spcAft>
                <a:spcPts val="0"/>
              </a:spcAft>
              <a:buBlip>
                <a:blip r:embed="rId3"/>
              </a:buBlip>
              <a:defRPr/>
            </a:pPr>
            <a:r>
              <a:rPr lang="en-GB" sz="2100" dirty="0" smtClean="0">
                <a:latin typeface="Arial" pitchFamily="34" charset="0"/>
                <a:cs typeface="Arial" pitchFamily="34" charset="0"/>
              </a:rPr>
              <a:t>SAM3: </a:t>
            </a:r>
            <a:r>
              <a:rPr lang="en-US" sz="2100" dirty="0" smtClean="0">
                <a:latin typeface="Arial" pitchFamily="34" charset="0"/>
                <a:cs typeface="Arial" pitchFamily="34" charset="0"/>
              </a:rPr>
              <a:t>Smart </a:t>
            </a:r>
            <a:r>
              <a:rPr lang="en-US" sz="2100" dirty="0">
                <a:latin typeface="Arial" pitchFamily="34" charset="0"/>
                <a:cs typeface="Arial" pitchFamily="34" charset="0"/>
              </a:rPr>
              <a:t>Analysis Methods for </a:t>
            </a:r>
            <a:r>
              <a:rPr lang="en-US" sz="2100" b="1" dirty="0">
                <a:latin typeface="Arial" pitchFamily="34" charset="0"/>
                <a:cs typeface="Arial" pitchFamily="34" charset="0"/>
              </a:rPr>
              <a:t>3D Integration </a:t>
            </a:r>
            <a:r>
              <a:rPr lang="en-US" sz="2100" dirty="0">
                <a:latin typeface="Arial" pitchFamily="34" charset="0"/>
                <a:cs typeface="Arial" pitchFamily="34" charset="0"/>
              </a:rPr>
              <a:t>in Advanced Microsystems and Corresponding </a:t>
            </a:r>
            <a:r>
              <a:rPr lang="en-US" sz="2100" dirty="0" smtClean="0">
                <a:latin typeface="Arial" pitchFamily="34" charset="0"/>
                <a:cs typeface="Arial" pitchFamily="34" charset="0"/>
              </a:rPr>
              <a:t>Materials. 19 M€</a:t>
            </a:r>
          </a:p>
          <a:p>
            <a:pPr marL="631825" indent="-631825" eaLnBrk="1" fontAlgn="auto" hangingPunct="1">
              <a:spcAft>
                <a:spcPts val="0"/>
              </a:spcAft>
              <a:buBlip>
                <a:blip r:embed="rId3"/>
              </a:buBlip>
              <a:defRPr/>
            </a:pPr>
            <a:endParaRPr lang="en-US" sz="1800" dirty="0">
              <a:latin typeface="Arial" pitchFamily="34" charset="0"/>
              <a:cs typeface="Arial" pitchFamily="34" charset="0"/>
            </a:endParaRPr>
          </a:p>
          <a:p>
            <a:pPr marL="631825" indent="-631825" eaLnBrk="1" fontAlgn="auto" hangingPunct="1">
              <a:spcAft>
                <a:spcPts val="0"/>
              </a:spcAft>
              <a:buBlip>
                <a:blip r:embed="rId3"/>
              </a:buBlip>
              <a:defRPr/>
            </a:pPr>
            <a:r>
              <a:rPr lang="en-GB" sz="2100" dirty="0" smtClean="0">
                <a:latin typeface="Arial" pitchFamily="34" charset="0"/>
                <a:cs typeface="Arial" pitchFamily="34" charset="0"/>
              </a:rPr>
              <a:t>EDDEMA: </a:t>
            </a:r>
            <a:r>
              <a:rPr lang="en-US" sz="2100" dirty="0">
                <a:latin typeface="Arial" pitchFamily="34" charset="0"/>
                <a:cs typeface="Arial" pitchFamily="34" charset="0"/>
              </a:rPr>
              <a:t>Embedded </a:t>
            </a:r>
            <a:r>
              <a:rPr lang="en-US" sz="2100" b="1" dirty="0">
                <a:latin typeface="Arial" pitchFamily="34" charset="0"/>
                <a:cs typeface="Arial" pitchFamily="34" charset="0"/>
              </a:rPr>
              <a:t>Die Design </a:t>
            </a:r>
            <a:r>
              <a:rPr lang="en-US" sz="2100" dirty="0">
                <a:latin typeface="Arial" pitchFamily="34" charset="0"/>
                <a:cs typeface="Arial" pitchFamily="34" charset="0"/>
              </a:rPr>
              <a:t>Environment &amp; Methodology for Automotive </a:t>
            </a:r>
            <a:r>
              <a:rPr lang="en-US" sz="2100" dirty="0" smtClean="0">
                <a:latin typeface="Arial" pitchFamily="34" charset="0"/>
                <a:cs typeface="Arial" pitchFamily="34" charset="0"/>
              </a:rPr>
              <a:t>Applications. 5,6 M€</a:t>
            </a:r>
            <a:endParaRPr lang="en-GB" sz="2100" dirty="0">
              <a:latin typeface="Arial" pitchFamily="34" charset="0"/>
              <a:cs typeface="Arial" pitchFamily="34" charset="0"/>
            </a:endParaRPr>
          </a:p>
          <a:p>
            <a:pPr marL="457200" lvl="1" indent="0" eaLnBrk="1" fontAlgn="auto" hangingPunct="1">
              <a:spcAft>
                <a:spcPts val="0"/>
              </a:spcAft>
              <a:buFontTx/>
              <a:buNone/>
              <a:defRPr/>
            </a:pPr>
            <a:endParaRPr lang="en-GB" sz="23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Slide Number Placeholder 5"/>
          <p:cNvSpPr txBox="1">
            <a:spLocks/>
          </p:cNvSpPr>
          <p:nvPr/>
        </p:nvSpPr>
        <p:spPr>
          <a:xfrm>
            <a:off x="8460432" y="6002704"/>
            <a:ext cx="432049" cy="73866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defPPr>
              <a:defRPr lang="nl-NL"/>
            </a:defPPr>
            <a:lvl1pPr marL="0" algn="r" defTabSz="457200" rtl="0" eaLnBrk="1" latinLnBrk="0" hangingPunct="1">
              <a:defRPr sz="1800" b="0" i="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2400" b="1" dirty="0" smtClean="0">
              <a:solidFill>
                <a:srgbClr val="1F497D"/>
              </a:solidFill>
            </a:endParaRPr>
          </a:p>
          <a:p>
            <a:r>
              <a:rPr lang="en-US" sz="2400" b="1" dirty="0" smtClean="0">
                <a:solidFill>
                  <a:srgbClr val="1F497D"/>
                </a:solidFill>
              </a:rPr>
              <a:t>32</a:t>
            </a:r>
            <a:endParaRPr lang="en-US" sz="2400" b="1" dirty="0">
              <a:solidFill>
                <a:srgbClr val="1F497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076250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56214" y="346725"/>
            <a:ext cx="6628154" cy="850028"/>
          </a:xfrm>
        </p:spPr>
        <p:txBody>
          <a:bodyPr>
            <a:normAutofit fontScale="90000"/>
          </a:bodyPr>
          <a:lstStyle/>
          <a:p>
            <a:r>
              <a:rPr lang="en-GB" dirty="0" smtClean="0"/>
              <a:t>ADORAS – Improving security on railways</a:t>
            </a:r>
            <a:endParaRPr lang="fr-B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8C080AE-66C8-8249-B90B-B6D109566B0C}" type="slidenum">
              <a:rPr lang="en-US"/>
              <a:pPr/>
              <a:t>22</a:t>
            </a:fld>
            <a:endParaRPr lang="en-US" dirty="0"/>
          </a:p>
        </p:txBody>
      </p:sp>
      <p:sp>
        <p:nvSpPr>
          <p:cNvPr id="36" name="Rectangle 12"/>
          <p:cNvSpPr>
            <a:spLocks/>
          </p:cNvSpPr>
          <p:nvPr/>
        </p:nvSpPr>
        <p:spPr bwMode="auto">
          <a:xfrm>
            <a:off x="550388" y="1828800"/>
            <a:ext cx="7911224" cy="172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algn="ctr">
              <a:defRPr sz="56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algn="ctr">
              <a:defRPr sz="56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algn="ctr">
              <a:defRPr sz="56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algn="ctr">
              <a:defRPr sz="56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algn="ctr">
              <a:defRPr sz="56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56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56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56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56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l" eaLnBrk="1" hangingPunct="1"/>
            <a:r>
              <a:rPr lang="en-GB" sz="1800" b="1" dirty="0" smtClean="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  <a:sym typeface="Lato" panose="020F0502020204030203" pitchFamily="34" charset="0"/>
              </a:rPr>
              <a:t>            </a:t>
            </a:r>
            <a:endParaRPr lang="en-GB" sz="1600" dirty="0">
              <a:solidFill>
                <a:schemeClr val="tx1"/>
              </a:solidFill>
              <a:latin typeface="+mn-lt"/>
              <a:ea typeface="Lato" panose="020F0502020204030203" pitchFamily="34" charset="0"/>
              <a:cs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1049867" y="1213531"/>
            <a:ext cx="7705114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2800" b="1" dirty="0" smtClean="0">
                <a:solidFill>
                  <a:schemeClr val="bg1"/>
                </a:solidFill>
              </a:rPr>
              <a:t>ADORAS</a:t>
            </a:r>
            <a:r>
              <a:rPr lang="en-GB" dirty="0" smtClean="0">
                <a:solidFill>
                  <a:srgbClr val="00B050"/>
                </a:solidFill>
              </a:rPr>
              <a:t/>
            </a:r>
            <a:br>
              <a:rPr lang="en-GB" dirty="0" smtClean="0">
                <a:solidFill>
                  <a:srgbClr val="00B050"/>
                </a:solidFill>
              </a:rPr>
            </a:br>
            <a:r>
              <a:rPr lang="en-GB" sz="2800" b="1" dirty="0" smtClean="0">
                <a:solidFill>
                  <a:schemeClr val="bg1"/>
                </a:solidFill>
              </a:rPr>
              <a:t>Improving security on railways</a:t>
            </a:r>
            <a:endParaRPr lang="en-GB" sz="2800" b="1" dirty="0">
              <a:solidFill>
                <a:schemeClr val="bg1"/>
              </a:solidFill>
            </a:endParaRPr>
          </a:p>
        </p:txBody>
      </p:sp>
      <p:sp>
        <p:nvSpPr>
          <p:cNvPr id="16" name="Freeform 22"/>
          <p:cNvSpPr>
            <a:spLocks/>
          </p:cNvSpPr>
          <p:nvPr>
            <p:custDataLst>
              <p:tags r:id="rId1"/>
            </p:custDataLst>
          </p:nvPr>
        </p:nvSpPr>
        <p:spPr bwMode="auto">
          <a:xfrm>
            <a:off x="1679443" y="2721361"/>
            <a:ext cx="3801175" cy="1465941"/>
          </a:xfrm>
          <a:custGeom>
            <a:avLst/>
            <a:gdLst>
              <a:gd name="T0" fmla="*/ 137111692 w 7049"/>
              <a:gd name="T1" fmla="*/ 477246726 h 2048"/>
              <a:gd name="T2" fmla="*/ 202358326 w 7049"/>
              <a:gd name="T3" fmla="*/ 533425873 h 2048"/>
              <a:gd name="T4" fmla="*/ 229212974 w 7049"/>
              <a:gd name="T5" fmla="*/ 499553291 h 2048"/>
              <a:gd name="T6" fmla="*/ 316586251 w 7049"/>
              <a:gd name="T7" fmla="*/ 404544546 h 2048"/>
              <a:gd name="T8" fmla="*/ 495115383 w 7049"/>
              <a:gd name="T9" fmla="*/ 362134941 h 2048"/>
              <a:gd name="T10" fmla="*/ 633551282 w 7049"/>
              <a:gd name="T11" fmla="*/ 411429055 h 2048"/>
              <a:gd name="T12" fmla="*/ 695204076 w 7049"/>
              <a:gd name="T13" fmla="*/ 396007524 h 2048"/>
              <a:gd name="T14" fmla="*/ 782199444 w 7049"/>
              <a:gd name="T15" fmla="*/ 410878567 h 2048"/>
              <a:gd name="T16" fmla="*/ 865600972 w 7049"/>
              <a:gd name="T17" fmla="*/ 415560075 h 2048"/>
              <a:gd name="T18" fmla="*/ 900020774 w 7049"/>
              <a:gd name="T19" fmla="*/ 377831979 h 2048"/>
              <a:gd name="T20" fmla="*/ 975101327 w 7049"/>
              <a:gd name="T21" fmla="*/ 406472041 h 2048"/>
              <a:gd name="T22" fmla="*/ 1061718350 w 7049"/>
              <a:gd name="T23" fmla="*/ 440069642 h 2048"/>
              <a:gd name="T24" fmla="*/ 1059827061 w 7049"/>
              <a:gd name="T25" fmla="*/ 507814807 h 2048"/>
              <a:gd name="T26" fmla="*/ 1106917932 w 7049"/>
              <a:gd name="T27" fmla="*/ 443925156 h 2048"/>
              <a:gd name="T28" fmla="*/ 1053396940 w 7049"/>
              <a:gd name="T29" fmla="*/ 345886891 h 2048"/>
              <a:gd name="T30" fmla="*/ 1008197358 w 7049"/>
              <a:gd name="T31" fmla="*/ 315869822 h 2048"/>
              <a:gd name="T32" fmla="*/ 1107674187 w 7049"/>
              <a:gd name="T33" fmla="*/ 270430698 h 2048"/>
              <a:gd name="T34" fmla="*/ 1129801265 w 7049"/>
              <a:gd name="T35" fmla="*/ 226368580 h 2048"/>
              <a:gd name="T36" fmla="*/ 1159682235 w 7049"/>
              <a:gd name="T37" fmla="*/ 209570042 h 2048"/>
              <a:gd name="T38" fmla="*/ 1171596615 w 7049"/>
              <a:gd name="T39" fmla="*/ 268227697 h 2048"/>
              <a:gd name="T40" fmla="*/ 1201288413 w 7049"/>
              <a:gd name="T41" fmla="*/ 344509884 h 2048"/>
              <a:gd name="T42" fmla="*/ 1243462107 w 7049"/>
              <a:gd name="T43" fmla="*/ 388296496 h 2048"/>
              <a:gd name="T44" fmla="*/ 1241759991 w 7049"/>
              <a:gd name="T45" fmla="*/ 334320874 h 2048"/>
              <a:gd name="T46" fmla="*/ 1205260163 w 7049"/>
              <a:gd name="T47" fmla="*/ 285577247 h 2048"/>
              <a:gd name="T48" fmla="*/ 1238167021 w 7049"/>
              <a:gd name="T49" fmla="*/ 243718130 h 2048"/>
              <a:gd name="T50" fmla="*/ 1286203319 w 7049"/>
              <a:gd name="T51" fmla="*/ 215904063 h 2048"/>
              <a:gd name="T52" fmla="*/ 1253485633 w 7049"/>
              <a:gd name="T53" fmla="*/ 170189432 h 2048"/>
              <a:gd name="T54" fmla="*/ 1285824974 w 7049"/>
              <a:gd name="T55" fmla="*/ 175146446 h 2048"/>
              <a:gd name="T56" fmla="*/ 1297550617 w 7049"/>
              <a:gd name="T57" fmla="*/ 149535380 h 2048"/>
              <a:gd name="T58" fmla="*/ 1229278094 w 7049"/>
              <a:gd name="T59" fmla="*/ 127229339 h 2048"/>
              <a:gd name="T60" fmla="*/ 1105026644 w 7049"/>
              <a:gd name="T61" fmla="*/ 112908784 h 2048"/>
              <a:gd name="T62" fmla="*/ 1076658617 w 7049"/>
              <a:gd name="T63" fmla="*/ 114285790 h 2048"/>
              <a:gd name="T64" fmla="*/ 943896585 w 7049"/>
              <a:gd name="T65" fmla="*/ 96661258 h 2048"/>
              <a:gd name="T66" fmla="*/ 894158170 w 7049"/>
              <a:gd name="T67" fmla="*/ 79862195 h 2048"/>
              <a:gd name="T68" fmla="*/ 834396230 w 7049"/>
              <a:gd name="T69" fmla="*/ 79862195 h 2048"/>
              <a:gd name="T70" fmla="*/ 758181077 w 7049"/>
              <a:gd name="T71" fmla="*/ 87573223 h 2048"/>
              <a:gd name="T72" fmla="*/ 675914149 w 7049"/>
              <a:gd name="T73" fmla="*/ 71876186 h 2048"/>
              <a:gd name="T74" fmla="*/ 622203985 w 7049"/>
              <a:gd name="T75" fmla="*/ 67194677 h 2048"/>
              <a:gd name="T76" fmla="*/ 568872165 w 7049"/>
              <a:gd name="T77" fmla="*/ 64716170 h 2048"/>
              <a:gd name="T78" fmla="*/ 515162000 w 7049"/>
              <a:gd name="T79" fmla="*/ 15972544 h 2048"/>
              <a:gd name="T80" fmla="*/ 494926211 w 7049"/>
              <a:gd name="T81" fmla="*/ 38554091 h 2048"/>
              <a:gd name="T82" fmla="*/ 403581619 w 7049"/>
              <a:gd name="T83" fmla="*/ 45989613 h 2048"/>
              <a:gd name="T84" fmla="*/ 408309623 w 7049"/>
              <a:gd name="T85" fmla="*/ 55077647 h 2048"/>
              <a:gd name="T86" fmla="*/ 415685171 w 7049"/>
              <a:gd name="T87" fmla="*/ 94182751 h 2048"/>
              <a:gd name="T88" fmla="*/ 365568411 w 7049"/>
              <a:gd name="T89" fmla="*/ 70499179 h 2048"/>
              <a:gd name="T90" fmla="*/ 337957075 w 7049"/>
              <a:gd name="T91" fmla="*/ 75180687 h 2048"/>
              <a:gd name="T92" fmla="*/ 362542523 w 7049"/>
              <a:gd name="T93" fmla="*/ 122822813 h 2048"/>
              <a:gd name="T94" fmla="*/ 392612666 w 7049"/>
              <a:gd name="T95" fmla="*/ 145679866 h 2048"/>
              <a:gd name="T96" fmla="*/ 356112403 w 7049"/>
              <a:gd name="T97" fmla="*/ 163304923 h 2048"/>
              <a:gd name="T98" fmla="*/ 346467222 w 7049"/>
              <a:gd name="T99" fmla="*/ 127779827 h 2048"/>
              <a:gd name="T100" fmla="*/ 306563160 w 7049"/>
              <a:gd name="T101" fmla="*/ 63614670 h 2048"/>
              <a:gd name="T102" fmla="*/ 306941505 w 7049"/>
              <a:gd name="T103" fmla="*/ 124199819 h 2048"/>
              <a:gd name="T104" fmla="*/ 234130151 w 7049"/>
              <a:gd name="T105" fmla="*/ 109328776 h 2048"/>
              <a:gd name="T106" fmla="*/ 226565431 w 7049"/>
              <a:gd name="T107" fmla="*/ 131359835 h 2048"/>
              <a:gd name="T108" fmla="*/ 171720667 w 7049"/>
              <a:gd name="T109" fmla="*/ 137693856 h 2048"/>
              <a:gd name="T110" fmla="*/ 130870744 w 7049"/>
              <a:gd name="T111" fmla="*/ 133012348 h 2048"/>
              <a:gd name="T112" fmla="*/ 113850015 w 7049"/>
              <a:gd name="T113" fmla="*/ 161101922 h 2048"/>
              <a:gd name="T114" fmla="*/ 76971842 w 7049"/>
              <a:gd name="T115" fmla="*/ 203511527 h 2048"/>
              <a:gd name="T116" fmla="*/ 73756781 w 7049"/>
              <a:gd name="T117" fmla="*/ 168537444 h 2048"/>
              <a:gd name="T118" fmla="*/ 28368026 w 7049"/>
              <a:gd name="T119" fmla="*/ 121170824 h 2048"/>
              <a:gd name="T120" fmla="*/ 13427324 w 7049"/>
              <a:gd name="T121" fmla="*/ 166609424 h 2048"/>
              <a:gd name="T122" fmla="*/ 21181216 w 7049"/>
              <a:gd name="T123" fmla="*/ 263821170 h 2048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0" t="0" r="r" b="b"/>
            <a:pathLst>
              <a:path w="7049" h="2048">
                <a:moveTo>
                  <a:pt x="365" y="1401"/>
                </a:moveTo>
                <a:lnTo>
                  <a:pt x="373" y="1401"/>
                </a:lnTo>
                <a:lnTo>
                  <a:pt x="405" y="1401"/>
                </a:lnTo>
                <a:lnTo>
                  <a:pt x="425" y="1388"/>
                </a:lnTo>
                <a:lnTo>
                  <a:pt x="471" y="1388"/>
                </a:lnTo>
                <a:lnTo>
                  <a:pt x="491" y="1401"/>
                </a:lnTo>
                <a:lnTo>
                  <a:pt x="519" y="1426"/>
                </a:lnTo>
                <a:lnTo>
                  <a:pt x="505" y="1451"/>
                </a:lnTo>
                <a:lnTo>
                  <a:pt x="558" y="1451"/>
                </a:lnTo>
                <a:lnTo>
                  <a:pt x="578" y="1499"/>
                </a:lnTo>
                <a:lnTo>
                  <a:pt x="604" y="1493"/>
                </a:lnTo>
                <a:lnTo>
                  <a:pt x="632" y="1512"/>
                </a:lnTo>
                <a:lnTo>
                  <a:pt x="665" y="1499"/>
                </a:lnTo>
                <a:lnTo>
                  <a:pt x="698" y="1524"/>
                </a:lnTo>
                <a:lnTo>
                  <a:pt x="737" y="1524"/>
                </a:lnTo>
                <a:lnTo>
                  <a:pt x="778" y="1543"/>
                </a:lnTo>
                <a:lnTo>
                  <a:pt x="817" y="1555"/>
                </a:lnTo>
                <a:lnTo>
                  <a:pt x="811" y="1586"/>
                </a:lnTo>
                <a:lnTo>
                  <a:pt x="804" y="1623"/>
                </a:lnTo>
                <a:lnTo>
                  <a:pt x="817" y="1647"/>
                </a:lnTo>
                <a:lnTo>
                  <a:pt x="784" y="1647"/>
                </a:lnTo>
                <a:lnTo>
                  <a:pt x="744" y="1660"/>
                </a:lnTo>
                <a:lnTo>
                  <a:pt x="737" y="1691"/>
                </a:lnTo>
                <a:lnTo>
                  <a:pt x="743" y="1690"/>
                </a:lnTo>
                <a:lnTo>
                  <a:pt x="757" y="1685"/>
                </a:lnTo>
                <a:lnTo>
                  <a:pt x="752" y="1691"/>
                </a:lnTo>
                <a:lnTo>
                  <a:pt x="747" y="1696"/>
                </a:lnTo>
                <a:lnTo>
                  <a:pt x="743" y="1701"/>
                </a:lnTo>
                <a:lnTo>
                  <a:pt x="737" y="1705"/>
                </a:lnTo>
                <a:lnTo>
                  <a:pt x="725" y="1713"/>
                </a:lnTo>
                <a:lnTo>
                  <a:pt x="711" y="1721"/>
                </a:lnTo>
                <a:lnTo>
                  <a:pt x="712" y="1724"/>
                </a:lnTo>
                <a:lnTo>
                  <a:pt x="715" y="1728"/>
                </a:lnTo>
                <a:lnTo>
                  <a:pt x="719" y="1731"/>
                </a:lnTo>
                <a:lnTo>
                  <a:pt x="725" y="1733"/>
                </a:lnTo>
                <a:lnTo>
                  <a:pt x="736" y="1738"/>
                </a:lnTo>
                <a:lnTo>
                  <a:pt x="744" y="1740"/>
                </a:lnTo>
                <a:lnTo>
                  <a:pt x="741" y="1749"/>
                </a:lnTo>
                <a:lnTo>
                  <a:pt x="738" y="1756"/>
                </a:lnTo>
                <a:lnTo>
                  <a:pt x="734" y="1763"/>
                </a:lnTo>
                <a:lnTo>
                  <a:pt x="728" y="1769"/>
                </a:lnTo>
                <a:lnTo>
                  <a:pt x="722" y="1774"/>
                </a:lnTo>
                <a:lnTo>
                  <a:pt x="715" y="1779"/>
                </a:lnTo>
                <a:lnTo>
                  <a:pt x="707" y="1785"/>
                </a:lnTo>
                <a:lnTo>
                  <a:pt x="698" y="1790"/>
                </a:lnTo>
                <a:lnTo>
                  <a:pt x="696" y="1796"/>
                </a:lnTo>
                <a:lnTo>
                  <a:pt x="698" y="1801"/>
                </a:lnTo>
                <a:lnTo>
                  <a:pt x="700" y="1806"/>
                </a:lnTo>
                <a:lnTo>
                  <a:pt x="702" y="1809"/>
                </a:lnTo>
                <a:lnTo>
                  <a:pt x="706" y="1812"/>
                </a:lnTo>
                <a:lnTo>
                  <a:pt x="711" y="1815"/>
                </a:lnTo>
                <a:lnTo>
                  <a:pt x="716" y="1817"/>
                </a:lnTo>
                <a:lnTo>
                  <a:pt x="722" y="1819"/>
                </a:lnTo>
                <a:lnTo>
                  <a:pt x="734" y="1823"/>
                </a:lnTo>
                <a:lnTo>
                  <a:pt x="747" y="1828"/>
                </a:lnTo>
                <a:lnTo>
                  <a:pt x="754" y="1831"/>
                </a:lnTo>
                <a:lnTo>
                  <a:pt x="759" y="1835"/>
                </a:lnTo>
                <a:lnTo>
                  <a:pt x="766" y="1840"/>
                </a:lnTo>
                <a:lnTo>
                  <a:pt x="771" y="1845"/>
                </a:lnTo>
                <a:lnTo>
                  <a:pt x="781" y="1854"/>
                </a:lnTo>
                <a:lnTo>
                  <a:pt x="794" y="1861"/>
                </a:lnTo>
                <a:lnTo>
                  <a:pt x="807" y="1868"/>
                </a:lnTo>
                <a:lnTo>
                  <a:pt x="823" y="1875"/>
                </a:lnTo>
                <a:lnTo>
                  <a:pt x="856" y="1887"/>
                </a:lnTo>
                <a:lnTo>
                  <a:pt x="890" y="1901"/>
                </a:lnTo>
                <a:lnTo>
                  <a:pt x="897" y="1901"/>
                </a:lnTo>
                <a:lnTo>
                  <a:pt x="950" y="1919"/>
                </a:lnTo>
                <a:lnTo>
                  <a:pt x="996" y="1931"/>
                </a:lnTo>
                <a:lnTo>
                  <a:pt x="1024" y="1919"/>
                </a:lnTo>
                <a:lnTo>
                  <a:pt x="1070" y="1937"/>
                </a:lnTo>
                <a:lnTo>
                  <a:pt x="1096" y="1956"/>
                </a:lnTo>
                <a:lnTo>
                  <a:pt x="1136" y="1950"/>
                </a:lnTo>
                <a:lnTo>
                  <a:pt x="1176" y="1962"/>
                </a:lnTo>
                <a:lnTo>
                  <a:pt x="1203" y="1980"/>
                </a:lnTo>
                <a:lnTo>
                  <a:pt x="1249" y="2005"/>
                </a:lnTo>
                <a:lnTo>
                  <a:pt x="1282" y="2030"/>
                </a:lnTo>
                <a:lnTo>
                  <a:pt x="1316" y="2048"/>
                </a:lnTo>
                <a:lnTo>
                  <a:pt x="1342" y="2011"/>
                </a:lnTo>
                <a:lnTo>
                  <a:pt x="1355" y="2011"/>
                </a:lnTo>
                <a:lnTo>
                  <a:pt x="1350" y="2009"/>
                </a:lnTo>
                <a:lnTo>
                  <a:pt x="1345" y="2006"/>
                </a:lnTo>
                <a:lnTo>
                  <a:pt x="1341" y="2001"/>
                </a:lnTo>
                <a:lnTo>
                  <a:pt x="1337" y="1998"/>
                </a:lnTo>
                <a:lnTo>
                  <a:pt x="1333" y="1994"/>
                </a:lnTo>
                <a:lnTo>
                  <a:pt x="1331" y="1989"/>
                </a:lnTo>
                <a:lnTo>
                  <a:pt x="1329" y="1985"/>
                </a:lnTo>
                <a:lnTo>
                  <a:pt x="1329" y="1980"/>
                </a:lnTo>
                <a:lnTo>
                  <a:pt x="1318" y="1972"/>
                </a:lnTo>
                <a:lnTo>
                  <a:pt x="1296" y="1952"/>
                </a:lnTo>
                <a:lnTo>
                  <a:pt x="1283" y="1941"/>
                </a:lnTo>
                <a:lnTo>
                  <a:pt x="1273" y="1931"/>
                </a:lnTo>
                <a:lnTo>
                  <a:pt x="1265" y="1923"/>
                </a:lnTo>
                <a:lnTo>
                  <a:pt x="1262" y="1919"/>
                </a:lnTo>
                <a:lnTo>
                  <a:pt x="1255" y="1887"/>
                </a:lnTo>
                <a:lnTo>
                  <a:pt x="1255" y="1869"/>
                </a:lnTo>
                <a:lnTo>
                  <a:pt x="1245" y="1869"/>
                </a:lnTo>
                <a:lnTo>
                  <a:pt x="1237" y="1866"/>
                </a:lnTo>
                <a:lnTo>
                  <a:pt x="1229" y="1862"/>
                </a:lnTo>
                <a:lnTo>
                  <a:pt x="1222" y="1857"/>
                </a:lnTo>
                <a:lnTo>
                  <a:pt x="1217" y="1851"/>
                </a:lnTo>
                <a:lnTo>
                  <a:pt x="1212" y="1844"/>
                </a:lnTo>
                <a:lnTo>
                  <a:pt x="1210" y="1835"/>
                </a:lnTo>
                <a:lnTo>
                  <a:pt x="1209" y="1826"/>
                </a:lnTo>
                <a:lnTo>
                  <a:pt x="1210" y="1821"/>
                </a:lnTo>
                <a:lnTo>
                  <a:pt x="1212" y="1814"/>
                </a:lnTo>
                <a:lnTo>
                  <a:pt x="1216" y="1807"/>
                </a:lnTo>
                <a:lnTo>
                  <a:pt x="1220" y="1799"/>
                </a:lnTo>
                <a:lnTo>
                  <a:pt x="1229" y="1786"/>
                </a:lnTo>
                <a:lnTo>
                  <a:pt x="1236" y="1777"/>
                </a:lnTo>
                <a:lnTo>
                  <a:pt x="1254" y="1767"/>
                </a:lnTo>
                <a:lnTo>
                  <a:pt x="1272" y="1758"/>
                </a:lnTo>
                <a:lnTo>
                  <a:pt x="1287" y="1749"/>
                </a:lnTo>
                <a:lnTo>
                  <a:pt x="1303" y="1740"/>
                </a:lnTo>
                <a:lnTo>
                  <a:pt x="1309" y="1728"/>
                </a:lnTo>
                <a:lnTo>
                  <a:pt x="1282" y="1721"/>
                </a:lnTo>
                <a:lnTo>
                  <a:pt x="1309" y="1703"/>
                </a:lnTo>
                <a:lnTo>
                  <a:pt x="1282" y="1679"/>
                </a:lnTo>
                <a:lnTo>
                  <a:pt x="1255" y="1654"/>
                </a:lnTo>
                <a:lnTo>
                  <a:pt x="1216" y="1654"/>
                </a:lnTo>
                <a:lnTo>
                  <a:pt x="1203" y="1629"/>
                </a:lnTo>
                <a:lnTo>
                  <a:pt x="1183" y="1617"/>
                </a:lnTo>
                <a:lnTo>
                  <a:pt x="1176" y="1586"/>
                </a:lnTo>
                <a:lnTo>
                  <a:pt x="1176" y="1549"/>
                </a:lnTo>
                <a:lnTo>
                  <a:pt x="1189" y="1524"/>
                </a:lnTo>
                <a:lnTo>
                  <a:pt x="1196" y="1499"/>
                </a:lnTo>
                <a:lnTo>
                  <a:pt x="1229" y="1518"/>
                </a:lnTo>
                <a:lnTo>
                  <a:pt x="1262" y="1530"/>
                </a:lnTo>
                <a:lnTo>
                  <a:pt x="1282" y="1524"/>
                </a:lnTo>
                <a:lnTo>
                  <a:pt x="1255" y="1493"/>
                </a:lnTo>
                <a:lnTo>
                  <a:pt x="1289" y="1475"/>
                </a:lnTo>
                <a:lnTo>
                  <a:pt x="1322" y="1444"/>
                </a:lnTo>
                <a:lnTo>
                  <a:pt x="1355" y="1438"/>
                </a:lnTo>
                <a:lnTo>
                  <a:pt x="1395" y="1438"/>
                </a:lnTo>
                <a:lnTo>
                  <a:pt x="1422" y="1426"/>
                </a:lnTo>
                <a:lnTo>
                  <a:pt x="1468" y="1438"/>
                </a:lnTo>
                <a:lnTo>
                  <a:pt x="1514" y="1457"/>
                </a:lnTo>
                <a:lnTo>
                  <a:pt x="1555" y="1493"/>
                </a:lnTo>
                <a:lnTo>
                  <a:pt x="1601" y="1487"/>
                </a:lnTo>
                <a:lnTo>
                  <a:pt x="1641" y="1469"/>
                </a:lnTo>
                <a:lnTo>
                  <a:pt x="1674" y="1469"/>
                </a:lnTo>
                <a:lnTo>
                  <a:pt x="1714" y="1463"/>
                </a:lnTo>
                <a:lnTo>
                  <a:pt x="1754" y="1481"/>
                </a:lnTo>
                <a:lnTo>
                  <a:pt x="1800" y="1493"/>
                </a:lnTo>
                <a:lnTo>
                  <a:pt x="1847" y="1487"/>
                </a:lnTo>
                <a:lnTo>
                  <a:pt x="1893" y="1469"/>
                </a:lnTo>
                <a:lnTo>
                  <a:pt x="1893" y="1444"/>
                </a:lnTo>
                <a:lnTo>
                  <a:pt x="1860" y="1438"/>
                </a:lnTo>
                <a:lnTo>
                  <a:pt x="1821" y="1426"/>
                </a:lnTo>
                <a:lnTo>
                  <a:pt x="1793" y="1414"/>
                </a:lnTo>
                <a:lnTo>
                  <a:pt x="1834" y="1401"/>
                </a:lnTo>
                <a:lnTo>
                  <a:pt x="1827" y="1364"/>
                </a:lnTo>
                <a:lnTo>
                  <a:pt x="1880" y="1358"/>
                </a:lnTo>
                <a:lnTo>
                  <a:pt x="1814" y="1309"/>
                </a:lnTo>
                <a:lnTo>
                  <a:pt x="1920" y="1291"/>
                </a:lnTo>
                <a:lnTo>
                  <a:pt x="2006" y="1284"/>
                </a:lnTo>
                <a:lnTo>
                  <a:pt x="2020" y="1259"/>
                </a:lnTo>
                <a:lnTo>
                  <a:pt x="2080" y="1253"/>
                </a:lnTo>
                <a:lnTo>
                  <a:pt x="2139" y="1241"/>
                </a:lnTo>
                <a:lnTo>
                  <a:pt x="2159" y="1216"/>
                </a:lnTo>
                <a:lnTo>
                  <a:pt x="2226" y="1229"/>
                </a:lnTo>
                <a:lnTo>
                  <a:pt x="2265" y="1222"/>
                </a:lnTo>
                <a:lnTo>
                  <a:pt x="2292" y="1241"/>
                </a:lnTo>
                <a:lnTo>
                  <a:pt x="2298" y="1291"/>
                </a:lnTo>
                <a:lnTo>
                  <a:pt x="2339" y="1291"/>
                </a:lnTo>
                <a:lnTo>
                  <a:pt x="2352" y="1277"/>
                </a:lnTo>
                <a:lnTo>
                  <a:pt x="2372" y="1291"/>
                </a:lnTo>
                <a:lnTo>
                  <a:pt x="2411" y="1297"/>
                </a:lnTo>
                <a:lnTo>
                  <a:pt x="2431" y="1297"/>
                </a:lnTo>
                <a:lnTo>
                  <a:pt x="2431" y="1333"/>
                </a:lnTo>
                <a:lnTo>
                  <a:pt x="2472" y="1327"/>
                </a:lnTo>
                <a:lnTo>
                  <a:pt x="2511" y="1309"/>
                </a:lnTo>
                <a:lnTo>
                  <a:pt x="2551" y="1277"/>
                </a:lnTo>
                <a:lnTo>
                  <a:pt x="2577" y="1265"/>
                </a:lnTo>
                <a:lnTo>
                  <a:pt x="2577" y="1297"/>
                </a:lnTo>
                <a:lnTo>
                  <a:pt x="2618" y="1315"/>
                </a:lnTo>
                <a:lnTo>
                  <a:pt x="2664" y="1333"/>
                </a:lnTo>
                <a:lnTo>
                  <a:pt x="2704" y="1376"/>
                </a:lnTo>
                <a:lnTo>
                  <a:pt x="2757" y="1420"/>
                </a:lnTo>
                <a:lnTo>
                  <a:pt x="2803" y="1457"/>
                </a:lnTo>
                <a:lnTo>
                  <a:pt x="2823" y="1487"/>
                </a:lnTo>
                <a:lnTo>
                  <a:pt x="2836" y="1457"/>
                </a:lnTo>
                <a:lnTo>
                  <a:pt x="2864" y="1451"/>
                </a:lnTo>
                <a:lnTo>
                  <a:pt x="2884" y="1475"/>
                </a:lnTo>
                <a:lnTo>
                  <a:pt x="2923" y="1487"/>
                </a:lnTo>
                <a:lnTo>
                  <a:pt x="2969" y="1481"/>
                </a:lnTo>
                <a:lnTo>
                  <a:pt x="2997" y="1469"/>
                </a:lnTo>
                <a:lnTo>
                  <a:pt x="3036" y="1499"/>
                </a:lnTo>
                <a:lnTo>
                  <a:pt x="3082" y="1524"/>
                </a:lnTo>
                <a:lnTo>
                  <a:pt x="3123" y="1549"/>
                </a:lnTo>
                <a:lnTo>
                  <a:pt x="3176" y="1555"/>
                </a:lnTo>
                <a:lnTo>
                  <a:pt x="3182" y="1562"/>
                </a:lnTo>
                <a:lnTo>
                  <a:pt x="3186" y="1560"/>
                </a:lnTo>
                <a:lnTo>
                  <a:pt x="3189" y="1557"/>
                </a:lnTo>
                <a:lnTo>
                  <a:pt x="3193" y="1556"/>
                </a:lnTo>
                <a:lnTo>
                  <a:pt x="3198" y="1555"/>
                </a:lnTo>
                <a:lnTo>
                  <a:pt x="3211" y="1555"/>
                </a:lnTo>
                <a:lnTo>
                  <a:pt x="3228" y="1555"/>
                </a:lnTo>
                <a:lnTo>
                  <a:pt x="3234" y="1554"/>
                </a:lnTo>
                <a:lnTo>
                  <a:pt x="3239" y="1552"/>
                </a:lnTo>
                <a:lnTo>
                  <a:pt x="3246" y="1549"/>
                </a:lnTo>
                <a:lnTo>
                  <a:pt x="3251" y="1546"/>
                </a:lnTo>
                <a:lnTo>
                  <a:pt x="3261" y="1539"/>
                </a:lnTo>
                <a:lnTo>
                  <a:pt x="3269" y="1537"/>
                </a:lnTo>
                <a:lnTo>
                  <a:pt x="3278" y="1536"/>
                </a:lnTo>
                <a:lnTo>
                  <a:pt x="3288" y="1534"/>
                </a:lnTo>
                <a:lnTo>
                  <a:pt x="3296" y="1531"/>
                </a:lnTo>
                <a:lnTo>
                  <a:pt x="3304" y="1527"/>
                </a:lnTo>
                <a:lnTo>
                  <a:pt x="3320" y="1517"/>
                </a:lnTo>
                <a:lnTo>
                  <a:pt x="3335" y="1506"/>
                </a:lnTo>
                <a:lnTo>
                  <a:pt x="3350" y="1494"/>
                </a:lnTo>
                <a:lnTo>
                  <a:pt x="3366" y="1485"/>
                </a:lnTo>
                <a:lnTo>
                  <a:pt x="3374" y="1481"/>
                </a:lnTo>
                <a:lnTo>
                  <a:pt x="3383" y="1478"/>
                </a:lnTo>
                <a:lnTo>
                  <a:pt x="3392" y="1476"/>
                </a:lnTo>
                <a:lnTo>
                  <a:pt x="3402" y="1475"/>
                </a:lnTo>
                <a:lnTo>
                  <a:pt x="3413" y="1476"/>
                </a:lnTo>
                <a:lnTo>
                  <a:pt x="3423" y="1477"/>
                </a:lnTo>
                <a:lnTo>
                  <a:pt x="3432" y="1479"/>
                </a:lnTo>
                <a:lnTo>
                  <a:pt x="3439" y="1481"/>
                </a:lnTo>
                <a:lnTo>
                  <a:pt x="3447" y="1483"/>
                </a:lnTo>
                <a:lnTo>
                  <a:pt x="3453" y="1485"/>
                </a:lnTo>
                <a:lnTo>
                  <a:pt x="3461" y="1487"/>
                </a:lnTo>
                <a:lnTo>
                  <a:pt x="3468" y="1487"/>
                </a:lnTo>
                <a:lnTo>
                  <a:pt x="3494" y="1475"/>
                </a:lnTo>
                <a:lnTo>
                  <a:pt x="3507" y="1475"/>
                </a:lnTo>
                <a:lnTo>
                  <a:pt x="3522" y="1475"/>
                </a:lnTo>
                <a:lnTo>
                  <a:pt x="3522" y="1483"/>
                </a:lnTo>
                <a:lnTo>
                  <a:pt x="3524" y="1490"/>
                </a:lnTo>
                <a:lnTo>
                  <a:pt x="3526" y="1496"/>
                </a:lnTo>
                <a:lnTo>
                  <a:pt x="3528" y="1501"/>
                </a:lnTo>
                <a:lnTo>
                  <a:pt x="3535" y="1510"/>
                </a:lnTo>
                <a:lnTo>
                  <a:pt x="3541" y="1518"/>
                </a:lnTo>
                <a:lnTo>
                  <a:pt x="3720" y="1518"/>
                </a:lnTo>
                <a:lnTo>
                  <a:pt x="3721" y="1510"/>
                </a:lnTo>
                <a:lnTo>
                  <a:pt x="3720" y="1501"/>
                </a:lnTo>
                <a:lnTo>
                  <a:pt x="3718" y="1494"/>
                </a:lnTo>
                <a:lnTo>
                  <a:pt x="3716" y="1488"/>
                </a:lnTo>
                <a:lnTo>
                  <a:pt x="3713" y="1482"/>
                </a:lnTo>
                <a:lnTo>
                  <a:pt x="3708" y="1477"/>
                </a:lnTo>
                <a:lnTo>
                  <a:pt x="3704" y="1472"/>
                </a:lnTo>
                <a:lnTo>
                  <a:pt x="3699" y="1467"/>
                </a:lnTo>
                <a:lnTo>
                  <a:pt x="3691" y="1459"/>
                </a:lnTo>
                <a:lnTo>
                  <a:pt x="3682" y="1449"/>
                </a:lnTo>
                <a:lnTo>
                  <a:pt x="3679" y="1443"/>
                </a:lnTo>
                <a:lnTo>
                  <a:pt x="3676" y="1438"/>
                </a:lnTo>
                <a:lnTo>
                  <a:pt x="3674" y="1432"/>
                </a:lnTo>
                <a:lnTo>
                  <a:pt x="3674" y="1426"/>
                </a:lnTo>
                <a:lnTo>
                  <a:pt x="3674" y="1418"/>
                </a:lnTo>
                <a:lnTo>
                  <a:pt x="3674" y="1411"/>
                </a:lnTo>
                <a:lnTo>
                  <a:pt x="3674" y="1404"/>
                </a:lnTo>
                <a:lnTo>
                  <a:pt x="3674" y="1395"/>
                </a:lnTo>
                <a:lnTo>
                  <a:pt x="3687" y="1388"/>
                </a:lnTo>
                <a:lnTo>
                  <a:pt x="3880" y="1426"/>
                </a:lnTo>
                <a:lnTo>
                  <a:pt x="3883" y="1437"/>
                </a:lnTo>
                <a:lnTo>
                  <a:pt x="3886" y="1446"/>
                </a:lnTo>
                <a:lnTo>
                  <a:pt x="3890" y="1456"/>
                </a:lnTo>
                <a:lnTo>
                  <a:pt x="3895" y="1464"/>
                </a:lnTo>
                <a:lnTo>
                  <a:pt x="3900" y="1472"/>
                </a:lnTo>
                <a:lnTo>
                  <a:pt x="3906" y="1478"/>
                </a:lnTo>
                <a:lnTo>
                  <a:pt x="3914" y="1484"/>
                </a:lnTo>
                <a:lnTo>
                  <a:pt x="3920" y="1489"/>
                </a:lnTo>
                <a:lnTo>
                  <a:pt x="3929" y="1493"/>
                </a:lnTo>
                <a:lnTo>
                  <a:pt x="3938" y="1496"/>
                </a:lnTo>
                <a:lnTo>
                  <a:pt x="3948" y="1499"/>
                </a:lnTo>
                <a:lnTo>
                  <a:pt x="3957" y="1502"/>
                </a:lnTo>
                <a:lnTo>
                  <a:pt x="3968" y="1504"/>
                </a:lnTo>
                <a:lnTo>
                  <a:pt x="3981" y="1505"/>
                </a:lnTo>
                <a:lnTo>
                  <a:pt x="3993" y="1506"/>
                </a:lnTo>
                <a:lnTo>
                  <a:pt x="4006" y="1506"/>
                </a:lnTo>
                <a:lnTo>
                  <a:pt x="4018" y="1506"/>
                </a:lnTo>
                <a:lnTo>
                  <a:pt x="4029" y="1502"/>
                </a:lnTo>
                <a:lnTo>
                  <a:pt x="4039" y="1500"/>
                </a:lnTo>
                <a:lnTo>
                  <a:pt x="4050" y="1496"/>
                </a:lnTo>
                <a:lnTo>
                  <a:pt x="4060" y="1493"/>
                </a:lnTo>
                <a:lnTo>
                  <a:pt x="4069" y="1490"/>
                </a:lnTo>
                <a:lnTo>
                  <a:pt x="4080" y="1488"/>
                </a:lnTo>
                <a:lnTo>
                  <a:pt x="4093" y="1487"/>
                </a:lnTo>
                <a:lnTo>
                  <a:pt x="4108" y="1488"/>
                </a:lnTo>
                <a:lnTo>
                  <a:pt x="4123" y="1490"/>
                </a:lnTo>
                <a:lnTo>
                  <a:pt x="4136" y="1492"/>
                </a:lnTo>
                <a:lnTo>
                  <a:pt x="4150" y="1496"/>
                </a:lnTo>
                <a:lnTo>
                  <a:pt x="4162" y="1500"/>
                </a:lnTo>
                <a:lnTo>
                  <a:pt x="4173" y="1506"/>
                </a:lnTo>
                <a:lnTo>
                  <a:pt x="4184" y="1511"/>
                </a:lnTo>
                <a:lnTo>
                  <a:pt x="4195" y="1517"/>
                </a:lnTo>
                <a:lnTo>
                  <a:pt x="4214" y="1528"/>
                </a:lnTo>
                <a:lnTo>
                  <a:pt x="4233" y="1539"/>
                </a:lnTo>
                <a:lnTo>
                  <a:pt x="4243" y="1544"/>
                </a:lnTo>
                <a:lnTo>
                  <a:pt x="4253" y="1548"/>
                </a:lnTo>
                <a:lnTo>
                  <a:pt x="4262" y="1552"/>
                </a:lnTo>
                <a:lnTo>
                  <a:pt x="4272" y="1555"/>
                </a:lnTo>
                <a:lnTo>
                  <a:pt x="4306" y="1555"/>
                </a:lnTo>
                <a:lnTo>
                  <a:pt x="4334" y="1555"/>
                </a:lnTo>
                <a:lnTo>
                  <a:pt x="4358" y="1555"/>
                </a:lnTo>
                <a:lnTo>
                  <a:pt x="4378" y="1555"/>
                </a:lnTo>
                <a:lnTo>
                  <a:pt x="4396" y="1555"/>
                </a:lnTo>
                <a:lnTo>
                  <a:pt x="4412" y="1555"/>
                </a:lnTo>
                <a:lnTo>
                  <a:pt x="4427" y="1555"/>
                </a:lnTo>
                <a:lnTo>
                  <a:pt x="4445" y="1555"/>
                </a:lnTo>
                <a:lnTo>
                  <a:pt x="4455" y="1554"/>
                </a:lnTo>
                <a:lnTo>
                  <a:pt x="4464" y="1553"/>
                </a:lnTo>
                <a:lnTo>
                  <a:pt x="4470" y="1550"/>
                </a:lnTo>
                <a:lnTo>
                  <a:pt x="4476" y="1547"/>
                </a:lnTo>
                <a:lnTo>
                  <a:pt x="4480" y="1544"/>
                </a:lnTo>
                <a:lnTo>
                  <a:pt x="4485" y="1539"/>
                </a:lnTo>
                <a:lnTo>
                  <a:pt x="4488" y="1535"/>
                </a:lnTo>
                <a:lnTo>
                  <a:pt x="4490" y="1530"/>
                </a:lnTo>
                <a:lnTo>
                  <a:pt x="4495" y="1522"/>
                </a:lnTo>
                <a:lnTo>
                  <a:pt x="4503" y="1514"/>
                </a:lnTo>
                <a:lnTo>
                  <a:pt x="4509" y="1511"/>
                </a:lnTo>
                <a:lnTo>
                  <a:pt x="4514" y="1508"/>
                </a:lnTo>
                <a:lnTo>
                  <a:pt x="4522" y="1507"/>
                </a:lnTo>
                <a:lnTo>
                  <a:pt x="4531" y="1506"/>
                </a:lnTo>
                <a:lnTo>
                  <a:pt x="4554" y="1507"/>
                </a:lnTo>
                <a:lnTo>
                  <a:pt x="4577" y="1509"/>
                </a:lnTo>
                <a:lnTo>
                  <a:pt x="4599" y="1512"/>
                </a:lnTo>
                <a:lnTo>
                  <a:pt x="4620" y="1515"/>
                </a:lnTo>
                <a:lnTo>
                  <a:pt x="4651" y="1522"/>
                </a:lnTo>
                <a:lnTo>
                  <a:pt x="4663" y="1524"/>
                </a:lnTo>
                <a:lnTo>
                  <a:pt x="4678" y="1524"/>
                </a:lnTo>
                <a:lnTo>
                  <a:pt x="4690" y="1524"/>
                </a:lnTo>
                <a:lnTo>
                  <a:pt x="4700" y="1524"/>
                </a:lnTo>
                <a:lnTo>
                  <a:pt x="4711" y="1524"/>
                </a:lnTo>
                <a:lnTo>
                  <a:pt x="4718" y="1524"/>
                </a:lnTo>
                <a:lnTo>
                  <a:pt x="4727" y="1521"/>
                </a:lnTo>
                <a:lnTo>
                  <a:pt x="4737" y="1518"/>
                </a:lnTo>
                <a:lnTo>
                  <a:pt x="4746" y="1513"/>
                </a:lnTo>
                <a:lnTo>
                  <a:pt x="4755" y="1508"/>
                </a:lnTo>
                <a:lnTo>
                  <a:pt x="4763" y="1501"/>
                </a:lnTo>
                <a:lnTo>
                  <a:pt x="4771" y="1494"/>
                </a:lnTo>
                <a:lnTo>
                  <a:pt x="4777" y="1487"/>
                </a:lnTo>
                <a:lnTo>
                  <a:pt x="4771" y="1484"/>
                </a:lnTo>
                <a:lnTo>
                  <a:pt x="4766" y="1481"/>
                </a:lnTo>
                <a:lnTo>
                  <a:pt x="4760" y="1476"/>
                </a:lnTo>
                <a:lnTo>
                  <a:pt x="4756" y="1471"/>
                </a:lnTo>
                <a:lnTo>
                  <a:pt x="4750" y="1465"/>
                </a:lnTo>
                <a:lnTo>
                  <a:pt x="4747" y="1458"/>
                </a:lnTo>
                <a:lnTo>
                  <a:pt x="4745" y="1452"/>
                </a:lnTo>
                <a:lnTo>
                  <a:pt x="4744" y="1444"/>
                </a:lnTo>
                <a:lnTo>
                  <a:pt x="4745" y="1435"/>
                </a:lnTo>
                <a:lnTo>
                  <a:pt x="4747" y="1428"/>
                </a:lnTo>
                <a:lnTo>
                  <a:pt x="4750" y="1422"/>
                </a:lnTo>
                <a:lnTo>
                  <a:pt x="4754" y="1417"/>
                </a:lnTo>
                <a:lnTo>
                  <a:pt x="4757" y="1411"/>
                </a:lnTo>
                <a:lnTo>
                  <a:pt x="4760" y="1405"/>
                </a:lnTo>
                <a:lnTo>
                  <a:pt x="4762" y="1398"/>
                </a:lnTo>
                <a:lnTo>
                  <a:pt x="4763" y="1388"/>
                </a:lnTo>
                <a:lnTo>
                  <a:pt x="4763" y="1382"/>
                </a:lnTo>
                <a:lnTo>
                  <a:pt x="4761" y="1377"/>
                </a:lnTo>
                <a:lnTo>
                  <a:pt x="4759" y="1372"/>
                </a:lnTo>
                <a:lnTo>
                  <a:pt x="4756" y="1369"/>
                </a:lnTo>
                <a:lnTo>
                  <a:pt x="4747" y="1363"/>
                </a:lnTo>
                <a:lnTo>
                  <a:pt x="4737" y="1359"/>
                </a:lnTo>
                <a:lnTo>
                  <a:pt x="4727" y="1355"/>
                </a:lnTo>
                <a:lnTo>
                  <a:pt x="4718" y="1350"/>
                </a:lnTo>
                <a:lnTo>
                  <a:pt x="4715" y="1347"/>
                </a:lnTo>
                <a:lnTo>
                  <a:pt x="4713" y="1343"/>
                </a:lnTo>
                <a:lnTo>
                  <a:pt x="4711" y="1339"/>
                </a:lnTo>
                <a:lnTo>
                  <a:pt x="4711" y="1333"/>
                </a:lnTo>
                <a:lnTo>
                  <a:pt x="4711" y="1324"/>
                </a:lnTo>
                <a:lnTo>
                  <a:pt x="4711" y="1315"/>
                </a:lnTo>
                <a:lnTo>
                  <a:pt x="4830" y="1297"/>
                </a:lnTo>
                <a:lnTo>
                  <a:pt x="4869" y="1307"/>
                </a:lnTo>
                <a:lnTo>
                  <a:pt x="4898" y="1315"/>
                </a:lnTo>
                <a:lnTo>
                  <a:pt x="4928" y="1322"/>
                </a:lnTo>
                <a:lnTo>
                  <a:pt x="4963" y="1333"/>
                </a:lnTo>
                <a:lnTo>
                  <a:pt x="4974" y="1338"/>
                </a:lnTo>
                <a:lnTo>
                  <a:pt x="4985" y="1343"/>
                </a:lnTo>
                <a:lnTo>
                  <a:pt x="4995" y="1349"/>
                </a:lnTo>
                <a:lnTo>
                  <a:pt x="5005" y="1356"/>
                </a:lnTo>
                <a:lnTo>
                  <a:pt x="5021" y="1371"/>
                </a:lnTo>
                <a:lnTo>
                  <a:pt x="5038" y="1386"/>
                </a:lnTo>
                <a:lnTo>
                  <a:pt x="5046" y="1395"/>
                </a:lnTo>
                <a:lnTo>
                  <a:pt x="5054" y="1402"/>
                </a:lnTo>
                <a:lnTo>
                  <a:pt x="5063" y="1408"/>
                </a:lnTo>
                <a:lnTo>
                  <a:pt x="5073" y="1414"/>
                </a:lnTo>
                <a:lnTo>
                  <a:pt x="5084" y="1419"/>
                </a:lnTo>
                <a:lnTo>
                  <a:pt x="5095" y="1423"/>
                </a:lnTo>
                <a:lnTo>
                  <a:pt x="5108" y="1425"/>
                </a:lnTo>
                <a:lnTo>
                  <a:pt x="5122" y="1426"/>
                </a:lnTo>
                <a:lnTo>
                  <a:pt x="5127" y="1438"/>
                </a:lnTo>
                <a:lnTo>
                  <a:pt x="5132" y="1449"/>
                </a:lnTo>
                <a:lnTo>
                  <a:pt x="5139" y="1459"/>
                </a:lnTo>
                <a:lnTo>
                  <a:pt x="5148" y="1468"/>
                </a:lnTo>
                <a:lnTo>
                  <a:pt x="5156" y="1476"/>
                </a:lnTo>
                <a:lnTo>
                  <a:pt x="5166" y="1484"/>
                </a:lnTo>
                <a:lnTo>
                  <a:pt x="5176" y="1490"/>
                </a:lnTo>
                <a:lnTo>
                  <a:pt x="5188" y="1496"/>
                </a:lnTo>
                <a:lnTo>
                  <a:pt x="5199" y="1502"/>
                </a:lnTo>
                <a:lnTo>
                  <a:pt x="5211" y="1508"/>
                </a:lnTo>
                <a:lnTo>
                  <a:pt x="5225" y="1512"/>
                </a:lnTo>
                <a:lnTo>
                  <a:pt x="5237" y="1516"/>
                </a:lnTo>
                <a:lnTo>
                  <a:pt x="5263" y="1524"/>
                </a:lnTo>
                <a:lnTo>
                  <a:pt x="5288" y="1530"/>
                </a:lnTo>
                <a:lnTo>
                  <a:pt x="5303" y="1536"/>
                </a:lnTo>
                <a:lnTo>
                  <a:pt x="5317" y="1542"/>
                </a:lnTo>
                <a:lnTo>
                  <a:pt x="5330" y="1550"/>
                </a:lnTo>
                <a:lnTo>
                  <a:pt x="5342" y="1558"/>
                </a:lnTo>
                <a:lnTo>
                  <a:pt x="5365" y="1577"/>
                </a:lnTo>
                <a:lnTo>
                  <a:pt x="5388" y="1595"/>
                </a:lnTo>
                <a:lnTo>
                  <a:pt x="5399" y="1604"/>
                </a:lnTo>
                <a:lnTo>
                  <a:pt x="5410" y="1612"/>
                </a:lnTo>
                <a:lnTo>
                  <a:pt x="5422" y="1621"/>
                </a:lnTo>
                <a:lnTo>
                  <a:pt x="5434" y="1628"/>
                </a:lnTo>
                <a:lnTo>
                  <a:pt x="5446" y="1633"/>
                </a:lnTo>
                <a:lnTo>
                  <a:pt x="5460" y="1638"/>
                </a:lnTo>
                <a:lnTo>
                  <a:pt x="5473" y="1640"/>
                </a:lnTo>
                <a:lnTo>
                  <a:pt x="5488" y="1641"/>
                </a:lnTo>
                <a:lnTo>
                  <a:pt x="5497" y="1641"/>
                </a:lnTo>
                <a:lnTo>
                  <a:pt x="5506" y="1640"/>
                </a:lnTo>
                <a:lnTo>
                  <a:pt x="5514" y="1638"/>
                </a:lnTo>
                <a:lnTo>
                  <a:pt x="5522" y="1635"/>
                </a:lnTo>
                <a:lnTo>
                  <a:pt x="5536" y="1628"/>
                </a:lnTo>
                <a:lnTo>
                  <a:pt x="5551" y="1620"/>
                </a:lnTo>
                <a:lnTo>
                  <a:pt x="5565" y="1611"/>
                </a:lnTo>
                <a:lnTo>
                  <a:pt x="5579" y="1605"/>
                </a:lnTo>
                <a:lnTo>
                  <a:pt x="5587" y="1602"/>
                </a:lnTo>
                <a:lnTo>
                  <a:pt x="5596" y="1600"/>
                </a:lnTo>
                <a:lnTo>
                  <a:pt x="5604" y="1599"/>
                </a:lnTo>
                <a:lnTo>
                  <a:pt x="5614" y="1598"/>
                </a:lnTo>
                <a:lnTo>
                  <a:pt x="5621" y="1599"/>
                </a:lnTo>
                <a:lnTo>
                  <a:pt x="5626" y="1601"/>
                </a:lnTo>
                <a:lnTo>
                  <a:pt x="5631" y="1604"/>
                </a:lnTo>
                <a:lnTo>
                  <a:pt x="5635" y="1607"/>
                </a:lnTo>
                <a:lnTo>
                  <a:pt x="5642" y="1613"/>
                </a:lnTo>
                <a:lnTo>
                  <a:pt x="5647" y="1617"/>
                </a:lnTo>
                <a:lnTo>
                  <a:pt x="5647" y="1629"/>
                </a:lnTo>
                <a:lnTo>
                  <a:pt x="5647" y="1638"/>
                </a:lnTo>
                <a:lnTo>
                  <a:pt x="5647" y="1645"/>
                </a:lnTo>
                <a:lnTo>
                  <a:pt x="5647" y="1654"/>
                </a:lnTo>
                <a:lnTo>
                  <a:pt x="5647" y="1662"/>
                </a:lnTo>
                <a:lnTo>
                  <a:pt x="5649" y="1672"/>
                </a:lnTo>
                <a:lnTo>
                  <a:pt x="5652" y="1679"/>
                </a:lnTo>
                <a:lnTo>
                  <a:pt x="5655" y="1686"/>
                </a:lnTo>
                <a:lnTo>
                  <a:pt x="5659" y="1693"/>
                </a:lnTo>
                <a:lnTo>
                  <a:pt x="5664" y="1699"/>
                </a:lnTo>
                <a:lnTo>
                  <a:pt x="5668" y="1704"/>
                </a:lnTo>
                <a:lnTo>
                  <a:pt x="5674" y="1709"/>
                </a:lnTo>
                <a:lnTo>
                  <a:pt x="5674" y="1790"/>
                </a:lnTo>
                <a:lnTo>
                  <a:pt x="5666" y="1791"/>
                </a:lnTo>
                <a:lnTo>
                  <a:pt x="5657" y="1792"/>
                </a:lnTo>
                <a:lnTo>
                  <a:pt x="5649" y="1792"/>
                </a:lnTo>
                <a:lnTo>
                  <a:pt x="5641" y="1792"/>
                </a:lnTo>
                <a:lnTo>
                  <a:pt x="5623" y="1790"/>
                </a:lnTo>
                <a:lnTo>
                  <a:pt x="5608" y="1790"/>
                </a:lnTo>
                <a:lnTo>
                  <a:pt x="5604" y="1790"/>
                </a:lnTo>
                <a:lnTo>
                  <a:pt x="5602" y="1792"/>
                </a:lnTo>
                <a:lnTo>
                  <a:pt x="5600" y="1794"/>
                </a:lnTo>
                <a:lnTo>
                  <a:pt x="5598" y="1796"/>
                </a:lnTo>
                <a:lnTo>
                  <a:pt x="5595" y="1802"/>
                </a:lnTo>
                <a:lnTo>
                  <a:pt x="5593" y="1808"/>
                </a:lnTo>
                <a:lnTo>
                  <a:pt x="5595" y="1818"/>
                </a:lnTo>
                <a:lnTo>
                  <a:pt x="5597" y="1827"/>
                </a:lnTo>
                <a:lnTo>
                  <a:pt x="5600" y="1835"/>
                </a:lnTo>
                <a:lnTo>
                  <a:pt x="5604" y="1844"/>
                </a:lnTo>
                <a:lnTo>
                  <a:pt x="5609" y="1852"/>
                </a:lnTo>
                <a:lnTo>
                  <a:pt x="5614" y="1859"/>
                </a:lnTo>
                <a:lnTo>
                  <a:pt x="5620" y="1865"/>
                </a:lnTo>
                <a:lnTo>
                  <a:pt x="5626" y="1871"/>
                </a:lnTo>
                <a:lnTo>
                  <a:pt x="5637" y="1881"/>
                </a:lnTo>
                <a:lnTo>
                  <a:pt x="5647" y="1890"/>
                </a:lnTo>
                <a:lnTo>
                  <a:pt x="5651" y="1896"/>
                </a:lnTo>
                <a:lnTo>
                  <a:pt x="5653" y="1899"/>
                </a:lnTo>
                <a:lnTo>
                  <a:pt x="5654" y="1903"/>
                </a:lnTo>
                <a:lnTo>
                  <a:pt x="5654" y="1907"/>
                </a:lnTo>
                <a:lnTo>
                  <a:pt x="5747" y="1919"/>
                </a:lnTo>
                <a:lnTo>
                  <a:pt x="5754" y="1918"/>
                </a:lnTo>
                <a:lnTo>
                  <a:pt x="5761" y="1917"/>
                </a:lnTo>
                <a:lnTo>
                  <a:pt x="5768" y="1915"/>
                </a:lnTo>
                <a:lnTo>
                  <a:pt x="5775" y="1912"/>
                </a:lnTo>
                <a:lnTo>
                  <a:pt x="5780" y="1908"/>
                </a:lnTo>
                <a:lnTo>
                  <a:pt x="5786" y="1904"/>
                </a:lnTo>
                <a:lnTo>
                  <a:pt x="5792" y="1899"/>
                </a:lnTo>
                <a:lnTo>
                  <a:pt x="5797" y="1892"/>
                </a:lnTo>
                <a:lnTo>
                  <a:pt x="5807" y="1880"/>
                </a:lnTo>
                <a:lnTo>
                  <a:pt x="5815" y="1865"/>
                </a:lnTo>
                <a:lnTo>
                  <a:pt x="5823" y="1850"/>
                </a:lnTo>
                <a:lnTo>
                  <a:pt x="5830" y="1832"/>
                </a:lnTo>
                <a:lnTo>
                  <a:pt x="5835" y="1815"/>
                </a:lnTo>
                <a:lnTo>
                  <a:pt x="5841" y="1797"/>
                </a:lnTo>
                <a:lnTo>
                  <a:pt x="5845" y="1779"/>
                </a:lnTo>
                <a:lnTo>
                  <a:pt x="5847" y="1763"/>
                </a:lnTo>
                <a:lnTo>
                  <a:pt x="5852" y="1733"/>
                </a:lnTo>
                <a:lnTo>
                  <a:pt x="5853" y="1709"/>
                </a:lnTo>
                <a:lnTo>
                  <a:pt x="5853" y="1694"/>
                </a:lnTo>
                <a:lnTo>
                  <a:pt x="5853" y="1677"/>
                </a:lnTo>
                <a:lnTo>
                  <a:pt x="5853" y="1657"/>
                </a:lnTo>
                <a:lnTo>
                  <a:pt x="5853" y="1635"/>
                </a:lnTo>
                <a:lnTo>
                  <a:pt x="5853" y="1623"/>
                </a:lnTo>
                <a:lnTo>
                  <a:pt x="5853" y="1612"/>
                </a:lnTo>
                <a:lnTo>
                  <a:pt x="5855" y="1607"/>
                </a:lnTo>
                <a:lnTo>
                  <a:pt x="5858" y="1604"/>
                </a:lnTo>
                <a:lnTo>
                  <a:pt x="5865" y="1601"/>
                </a:lnTo>
                <a:lnTo>
                  <a:pt x="5873" y="1598"/>
                </a:lnTo>
                <a:lnTo>
                  <a:pt x="5873" y="1568"/>
                </a:lnTo>
                <a:lnTo>
                  <a:pt x="5867" y="1564"/>
                </a:lnTo>
                <a:lnTo>
                  <a:pt x="5859" y="1558"/>
                </a:lnTo>
                <a:lnTo>
                  <a:pt x="5850" y="1551"/>
                </a:lnTo>
                <a:lnTo>
                  <a:pt x="5843" y="1543"/>
                </a:lnTo>
                <a:lnTo>
                  <a:pt x="5835" y="1534"/>
                </a:lnTo>
                <a:lnTo>
                  <a:pt x="5830" y="1525"/>
                </a:lnTo>
                <a:lnTo>
                  <a:pt x="5827" y="1520"/>
                </a:lnTo>
                <a:lnTo>
                  <a:pt x="5826" y="1516"/>
                </a:lnTo>
                <a:lnTo>
                  <a:pt x="5826" y="1511"/>
                </a:lnTo>
                <a:lnTo>
                  <a:pt x="5826" y="1506"/>
                </a:lnTo>
                <a:lnTo>
                  <a:pt x="5816" y="1498"/>
                </a:lnTo>
                <a:lnTo>
                  <a:pt x="5808" y="1490"/>
                </a:lnTo>
                <a:lnTo>
                  <a:pt x="5799" y="1481"/>
                </a:lnTo>
                <a:lnTo>
                  <a:pt x="5791" y="1472"/>
                </a:lnTo>
                <a:lnTo>
                  <a:pt x="5776" y="1451"/>
                </a:lnTo>
                <a:lnTo>
                  <a:pt x="5761" y="1428"/>
                </a:lnTo>
                <a:lnTo>
                  <a:pt x="5748" y="1404"/>
                </a:lnTo>
                <a:lnTo>
                  <a:pt x="5735" y="1378"/>
                </a:lnTo>
                <a:lnTo>
                  <a:pt x="5721" y="1353"/>
                </a:lnTo>
                <a:lnTo>
                  <a:pt x="5707" y="1327"/>
                </a:lnTo>
                <a:lnTo>
                  <a:pt x="5700" y="1316"/>
                </a:lnTo>
                <a:lnTo>
                  <a:pt x="5692" y="1307"/>
                </a:lnTo>
                <a:lnTo>
                  <a:pt x="5684" y="1299"/>
                </a:lnTo>
                <a:lnTo>
                  <a:pt x="5674" y="1291"/>
                </a:lnTo>
                <a:lnTo>
                  <a:pt x="5664" y="1285"/>
                </a:lnTo>
                <a:lnTo>
                  <a:pt x="5652" y="1279"/>
                </a:lnTo>
                <a:lnTo>
                  <a:pt x="5640" y="1274"/>
                </a:lnTo>
                <a:lnTo>
                  <a:pt x="5628" y="1270"/>
                </a:lnTo>
                <a:lnTo>
                  <a:pt x="5600" y="1263"/>
                </a:lnTo>
                <a:lnTo>
                  <a:pt x="5570" y="1256"/>
                </a:lnTo>
                <a:lnTo>
                  <a:pt x="5540" y="1249"/>
                </a:lnTo>
                <a:lnTo>
                  <a:pt x="5508" y="1241"/>
                </a:lnTo>
                <a:lnTo>
                  <a:pt x="5503" y="1252"/>
                </a:lnTo>
                <a:lnTo>
                  <a:pt x="5500" y="1265"/>
                </a:lnTo>
                <a:lnTo>
                  <a:pt x="5498" y="1272"/>
                </a:lnTo>
                <a:lnTo>
                  <a:pt x="5496" y="1279"/>
                </a:lnTo>
                <a:lnTo>
                  <a:pt x="5492" y="1285"/>
                </a:lnTo>
                <a:lnTo>
                  <a:pt x="5488" y="1291"/>
                </a:lnTo>
                <a:lnTo>
                  <a:pt x="5483" y="1284"/>
                </a:lnTo>
                <a:lnTo>
                  <a:pt x="5476" y="1278"/>
                </a:lnTo>
                <a:lnTo>
                  <a:pt x="5469" y="1275"/>
                </a:lnTo>
                <a:lnTo>
                  <a:pt x="5462" y="1272"/>
                </a:lnTo>
                <a:lnTo>
                  <a:pt x="5446" y="1267"/>
                </a:lnTo>
                <a:lnTo>
                  <a:pt x="5431" y="1264"/>
                </a:lnTo>
                <a:lnTo>
                  <a:pt x="5423" y="1262"/>
                </a:lnTo>
                <a:lnTo>
                  <a:pt x="5417" y="1260"/>
                </a:lnTo>
                <a:lnTo>
                  <a:pt x="5411" y="1257"/>
                </a:lnTo>
                <a:lnTo>
                  <a:pt x="5406" y="1254"/>
                </a:lnTo>
                <a:lnTo>
                  <a:pt x="5401" y="1249"/>
                </a:lnTo>
                <a:lnTo>
                  <a:pt x="5398" y="1244"/>
                </a:lnTo>
                <a:lnTo>
                  <a:pt x="5396" y="1237"/>
                </a:lnTo>
                <a:lnTo>
                  <a:pt x="5395" y="1229"/>
                </a:lnTo>
                <a:lnTo>
                  <a:pt x="5378" y="1226"/>
                </a:lnTo>
                <a:lnTo>
                  <a:pt x="5341" y="1218"/>
                </a:lnTo>
                <a:lnTo>
                  <a:pt x="5322" y="1214"/>
                </a:lnTo>
                <a:lnTo>
                  <a:pt x="5305" y="1210"/>
                </a:lnTo>
                <a:lnTo>
                  <a:pt x="5293" y="1207"/>
                </a:lnTo>
                <a:lnTo>
                  <a:pt x="5288" y="1204"/>
                </a:lnTo>
                <a:lnTo>
                  <a:pt x="5289" y="1197"/>
                </a:lnTo>
                <a:lnTo>
                  <a:pt x="5293" y="1191"/>
                </a:lnTo>
                <a:lnTo>
                  <a:pt x="5298" y="1185"/>
                </a:lnTo>
                <a:lnTo>
                  <a:pt x="5304" y="1180"/>
                </a:lnTo>
                <a:lnTo>
                  <a:pt x="5319" y="1167"/>
                </a:lnTo>
                <a:lnTo>
                  <a:pt x="5334" y="1154"/>
                </a:lnTo>
                <a:lnTo>
                  <a:pt x="5331" y="1147"/>
                </a:lnTo>
                <a:lnTo>
                  <a:pt x="5329" y="1140"/>
                </a:lnTo>
                <a:lnTo>
                  <a:pt x="5328" y="1132"/>
                </a:lnTo>
                <a:lnTo>
                  <a:pt x="5329" y="1125"/>
                </a:lnTo>
                <a:lnTo>
                  <a:pt x="5331" y="1117"/>
                </a:lnTo>
                <a:lnTo>
                  <a:pt x="5334" y="1108"/>
                </a:lnTo>
                <a:lnTo>
                  <a:pt x="5339" y="1100"/>
                </a:lnTo>
                <a:lnTo>
                  <a:pt x="5343" y="1092"/>
                </a:lnTo>
                <a:lnTo>
                  <a:pt x="5365" y="1064"/>
                </a:lnTo>
                <a:lnTo>
                  <a:pt x="5382" y="1043"/>
                </a:lnTo>
                <a:lnTo>
                  <a:pt x="5382" y="964"/>
                </a:lnTo>
                <a:lnTo>
                  <a:pt x="5388" y="962"/>
                </a:lnTo>
                <a:lnTo>
                  <a:pt x="5396" y="961"/>
                </a:lnTo>
                <a:lnTo>
                  <a:pt x="5402" y="961"/>
                </a:lnTo>
                <a:lnTo>
                  <a:pt x="5409" y="962"/>
                </a:lnTo>
                <a:lnTo>
                  <a:pt x="5423" y="963"/>
                </a:lnTo>
                <a:lnTo>
                  <a:pt x="5441" y="964"/>
                </a:lnTo>
                <a:lnTo>
                  <a:pt x="5465" y="964"/>
                </a:lnTo>
                <a:lnTo>
                  <a:pt x="5492" y="966"/>
                </a:lnTo>
                <a:lnTo>
                  <a:pt x="5521" y="968"/>
                </a:lnTo>
                <a:lnTo>
                  <a:pt x="5552" y="970"/>
                </a:lnTo>
                <a:lnTo>
                  <a:pt x="5583" y="972"/>
                </a:lnTo>
                <a:lnTo>
                  <a:pt x="5612" y="974"/>
                </a:lnTo>
                <a:lnTo>
                  <a:pt x="5641" y="975"/>
                </a:lnTo>
                <a:lnTo>
                  <a:pt x="5667" y="976"/>
                </a:lnTo>
                <a:lnTo>
                  <a:pt x="5671" y="975"/>
                </a:lnTo>
                <a:lnTo>
                  <a:pt x="5677" y="972"/>
                </a:lnTo>
                <a:lnTo>
                  <a:pt x="5682" y="968"/>
                </a:lnTo>
                <a:lnTo>
                  <a:pt x="5687" y="964"/>
                </a:lnTo>
                <a:lnTo>
                  <a:pt x="5674" y="945"/>
                </a:lnTo>
                <a:lnTo>
                  <a:pt x="5807" y="945"/>
                </a:lnTo>
                <a:lnTo>
                  <a:pt x="5809" y="949"/>
                </a:lnTo>
                <a:lnTo>
                  <a:pt x="5816" y="955"/>
                </a:lnTo>
                <a:lnTo>
                  <a:pt x="5825" y="962"/>
                </a:lnTo>
                <a:lnTo>
                  <a:pt x="5836" y="969"/>
                </a:lnTo>
                <a:lnTo>
                  <a:pt x="5857" y="982"/>
                </a:lnTo>
                <a:lnTo>
                  <a:pt x="5867" y="988"/>
                </a:lnTo>
                <a:lnTo>
                  <a:pt x="5871" y="988"/>
                </a:lnTo>
                <a:lnTo>
                  <a:pt x="5875" y="987"/>
                </a:lnTo>
                <a:lnTo>
                  <a:pt x="5878" y="985"/>
                </a:lnTo>
                <a:lnTo>
                  <a:pt x="5880" y="983"/>
                </a:lnTo>
                <a:lnTo>
                  <a:pt x="5884" y="979"/>
                </a:lnTo>
                <a:lnTo>
                  <a:pt x="5888" y="973"/>
                </a:lnTo>
                <a:lnTo>
                  <a:pt x="5892" y="967"/>
                </a:lnTo>
                <a:lnTo>
                  <a:pt x="5898" y="963"/>
                </a:lnTo>
                <a:lnTo>
                  <a:pt x="5902" y="961"/>
                </a:lnTo>
                <a:lnTo>
                  <a:pt x="5906" y="959"/>
                </a:lnTo>
                <a:lnTo>
                  <a:pt x="5913" y="958"/>
                </a:lnTo>
                <a:lnTo>
                  <a:pt x="5920" y="958"/>
                </a:lnTo>
                <a:lnTo>
                  <a:pt x="5911" y="954"/>
                </a:lnTo>
                <a:lnTo>
                  <a:pt x="5904" y="950"/>
                </a:lnTo>
                <a:lnTo>
                  <a:pt x="5900" y="945"/>
                </a:lnTo>
                <a:lnTo>
                  <a:pt x="5897" y="941"/>
                </a:lnTo>
                <a:lnTo>
                  <a:pt x="5894" y="935"/>
                </a:lnTo>
                <a:lnTo>
                  <a:pt x="5893" y="927"/>
                </a:lnTo>
                <a:lnTo>
                  <a:pt x="5893" y="916"/>
                </a:lnTo>
                <a:lnTo>
                  <a:pt x="5893" y="902"/>
                </a:lnTo>
                <a:lnTo>
                  <a:pt x="5893" y="886"/>
                </a:lnTo>
                <a:lnTo>
                  <a:pt x="5894" y="871"/>
                </a:lnTo>
                <a:lnTo>
                  <a:pt x="5897" y="858"/>
                </a:lnTo>
                <a:lnTo>
                  <a:pt x="5900" y="846"/>
                </a:lnTo>
                <a:lnTo>
                  <a:pt x="5902" y="841"/>
                </a:lnTo>
                <a:lnTo>
                  <a:pt x="5904" y="835"/>
                </a:lnTo>
                <a:lnTo>
                  <a:pt x="5906" y="831"/>
                </a:lnTo>
                <a:lnTo>
                  <a:pt x="5910" y="828"/>
                </a:lnTo>
                <a:lnTo>
                  <a:pt x="5913" y="825"/>
                </a:lnTo>
                <a:lnTo>
                  <a:pt x="5917" y="823"/>
                </a:lnTo>
                <a:lnTo>
                  <a:pt x="5922" y="822"/>
                </a:lnTo>
                <a:lnTo>
                  <a:pt x="5926" y="822"/>
                </a:lnTo>
                <a:lnTo>
                  <a:pt x="5945" y="822"/>
                </a:lnTo>
                <a:lnTo>
                  <a:pt x="5974" y="822"/>
                </a:lnTo>
                <a:lnTo>
                  <a:pt x="6006" y="822"/>
                </a:lnTo>
                <a:lnTo>
                  <a:pt x="6033" y="822"/>
                </a:lnTo>
                <a:lnTo>
                  <a:pt x="6037" y="828"/>
                </a:lnTo>
                <a:lnTo>
                  <a:pt x="6045" y="838"/>
                </a:lnTo>
                <a:lnTo>
                  <a:pt x="6055" y="849"/>
                </a:lnTo>
                <a:lnTo>
                  <a:pt x="6066" y="860"/>
                </a:lnTo>
                <a:lnTo>
                  <a:pt x="6077" y="871"/>
                </a:lnTo>
                <a:lnTo>
                  <a:pt x="6086" y="881"/>
                </a:lnTo>
                <a:lnTo>
                  <a:pt x="6094" y="887"/>
                </a:lnTo>
                <a:lnTo>
                  <a:pt x="6099" y="889"/>
                </a:lnTo>
                <a:lnTo>
                  <a:pt x="6102" y="881"/>
                </a:lnTo>
                <a:lnTo>
                  <a:pt x="6105" y="874"/>
                </a:lnTo>
                <a:lnTo>
                  <a:pt x="6108" y="867"/>
                </a:lnTo>
                <a:lnTo>
                  <a:pt x="6112" y="861"/>
                </a:lnTo>
                <a:lnTo>
                  <a:pt x="6116" y="855"/>
                </a:lnTo>
                <a:lnTo>
                  <a:pt x="6119" y="848"/>
                </a:lnTo>
                <a:lnTo>
                  <a:pt x="6123" y="839"/>
                </a:lnTo>
                <a:lnTo>
                  <a:pt x="6125" y="828"/>
                </a:lnTo>
                <a:lnTo>
                  <a:pt x="6128" y="830"/>
                </a:lnTo>
                <a:lnTo>
                  <a:pt x="6132" y="831"/>
                </a:lnTo>
                <a:lnTo>
                  <a:pt x="6135" y="832"/>
                </a:lnTo>
                <a:lnTo>
                  <a:pt x="6139" y="832"/>
                </a:lnTo>
                <a:lnTo>
                  <a:pt x="6144" y="832"/>
                </a:lnTo>
                <a:lnTo>
                  <a:pt x="6149" y="831"/>
                </a:lnTo>
                <a:lnTo>
                  <a:pt x="6153" y="830"/>
                </a:lnTo>
                <a:lnTo>
                  <a:pt x="6159" y="828"/>
                </a:lnTo>
                <a:lnTo>
                  <a:pt x="6148" y="815"/>
                </a:lnTo>
                <a:lnTo>
                  <a:pt x="6137" y="803"/>
                </a:lnTo>
                <a:lnTo>
                  <a:pt x="6133" y="796"/>
                </a:lnTo>
                <a:lnTo>
                  <a:pt x="6128" y="789"/>
                </a:lnTo>
                <a:lnTo>
                  <a:pt x="6126" y="782"/>
                </a:lnTo>
                <a:lnTo>
                  <a:pt x="6125" y="772"/>
                </a:lnTo>
                <a:lnTo>
                  <a:pt x="6126" y="767"/>
                </a:lnTo>
                <a:lnTo>
                  <a:pt x="6128" y="764"/>
                </a:lnTo>
                <a:lnTo>
                  <a:pt x="6132" y="761"/>
                </a:lnTo>
                <a:lnTo>
                  <a:pt x="6135" y="760"/>
                </a:lnTo>
                <a:lnTo>
                  <a:pt x="6140" y="759"/>
                </a:lnTo>
                <a:lnTo>
                  <a:pt x="6146" y="759"/>
                </a:lnTo>
                <a:lnTo>
                  <a:pt x="6152" y="760"/>
                </a:lnTo>
                <a:lnTo>
                  <a:pt x="6159" y="762"/>
                </a:lnTo>
                <a:lnTo>
                  <a:pt x="6188" y="771"/>
                </a:lnTo>
                <a:lnTo>
                  <a:pt x="6212" y="778"/>
                </a:lnTo>
                <a:lnTo>
                  <a:pt x="6202" y="779"/>
                </a:lnTo>
                <a:lnTo>
                  <a:pt x="6193" y="782"/>
                </a:lnTo>
                <a:lnTo>
                  <a:pt x="6184" y="784"/>
                </a:lnTo>
                <a:lnTo>
                  <a:pt x="6179" y="785"/>
                </a:lnTo>
                <a:lnTo>
                  <a:pt x="6180" y="792"/>
                </a:lnTo>
                <a:lnTo>
                  <a:pt x="6183" y="797"/>
                </a:lnTo>
                <a:lnTo>
                  <a:pt x="6186" y="802"/>
                </a:lnTo>
                <a:lnTo>
                  <a:pt x="6191" y="807"/>
                </a:lnTo>
                <a:lnTo>
                  <a:pt x="6201" y="815"/>
                </a:lnTo>
                <a:lnTo>
                  <a:pt x="6211" y="822"/>
                </a:lnTo>
                <a:lnTo>
                  <a:pt x="6222" y="829"/>
                </a:lnTo>
                <a:lnTo>
                  <a:pt x="6230" y="837"/>
                </a:lnTo>
                <a:lnTo>
                  <a:pt x="6234" y="842"/>
                </a:lnTo>
                <a:lnTo>
                  <a:pt x="6236" y="847"/>
                </a:lnTo>
                <a:lnTo>
                  <a:pt x="6238" y="853"/>
                </a:lnTo>
                <a:lnTo>
                  <a:pt x="6238" y="859"/>
                </a:lnTo>
                <a:lnTo>
                  <a:pt x="6237" y="867"/>
                </a:lnTo>
                <a:lnTo>
                  <a:pt x="6231" y="878"/>
                </a:lnTo>
                <a:lnTo>
                  <a:pt x="6224" y="893"/>
                </a:lnTo>
                <a:lnTo>
                  <a:pt x="6215" y="907"/>
                </a:lnTo>
                <a:lnTo>
                  <a:pt x="6206" y="922"/>
                </a:lnTo>
                <a:lnTo>
                  <a:pt x="6200" y="937"/>
                </a:lnTo>
                <a:lnTo>
                  <a:pt x="6196" y="944"/>
                </a:lnTo>
                <a:lnTo>
                  <a:pt x="6194" y="952"/>
                </a:lnTo>
                <a:lnTo>
                  <a:pt x="6192" y="958"/>
                </a:lnTo>
                <a:lnTo>
                  <a:pt x="6192" y="964"/>
                </a:lnTo>
                <a:lnTo>
                  <a:pt x="6193" y="970"/>
                </a:lnTo>
                <a:lnTo>
                  <a:pt x="6195" y="974"/>
                </a:lnTo>
                <a:lnTo>
                  <a:pt x="6198" y="977"/>
                </a:lnTo>
                <a:lnTo>
                  <a:pt x="6202" y="979"/>
                </a:lnTo>
                <a:lnTo>
                  <a:pt x="6205" y="981"/>
                </a:lnTo>
                <a:lnTo>
                  <a:pt x="6208" y="984"/>
                </a:lnTo>
                <a:lnTo>
                  <a:pt x="6211" y="988"/>
                </a:lnTo>
                <a:lnTo>
                  <a:pt x="6212" y="994"/>
                </a:lnTo>
                <a:lnTo>
                  <a:pt x="6212" y="1001"/>
                </a:lnTo>
                <a:lnTo>
                  <a:pt x="6211" y="1010"/>
                </a:lnTo>
                <a:lnTo>
                  <a:pt x="6208" y="1018"/>
                </a:lnTo>
                <a:lnTo>
                  <a:pt x="6204" y="1026"/>
                </a:lnTo>
                <a:lnTo>
                  <a:pt x="6202" y="1030"/>
                </a:lnTo>
                <a:lnTo>
                  <a:pt x="6200" y="1033"/>
                </a:lnTo>
                <a:lnTo>
                  <a:pt x="6196" y="1036"/>
                </a:lnTo>
                <a:lnTo>
                  <a:pt x="6192" y="1039"/>
                </a:lnTo>
                <a:lnTo>
                  <a:pt x="6188" y="1041"/>
                </a:lnTo>
                <a:lnTo>
                  <a:pt x="6183" y="1042"/>
                </a:lnTo>
                <a:lnTo>
                  <a:pt x="6178" y="1043"/>
                </a:lnTo>
                <a:lnTo>
                  <a:pt x="6172" y="1043"/>
                </a:lnTo>
                <a:lnTo>
                  <a:pt x="6173" y="1062"/>
                </a:lnTo>
                <a:lnTo>
                  <a:pt x="6175" y="1079"/>
                </a:lnTo>
                <a:lnTo>
                  <a:pt x="6181" y="1095"/>
                </a:lnTo>
                <a:lnTo>
                  <a:pt x="6186" y="1111"/>
                </a:lnTo>
                <a:lnTo>
                  <a:pt x="6194" y="1126"/>
                </a:lnTo>
                <a:lnTo>
                  <a:pt x="6204" y="1140"/>
                </a:lnTo>
                <a:lnTo>
                  <a:pt x="6214" y="1153"/>
                </a:lnTo>
                <a:lnTo>
                  <a:pt x="6226" y="1166"/>
                </a:lnTo>
                <a:lnTo>
                  <a:pt x="6238" y="1179"/>
                </a:lnTo>
                <a:lnTo>
                  <a:pt x="6252" y="1190"/>
                </a:lnTo>
                <a:lnTo>
                  <a:pt x="6267" y="1201"/>
                </a:lnTo>
                <a:lnTo>
                  <a:pt x="6281" y="1211"/>
                </a:lnTo>
                <a:lnTo>
                  <a:pt x="6296" y="1220"/>
                </a:lnTo>
                <a:lnTo>
                  <a:pt x="6313" y="1230"/>
                </a:lnTo>
                <a:lnTo>
                  <a:pt x="6328" y="1239"/>
                </a:lnTo>
                <a:lnTo>
                  <a:pt x="6345" y="1247"/>
                </a:lnTo>
                <a:lnTo>
                  <a:pt x="6352" y="1251"/>
                </a:lnTo>
                <a:lnTo>
                  <a:pt x="6360" y="1256"/>
                </a:lnTo>
                <a:lnTo>
                  <a:pt x="6365" y="1261"/>
                </a:lnTo>
                <a:lnTo>
                  <a:pt x="6371" y="1267"/>
                </a:lnTo>
                <a:lnTo>
                  <a:pt x="6379" y="1282"/>
                </a:lnTo>
                <a:lnTo>
                  <a:pt x="6387" y="1297"/>
                </a:lnTo>
                <a:lnTo>
                  <a:pt x="6392" y="1304"/>
                </a:lnTo>
                <a:lnTo>
                  <a:pt x="6396" y="1311"/>
                </a:lnTo>
                <a:lnTo>
                  <a:pt x="6402" y="1318"/>
                </a:lnTo>
                <a:lnTo>
                  <a:pt x="6407" y="1325"/>
                </a:lnTo>
                <a:lnTo>
                  <a:pt x="6415" y="1331"/>
                </a:lnTo>
                <a:lnTo>
                  <a:pt x="6422" y="1337"/>
                </a:lnTo>
                <a:lnTo>
                  <a:pt x="6432" y="1342"/>
                </a:lnTo>
                <a:lnTo>
                  <a:pt x="6444" y="1346"/>
                </a:lnTo>
                <a:lnTo>
                  <a:pt x="6452" y="1347"/>
                </a:lnTo>
                <a:lnTo>
                  <a:pt x="6464" y="1351"/>
                </a:lnTo>
                <a:lnTo>
                  <a:pt x="6471" y="1353"/>
                </a:lnTo>
                <a:lnTo>
                  <a:pt x="6476" y="1356"/>
                </a:lnTo>
                <a:lnTo>
                  <a:pt x="6481" y="1360"/>
                </a:lnTo>
                <a:lnTo>
                  <a:pt x="6484" y="1364"/>
                </a:lnTo>
                <a:lnTo>
                  <a:pt x="6491" y="1374"/>
                </a:lnTo>
                <a:lnTo>
                  <a:pt x="6497" y="1384"/>
                </a:lnTo>
                <a:lnTo>
                  <a:pt x="6506" y="1395"/>
                </a:lnTo>
                <a:lnTo>
                  <a:pt x="6515" y="1404"/>
                </a:lnTo>
                <a:lnTo>
                  <a:pt x="6525" y="1413"/>
                </a:lnTo>
                <a:lnTo>
                  <a:pt x="6533" y="1420"/>
                </a:lnTo>
                <a:lnTo>
                  <a:pt x="6538" y="1422"/>
                </a:lnTo>
                <a:lnTo>
                  <a:pt x="6542" y="1424"/>
                </a:lnTo>
                <a:lnTo>
                  <a:pt x="6547" y="1425"/>
                </a:lnTo>
                <a:lnTo>
                  <a:pt x="6551" y="1426"/>
                </a:lnTo>
                <a:lnTo>
                  <a:pt x="6554" y="1425"/>
                </a:lnTo>
                <a:lnTo>
                  <a:pt x="6558" y="1425"/>
                </a:lnTo>
                <a:lnTo>
                  <a:pt x="6561" y="1423"/>
                </a:lnTo>
                <a:lnTo>
                  <a:pt x="6564" y="1421"/>
                </a:lnTo>
                <a:lnTo>
                  <a:pt x="6570" y="1416"/>
                </a:lnTo>
                <a:lnTo>
                  <a:pt x="6575" y="1410"/>
                </a:lnTo>
                <a:lnTo>
                  <a:pt x="6578" y="1402"/>
                </a:lnTo>
                <a:lnTo>
                  <a:pt x="6582" y="1391"/>
                </a:lnTo>
                <a:lnTo>
                  <a:pt x="6583" y="1381"/>
                </a:lnTo>
                <a:lnTo>
                  <a:pt x="6584" y="1370"/>
                </a:lnTo>
                <a:lnTo>
                  <a:pt x="6583" y="1366"/>
                </a:lnTo>
                <a:lnTo>
                  <a:pt x="6582" y="1362"/>
                </a:lnTo>
                <a:lnTo>
                  <a:pt x="6579" y="1359"/>
                </a:lnTo>
                <a:lnTo>
                  <a:pt x="6576" y="1356"/>
                </a:lnTo>
                <a:lnTo>
                  <a:pt x="6570" y="1350"/>
                </a:lnTo>
                <a:lnTo>
                  <a:pt x="6561" y="1345"/>
                </a:lnTo>
                <a:lnTo>
                  <a:pt x="6552" y="1340"/>
                </a:lnTo>
                <a:lnTo>
                  <a:pt x="6544" y="1333"/>
                </a:lnTo>
                <a:lnTo>
                  <a:pt x="6542" y="1329"/>
                </a:lnTo>
                <a:lnTo>
                  <a:pt x="6539" y="1325"/>
                </a:lnTo>
                <a:lnTo>
                  <a:pt x="6538" y="1320"/>
                </a:lnTo>
                <a:lnTo>
                  <a:pt x="6538" y="1315"/>
                </a:lnTo>
                <a:lnTo>
                  <a:pt x="6539" y="1313"/>
                </a:lnTo>
                <a:lnTo>
                  <a:pt x="6542" y="1310"/>
                </a:lnTo>
                <a:lnTo>
                  <a:pt x="6547" y="1308"/>
                </a:lnTo>
                <a:lnTo>
                  <a:pt x="6552" y="1306"/>
                </a:lnTo>
                <a:lnTo>
                  <a:pt x="6565" y="1301"/>
                </a:lnTo>
                <a:lnTo>
                  <a:pt x="6577" y="1297"/>
                </a:lnTo>
                <a:lnTo>
                  <a:pt x="6569" y="1280"/>
                </a:lnTo>
                <a:lnTo>
                  <a:pt x="6560" y="1268"/>
                </a:lnTo>
                <a:lnTo>
                  <a:pt x="6550" y="1256"/>
                </a:lnTo>
                <a:lnTo>
                  <a:pt x="6538" y="1241"/>
                </a:lnTo>
                <a:lnTo>
                  <a:pt x="6540" y="1239"/>
                </a:lnTo>
                <a:lnTo>
                  <a:pt x="6544" y="1238"/>
                </a:lnTo>
                <a:lnTo>
                  <a:pt x="6550" y="1237"/>
                </a:lnTo>
                <a:lnTo>
                  <a:pt x="6556" y="1236"/>
                </a:lnTo>
                <a:lnTo>
                  <a:pt x="6572" y="1235"/>
                </a:lnTo>
                <a:lnTo>
                  <a:pt x="6590" y="1235"/>
                </a:lnTo>
                <a:lnTo>
                  <a:pt x="6583" y="1229"/>
                </a:lnTo>
                <a:lnTo>
                  <a:pt x="6572" y="1219"/>
                </a:lnTo>
                <a:lnTo>
                  <a:pt x="6566" y="1214"/>
                </a:lnTo>
                <a:lnTo>
                  <a:pt x="6562" y="1210"/>
                </a:lnTo>
                <a:lnTo>
                  <a:pt x="6559" y="1207"/>
                </a:lnTo>
                <a:lnTo>
                  <a:pt x="6558" y="1204"/>
                </a:lnTo>
                <a:lnTo>
                  <a:pt x="6550" y="1199"/>
                </a:lnTo>
                <a:lnTo>
                  <a:pt x="6544" y="1194"/>
                </a:lnTo>
                <a:lnTo>
                  <a:pt x="6540" y="1187"/>
                </a:lnTo>
                <a:lnTo>
                  <a:pt x="6537" y="1180"/>
                </a:lnTo>
                <a:lnTo>
                  <a:pt x="6533" y="1173"/>
                </a:lnTo>
                <a:lnTo>
                  <a:pt x="6532" y="1163"/>
                </a:lnTo>
                <a:lnTo>
                  <a:pt x="6531" y="1153"/>
                </a:lnTo>
                <a:lnTo>
                  <a:pt x="6531" y="1142"/>
                </a:lnTo>
                <a:lnTo>
                  <a:pt x="6536" y="1142"/>
                </a:lnTo>
                <a:lnTo>
                  <a:pt x="6540" y="1140"/>
                </a:lnTo>
                <a:lnTo>
                  <a:pt x="6545" y="1138"/>
                </a:lnTo>
                <a:lnTo>
                  <a:pt x="6549" y="1136"/>
                </a:lnTo>
                <a:lnTo>
                  <a:pt x="6552" y="1133"/>
                </a:lnTo>
                <a:lnTo>
                  <a:pt x="6555" y="1130"/>
                </a:lnTo>
                <a:lnTo>
                  <a:pt x="6556" y="1127"/>
                </a:lnTo>
                <a:lnTo>
                  <a:pt x="6558" y="1124"/>
                </a:lnTo>
                <a:lnTo>
                  <a:pt x="6539" y="1118"/>
                </a:lnTo>
                <a:lnTo>
                  <a:pt x="6522" y="1110"/>
                </a:lnTo>
                <a:lnTo>
                  <a:pt x="6508" y="1103"/>
                </a:lnTo>
                <a:lnTo>
                  <a:pt x="6496" y="1095"/>
                </a:lnTo>
                <a:lnTo>
                  <a:pt x="6476" y="1078"/>
                </a:lnTo>
                <a:lnTo>
                  <a:pt x="6460" y="1063"/>
                </a:lnTo>
                <a:lnTo>
                  <a:pt x="6452" y="1055"/>
                </a:lnTo>
                <a:lnTo>
                  <a:pt x="6444" y="1048"/>
                </a:lnTo>
                <a:lnTo>
                  <a:pt x="6437" y="1043"/>
                </a:lnTo>
                <a:lnTo>
                  <a:pt x="6427" y="1039"/>
                </a:lnTo>
                <a:lnTo>
                  <a:pt x="6417" y="1036"/>
                </a:lnTo>
                <a:lnTo>
                  <a:pt x="6406" y="1035"/>
                </a:lnTo>
                <a:lnTo>
                  <a:pt x="6393" y="1035"/>
                </a:lnTo>
                <a:lnTo>
                  <a:pt x="6377" y="1037"/>
                </a:lnTo>
                <a:lnTo>
                  <a:pt x="6375" y="1038"/>
                </a:lnTo>
                <a:lnTo>
                  <a:pt x="6373" y="1037"/>
                </a:lnTo>
                <a:lnTo>
                  <a:pt x="6372" y="1036"/>
                </a:lnTo>
                <a:lnTo>
                  <a:pt x="6370" y="1035"/>
                </a:lnTo>
                <a:lnTo>
                  <a:pt x="6368" y="1031"/>
                </a:lnTo>
                <a:lnTo>
                  <a:pt x="6365" y="1025"/>
                </a:lnTo>
                <a:lnTo>
                  <a:pt x="6363" y="1009"/>
                </a:lnTo>
                <a:lnTo>
                  <a:pt x="6360" y="990"/>
                </a:lnTo>
                <a:lnTo>
                  <a:pt x="6358" y="981"/>
                </a:lnTo>
                <a:lnTo>
                  <a:pt x="6354" y="972"/>
                </a:lnTo>
                <a:lnTo>
                  <a:pt x="6351" y="963"/>
                </a:lnTo>
                <a:lnTo>
                  <a:pt x="6346" y="956"/>
                </a:lnTo>
                <a:lnTo>
                  <a:pt x="6340" y="949"/>
                </a:lnTo>
                <a:lnTo>
                  <a:pt x="6332" y="943"/>
                </a:lnTo>
                <a:lnTo>
                  <a:pt x="6328" y="941"/>
                </a:lnTo>
                <a:lnTo>
                  <a:pt x="6323" y="940"/>
                </a:lnTo>
                <a:lnTo>
                  <a:pt x="6317" y="939"/>
                </a:lnTo>
                <a:lnTo>
                  <a:pt x="6312" y="939"/>
                </a:lnTo>
                <a:lnTo>
                  <a:pt x="6392" y="889"/>
                </a:lnTo>
                <a:lnTo>
                  <a:pt x="6396" y="890"/>
                </a:lnTo>
                <a:lnTo>
                  <a:pt x="6399" y="894"/>
                </a:lnTo>
                <a:lnTo>
                  <a:pt x="6403" y="898"/>
                </a:lnTo>
                <a:lnTo>
                  <a:pt x="6405" y="902"/>
                </a:lnTo>
                <a:lnTo>
                  <a:pt x="6408" y="907"/>
                </a:lnTo>
                <a:lnTo>
                  <a:pt x="6413" y="911"/>
                </a:lnTo>
                <a:lnTo>
                  <a:pt x="6415" y="912"/>
                </a:lnTo>
                <a:lnTo>
                  <a:pt x="6418" y="913"/>
                </a:lnTo>
                <a:lnTo>
                  <a:pt x="6421" y="914"/>
                </a:lnTo>
                <a:lnTo>
                  <a:pt x="6425" y="914"/>
                </a:lnTo>
                <a:lnTo>
                  <a:pt x="6435" y="913"/>
                </a:lnTo>
                <a:lnTo>
                  <a:pt x="6446" y="910"/>
                </a:lnTo>
                <a:lnTo>
                  <a:pt x="6458" y="906"/>
                </a:lnTo>
                <a:lnTo>
                  <a:pt x="6470" y="901"/>
                </a:lnTo>
                <a:lnTo>
                  <a:pt x="6495" y="888"/>
                </a:lnTo>
                <a:lnTo>
                  <a:pt x="6525" y="877"/>
                </a:lnTo>
                <a:lnTo>
                  <a:pt x="6544" y="877"/>
                </a:lnTo>
                <a:lnTo>
                  <a:pt x="6547" y="885"/>
                </a:lnTo>
                <a:lnTo>
                  <a:pt x="6551" y="893"/>
                </a:lnTo>
                <a:lnTo>
                  <a:pt x="6556" y="899"/>
                </a:lnTo>
                <a:lnTo>
                  <a:pt x="6562" y="905"/>
                </a:lnTo>
                <a:lnTo>
                  <a:pt x="6576" y="915"/>
                </a:lnTo>
                <a:lnTo>
                  <a:pt x="6590" y="927"/>
                </a:lnTo>
                <a:lnTo>
                  <a:pt x="6596" y="906"/>
                </a:lnTo>
                <a:lnTo>
                  <a:pt x="6601" y="884"/>
                </a:lnTo>
                <a:lnTo>
                  <a:pt x="6605" y="873"/>
                </a:lnTo>
                <a:lnTo>
                  <a:pt x="6609" y="863"/>
                </a:lnTo>
                <a:lnTo>
                  <a:pt x="6614" y="854"/>
                </a:lnTo>
                <a:lnTo>
                  <a:pt x="6619" y="845"/>
                </a:lnTo>
                <a:lnTo>
                  <a:pt x="6626" y="835"/>
                </a:lnTo>
                <a:lnTo>
                  <a:pt x="6633" y="827"/>
                </a:lnTo>
                <a:lnTo>
                  <a:pt x="6642" y="821"/>
                </a:lnTo>
                <a:lnTo>
                  <a:pt x="6651" y="815"/>
                </a:lnTo>
                <a:lnTo>
                  <a:pt x="6662" y="810"/>
                </a:lnTo>
                <a:lnTo>
                  <a:pt x="6674" y="806"/>
                </a:lnTo>
                <a:lnTo>
                  <a:pt x="6688" y="804"/>
                </a:lnTo>
                <a:lnTo>
                  <a:pt x="6704" y="803"/>
                </a:lnTo>
                <a:lnTo>
                  <a:pt x="6701" y="799"/>
                </a:lnTo>
                <a:lnTo>
                  <a:pt x="6700" y="794"/>
                </a:lnTo>
                <a:lnTo>
                  <a:pt x="6700" y="790"/>
                </a:lnTo>
                <a:lnTo>
                  <a:pt x="6701" y="785"/>
                </a:lnTo>
                <a:lnTo>
                  <a:pt x="6702" y="775"/>
                </a:lnTo>
                <a:lnTo>
                  <a:pt x="6704" y="766"/>
                </a:lnTo>
                <a:lnTo>
                  <a:pt x="6709" y="770"/>
                </a:lnTo>
                <a:lnTo>
                  <a:pt x="6715" y="773"/>
                </a:lnTo>
                <a:lnTo>
                  <a:pt x="6721" y="775"/>
                </a:lnTo>
                <a:lnTo>
                  <a:pt x="6729" y="777"/>
                </a:lnTo>
                <a:lnTo>
                  <a:pt x="6744" y="778"/>
                </a:lnTo>
                <a:lnTo>
                  <a:pt x="6763" y="778"/>
                </a:lnTo>
                <a:lnTo>
                  <a:pt x="6774" y="781"/>
                </a:lnTo>
                <a:lnTo>
                  <a:pt x="6787" y="784"/>
                </a:lnTo>
                <a:lnTo>
                  <a:pt x="6795" y="785"/>
                </a:lnTo>
                <a:lnTo>
                  <a:pt x="6801" y="784"/>
                </a:lnTo>
                <a:lnTo>
                  <a:pt x="6809" y="783"/>
                </a:lnTo>
                <a:lnTo>
                  <a:pt x="6817" y="778"/>
                </a:lnTo>
                <a:lnTo>
                  <a:pt x="6813" y="767"/>
                </a:lnTo>
                <a:lnTo>
                  <a:pt x="6813" y="762"/>
                </a:lnTo>
                <a:lnTo>
                  <a:pt x="6816" y="757"/>
                </a:lnTo>
                <a:lnTo>
                  <a:pt x="6817" y="742"/>
                </a:lnTo>
                <a:lnTo>
                  <a:pt x="6790" y="738"/>
                </a:lnTo>
                <a:lnTo>
                  <a:pt x="6766" y="733"/>
                </a:lnTo>
                <a:lnTo>
                  <a:pt x="6743" y="727"/>
                </a:lnTo>
                <a:lnTo>
                  <a:pt x="6722" y="720"/>
                </a:lnTo>
                <a:lnTo>
                  <a:pt x="6685" y="706"/>
                </a:lnTo>
                <a:lnTo>
                  <a:pt x="6650" y="692"/>
                </a:lnTo>
                <a:lnTo>
                  <a:pt x="6632" y="685"/>
                </a:lnTo>
                <a:lnTo>
                  <a:pt x="6616" y="678"/>
                </a:lnTo>
                <a:lnTo>
                  <a:pt x="6598" y="672"/>
                </a:lnTo>
                <a:lnTo>
                  <a:pt x="6579" y="666"/>
                </a:lnTo>
                <a:lnTo>
                  <a:pt x="6561" y="662"/>
                </a:lnTo>
                <a:lnTo>
                  <a:pt x="6541" y="658"/>
                </a:lnTo>
                <a:lnTo>
                  <a:pt x="6520" y="656"/>
                </a:lnTo>
                <a:lnTo>
                  <a:pt x="6497" y="655"/>
                </a:lnTo>
                <a:lnTo>
                  <a:pt x="6543" y="659"/>
                </a:lnTo>
                <a:lnTo>
                  <a:pt x="6582" y="663"/>
                </a:lnTo>
                <a:lnTo>
                  <a:pt x="6592" y="663"/>
                </a:lnTo>
                <a:lnTo>
                  <a:pt x="6600" y="663"/>
                </a:lnTo>
                <a:lnTo>
                  <a:pt x="6610" y="662"/>
                </a:lnTo>
                <a:lnTo>
                  <a:pt x="6619" y="660"/>
                </a:lnTo>
                <a:lnTo>
                  <a:pt x="6628" y="658"/>
                </a:lnTo>
                <a:lnTo>
                  <a:pt x="6638" y="654"/>
                </a:lnTo>
                <a:lnTo>
                  <a:pt x="6648" y="649"/>
                </a:lnTo>
                <a:lnTo>
                  <a:pt x="6657" y="643"/>
                </a:lnTo>
                <a:lnTo>
                  <a:pt x="6653" y="637"/>
                </a:lnTo>
                <a:lnTo>
                  <a:pt x="6649" y="632"/>
                </a:lnTo>
                <a:lnTo>
                  <a:pt x="6644" y="627"/>
                </a:lnTo>
                <a:lnTo>
                  <a:pt x="6639" y="624"/>
                </a:lnTo>
                <a:lnTo>
                  <a:pt x="6628" y="618"/>
                </a:lnTo>
                <a:lnTo>
                  <a:pt x="6616" y="612"/>
                </a:lnTo>
                <a:lnTo>
                  <a:pt x="6605" y="607"/>
                </a:lnTo>
                <a:lnTo>
                  <a:pt x="6593" y="601"/>
                </a:lnTo>
                <a:lnTo>
                  <a:pt x="6587" y="598"/>
                </a:lnTo>
                <a:lnTo>
                  <a:pt x="6581" y="593"/>
                </a:lnTo>
                <a:lnTo>
                  <a:pt x="6576" y="588"/>
                </a:lnTo>
                <a:lnTo>
                  <a:pt x="6571" y="582"/>
                </a:lnTo>
                <a:lnTo>
                  <a:pt x="6597" y="582"/>
                </a:lnTo>
                <a:lnTo>
                  <a:pt x="6600" y="587"/>
                </a:lnTo>
                <a:lnTo>
                  <a:pt x="6605" y="592"/>
                </a:lnTo>
                <a:lnTo>
                  <a:pt x="6610" y="599"/>
                </a:lnTo>
                <a:lnTo>
                  <a:pt x="6617" y="604"/>
                </a:lnTo>
                <a:lnTo>
                  <a:pt x="6626" y="610"/>
                </a:lnTo>
                <a:lnTo>
                  <a:pt x="6634" y="615"/>
                </a:lnTo>
                <a:lnTo>
                  <a:pt x="6640" y="617"/>
                </a:lnTo>
                <a:lnTo>
                  <a:pt x="6645" y="618"/>
                </a:lnTo>
                <a:lnTo>
                  <a:pt x="6651" y="619"/>
                </a:lnTo>
                <a:lnTo>
                  <a:pt x="6657" y="619"/>
                </a:lnTo>
                <a:lnTo>
                  <a:pt x="6665" y="618"/>
                </a:lnTo>
                <a:lnTo>
                  <a:pt x="6670" y="617"/>
                </a:lnTo>
                <a:lnTo>
                  <a:pt x="6673" y="615"/>
                </a:lnTo>
                <a:lnTo>
                  <a:pt x="6675" y="612"/>
                </a:lnTo>
                <a:lnTo>
                  <a:pt x="6678" y="610"/>
                </a:lnTo>
                <a:lnTo>
                  <a:pt x="6683" y="608"/>
                </a:lnTo>
                <a:lnTo>
                  <a:pt x="6691" y="606"/>
                </a:lnTo>
                <a:lnTo>
                  <a:pt x="6704" y="606"/>
                </a:lnTo>
                <a:lnTo>
                  <a:pt x="6718" y="606"/>
                </a:lnTo>
                <a:lnTo>
                  <a:pt x="6730" y="607"/>
                </a:lnTo>
                <a:lnTo>
                  <a:pt x="6742" y="609"/>
                </a:lnTo>
                <a:lnTo>
                  <a:pt x="6752" y="612"/>
                </a:lnTo>
                <a:lnTo>
                  <a:pt x="6762" y="616"/>
                </a:lnTo>
                <a:lnTo>
                  <a:pt x="6771" y="619"/>
                </a:lnTo>
                <a:lnTo>
                  <a:pt x="6778" y="623"/>
                </a:lnTo>
                <a:lnTo>
                  <a:pt x="6786" y="627"/>
                </a:lnTo>
                <a:lnTo>
                  <a:pt x="6799" y="636"/>
                </a:lnTo>
                <a:lnTo>
                  <a:pt x="6812" y="645"/>
                </a:lnTo>
                <a:lnTo>
                  <a:pt x="6827" y="654"/>
                </a:lnTo>
                <a:lnTo>
                  <a:pt x="6843" y="661"/>
                </a:lnTo>
                <a:lnTo>
                  <a:pt x="6943" y="661"/>
                </a:lnTo>
                <a:lnTo>
                  <a:pt x="6945" y="667"/>
                </a:lnTo>
                <a:lnTo>
                  <a:pt x="6950" y="673"/>
                </a:lnTo>
                <a:lnTo>
                  <a:pt x="6955" y="676"/>
                </a:lnTo>
                <a:lnTo>
                  <a:pt x="6961" y="678"/>
                </a:lnTo>
                <a:lnTo>
                  <a:pt x="6971" y="680"/>
                </a:lnTo>
                <a:lnTo>
                  <a:pt x="6982" y="680"/>
                </a:lnTo>
                <a:lnTo>
                  <a:pt x="6989" y="680"/>
                </a:lnTo>
                <a:lnTo>
                  <a:pt x="7006" y="680"/>
                </a:lnTo>
                <a:lnTo>
                  <a:pt x="7027" y="678"/>
                </a:lnTo>
                <a:lnTo>
                  <a:pt x="7049" y="674"/>
                </a:lnTo>
                <a:lnTo>
                  <a:pt x="7031" y="668"/>
                </a:lnTo>
                <a:lnTo>
                  <a:pt x="7011" y="659"/>
                </a:lnTo>
                <a:lnTo>
                  <a:pt x="7002" y="654"/>
                </a:lnTo>
                <a:lnTo>
                  <a:pt x="6996" y="647"/>
                </a:lnTo>
                <a:lnTo>
                  <a:pt x="6993" y="644"/>
                </a:lnTo>
                <a:lnTo>
                  <a:pt x="6991" y="640"/>
                </a:lnTo>
                <a:lnTo>
                  <a:pt x="6989" y="636"/>
                </a:lnTo>
                <a:lnTo>
                  <a:pt x="6989" y="631"/>
                </a:lnTo>
                <a:lnTo>
                  <a:pt x="6990" y="621"/>
                </a:lnTo>
                <a:lnTo>
                  <a:pt x="6991" y="614"/>
                </a:lnTo>
                <a:lnTo>
                  <a:pt x="6992" y="608"/>
                </a:lnTo>
                <a:lnTo>
                  <a:pt x="6992" y="602"/>
                </a:lnTo>
                <a:lnTo>
                  <a:pt x="6991" y="593"/>
                </a:lnTo>
                <a:lnTo>
                  <a:pt x="6989" y="582"/>
                </a:lnTo>
                <a:lnTo>
                  <a:pt x="6975" y="581"/>
                </a:lnTo>
                <a:lnTo>
                  <a:pt x="6961" y="579"/>
                </a:lnTo>
                <a:lnTo>
                  <a:pt x="6947" y="577"/>
                </a:lnTo>
                <a:lnTo>
                  <a:pt x="6934" y="573"/>
                </a:lnTo>
                <a:lnTo>
                  <a:pt x="6910" y="564"/>
                </a:lnTo>
                <a:lnTo>
                  <a:pt x="6886" y="553"/>
                </a:lnTo>
                <a:lnTo>
                  <a:pt x="6861" y="543"/>
                </a:lnTo>
                <a:lnTo>
                  <a:pt x="6835" y="535"/>
                </a:lnTo>
                <a:lnTo>
                  <a:pt x="6821" y="531"/>
                </a:lnTo>
                <a:lnTo>
                  <a:pt x="6807" y="529"/>
                </a:lnTo>
                <a:lnTo>
                  <a:pt x="6793" y="527"/>
                </a:lnTo>
                <a:lnTo>
                  <a:pt x="6776" y="526"/>
                </a:lnTo>
                <a:lnTo>
                  <a:pt x="6769" y="527"/>
                </a:lnTo>
                <a:lnTo>
                  <a:pt x="6761" y="531"/>
                </a:lnTo>
                <a:lnTo>
                  <a:pt x="6756" y="533"/>
                </a:lnTo>
                <a:lnTo>
                  <a:pt x="6753" y="536"/>
                </a:lnTo>
                <a:lnTo>
                  <a:pt x="6751" y="540"/>
                </a:lnTo>
                <a:lnTo>
                  <a:pt x="6750" y="544"/>
                </a:lnTo>
                <a:lnTo>
                  <a:pt x="6751" y="547"/>
                </a:lnTo>
                <a:lnTo>
                  <a:pt x="6752" y="548"/>
                </a:lnTo>
                <a:lnTo>
                  <a:pt x="6754" y="550"/>
                </a:lnTo>
                <a:lnTo>
                  <a:pt x="6757" y="552"/>
                </a:lnTo>
                <a:lnTo>
                  <a:pt x="6765" y="555"/>
                </a:lnTo>
                <a:lnTo>
                  <a:pt x="6775" y="559"/>
                </a:lnTo>
                <a:lnTo>
                  <a:pt x="6785" y="563"/>
                </a:lnTo>
                <a:lnTo>
                  <a:pt x="6795" y="567"/>
                </a:lnTo>
                <a:lnTo>
                  <a:pt x="6799" y="570"/>
                </a:lnTo>
                <a:lnTo>
                  <a:pt x="6803" y="574"/>
                </a:lnTo>
                <a:lnTo>
                  <a:pt x="6807" y="577"/>
                </a:lnTo>
                <a:lnTo>
                  <a:pt x="6810" y="582"/>
                </a:lnTo>
                <a:lnTo>
                  <a:pt x="6778" y="567"/>
                </a:lnTo>
                <a:lnTo>
                  <a:pt x="6751" y="552"/>
                </a:lnTo>
                <a:lnTo>
                  <a:pt x="6728" y="539"/>
                </a:lnTo>
                <a:lnTo>
                  <a:pt x="6706" y="528"/>
                </a:lnTo>
                <a:lnTo>
                  <a:pt x="6684" y="517"/>
                </a:lnTo>
                <a:lnTo>
                  <a:pt x="6660" y="506"/>
                </a:lnTo>
                <a:lnTo>
                  <a:pt x="6631" y="494"/>
                </a:lnTo>
                <a:lnTo>
                  <a:pt x="6597" y="483"/>
                </a:lnTo>
                <a:lnTo>
                  <a:pt x="6573" y="477"/>
                </a:lnTo>
                <a:lnTo>
                  <a:pt x="6548" y="471"/>
                </a:lnTo>
                <a:lnTo>
                  <a:pt x="6525" y="466"/>
                </a:lnTo>
                <a:lnTo>
                  <a:pt x="6500" y="462"/>
                </a:lnTo>
                <a:lnTo>
                  <a:pt x="6454" y="455"/>
                </a:lnTo>
                <a:lnTo>
                  <a:pt x="6408" y="450"/>
                </a:lnTo>
                <a:lnTo>
                  <a:pt x="6363" y="443"/>
                </a:lnTo>
                <a:lnTo>
                  <a:pt x="6318" y="436"/>
                </a:lnTo>
                <a:lnTo>
                  <a:pt x="6295" y="432"/>
                </a:lnTo>
                <a:lnTo>
                  <a:pt x="6272" y="427"/>
                </a:lnTo>
                <a:lnTo>
                  <a:pt x="6249" y="422"/>
                </a:lnTo>
                <a:lnTo>
                  <a:pt x="6225" y="415"/>
                </a:lnTo>
                <a:lnTo>
                  <a:pt x="6146" y="415"/>
                </a:lnTo>
                <a:lnTo>
                  <a:pt x="6133" y="407"/>
                </a:lnTo>
                <a:lnTo>
                  <a:pt x="6121" y="402"/>
                </a:lnTo>
                <a:lnTo>
                  <a:pt x="6114" y="400"/>
                </a:lnTo>
                <a:lnTo>
                  <a:pt x="6106" y="398"/>
                </a:lnTo>
                <a:lnTo>
                  <a:pt x="6096" y="397"/>
                </a:lnTo>
                <a:lnTo>
                  <a:pt x="6085" y="397"/>
                </a:lnTo>
                <a:lnTo>
                  <a:pt x="6071" y="398"/>
                </a:lnTo>
                <a:lnTo>
                  <a:pt x="6058" y="400"/>
                </a:lnTo>
                <a:lnTo>
                  <a:pt x="6045" y="403"/>
                </a:lnTo>
                <a:lnTo>
                  <a:pt x="6033" y="406"/>
                </a:lnTo>
                <a:lnTo>
                  <a:pt x="6020" y="410"/>
                </a:lnTo>
                <a:lnTo>
                  <a:pt x="6007" y="412"/>
                </a:lnTo>
                <a:lnTo>
                  <a:pt x="5993" y="415"/>
                </a:lnTo>
                <a:lnTo>
                  <a:pt x="5979" y="415"/>
                </a:lnTo>
                <a:lnTo>
                  <a:pt x="5971" y="415"/>
                </a:lnTo>
                <a:lnTo>
                  <a:pt x="5960" y="412"/>
                </a:lnTo>
                <a:lnTo>
                  <a:pt x="5945" y="409"/>
                </a:lnTo>
                <a:lnTo>
                  <a:pt x="5929" y="405"/>
                </a:lnTo>
                <a:lnTo>
                  <a:pt x="5913" y="400"/>
                </a:lnTo>
                <a:lnTo>
                  <a:pt x="5899" y="395"/>
                </a:lnTo>
                <a:lnTo>
                  <a:pt x="5887" y="389"/>
                </a:lnTo>
                <a:lnTo>
                  <a:pt x="5880" y="384"/>
                </a:lnTo>
                <a:lnTo>
                  <a:pt x="5833" y="384"/>
                </a:lnTo>
                <a:lnTo>
                  <a:pt x="5835" y="394"/>
                </a:lnTo>
                <a:lnTo>
                  <a:pt x="5838" y="402"/>
                </a:lnTo>
                <a:lnTo>
                  <a:pt x="5843" y="410"/>
                </a:lnTo>
                <a:lnTo>
                  <a:pt x="5847" y="417"/>
                </a:lnTo>
                <a:lnTo>
                  <a:pt x="5853" y="423"/>
                </a:lnTo>
                <a:lnTo>
                  <a:pt x="5859" y="429"/>
                </a:lnTo>
                <a:lnTo>
                  <a:pt x="5866" y="435"/>
                </a:lnTo>
                <a:lnTo>
                  <a:pt x="5872" y="439"/>
                </a:lnTo>
                <a:lnTo>
                  <a:pt x="5895" y="454"/>
                </a:lnTo>
                <a:lnTo>
                  <a:pt x="5906" y="459"/>
                </a:lnTo>
                <a:lnTo>
                  <a:pt x="5883" y="448"/>
                </a:lnTo>
                <a:lnTo>
                  <a:pt x="5860" y="435"/>
                </a:lnTo>
                <a:lnTo>
                  <a:pt x="5848" y="430"/>
                </a:lnTo>
                <a:lnTo>
                  <a:pt x="5834" y="425"/>
                </a:lnTo>
                <a:lnTo>
                  <a:pt x="5826" y="424"/>
                </a:lnTo>
                <a:lnTo>
                  <a:pt x="5819" y="422"/>
                </a:lnTo>
                <a:lnTo>
                  <a:pt x="5810" y="422"/>
                </a:lnTo>
                <a:lnTo>
                  <a:pt x="5800" y="421"/>
                </a:lnTo>
                <a:lnTo>
                  <a:pt x="5804" y="417"/>
                </a:lnTo>
                <a:lnTo>
                  <a:pt x="5807" y="412"/>
                </a:lnTo>
                <a:lnTo>
                  <a:pt x="5809" y="405"/>
                </a:lnTo>
                <a:lnTo>
                  <a:pt x="5813" y="397"/>
                </a:lnTo>
                <a:lnTo>
                  <a:pt x="5796" y="397"/>
                </a:lnTo>
                <a:lnTo>
                  <a:pt x="5781" y="396"/>
                </a:lnTo>
                <a:lnTo>
                  <a:pt x="5767" y="395"/>
                </a:lnTo>
                <a:lnTo>
                  <a:pt x="5754" y="390"/>
                </a:lnTo>
                <a:lnTo>
                  <a:pt x="5753" y="395"/>
                </a:lnTo>
                <a:lnTo>
                  <a:pt x="5752" y="399"/>
                </a:lnTo>
                <a:lnTo>
                  <a:pt x="5751" y="402"/>
                </a:lnTo>
                <a:lnTo>
                  <a:pt x="5748" y="405"/>
                </a:lnTo>
                <a:lnTo>
                  <a:pt x="5745" y="407"/>
                </a:lnTo>
                <a:lnTo>
                  <a:pt x="5742" y="409"/>
                </a:lnTo>
                <a:lnTo>
                  <a:pt x="5737" y="411"/>
                </a:lnTo>
                <a:lnTo>
                  <a:pt x="5733" y="412"/>
                </a:lnTo>
                <a:lnTo>
                  <a:pt x="5724" y="414"/>
                </a:lnTo>
                <a:lnTo>
                  <a:pt x="5714" y="415"/>
                </a:lnTo>
                <a:lnTo>
                  <a:pt x="5703" y="415"/>
                </a:lnTo>
                <a:lnTo>
                  <a:pt x="5693" y="415"/>
                </a:lnTo>
                <a:lnTo>
                  <a:pt x="5667" y="415"/>
                </a:lnTo>
                <a:lnTo>
                  <a:pt x="5643" y="413"/>
                </a:lnTo>
                <a:lnTo>
                  <a:pt x="5621" y="411"/>
                </a:lnTo>
                <a:lnTo>
                  <a:pt x="5599" y="409"/>
                </a:lnTo>
                <a:lnTo>
                  <a:pt x="5578" y="407"/>
                </a:lnTo>
                <a:lnTo>
                  <a:pt x="5557" y="408"/>
                </a:lnTo>
                <a:lnTo>
                  <a:pt x="5546" y="409"/>
                </a:lnTo>
                <a:lnTo>
                  <a:pt x="5536" y="410"/>
                </a:lnTo>
                <a:lnTo>
                  <a:pt x="5525" y="412"/>
                </a:lnTo>
                <a:lnTo>
                  <a:pt x="5514" y="415"/>
                </a:lnTo>
                <a:lnTo>
                  <a:pt x="5528" y="430"/>
                </a:lnTo>
                <a:lnTo>
                  <a:pt x="5539" y="439"/>
                </a:lnTo>
                <a:lnTo>
                  <a:pt x="5551" y="450"/>
                </a:lnTo>
                <a:lnTo>
                  <a:pt x="5567" y="465"/>
                </a:lnTo>
                <a:lnTo>
                  <a:pt x="5531" y="450"/>
                </a:lnTo>
                <a:lnTo>
                  <a:pt x="5497" y="437"/>
                </a:lnTo>
                <a:lnTo>
                  <a:pt x="5465" y="426"/>
                </a:lnTo>
                <a:lnTo>
                  <a:pt x="5433" y="414"/>
                </a:lnTo>
                <a:lnTo>
                  <a:pt x="5419" y="407"/>
                </a:lnTo>
                <a:lnTo>
                  <a:pt x="5404" y="400"/>
                </a:lnTo>
                <a:lnTo>
                  <a:pt x="5388" y="392"/>
                </a:lnTo>
                <a:lnTo>
                  <a:pt x="5374" y="383"/>
                </a:lnTo>
                <a:lnTo>
                  <a:pt x="5360" y="373"/>
                </a:lnTo>
                <a:lnTo>
                  <a:pt x="5344" y="362"/>
                </a:lnTo>
                <a:lnTo>
                  <a:pt x="5330" y="350"/>
                </a:lnTo>
                <a:lnTo>
                  <a:pt x="5315" y="336"/>
                </a:lnTo>
                <a:lnTo>
                  <a:pt x="5109" y="336"/>
                </a:lnTo>
                <a:lnTo>
                  <a:pt x="5104" y="337"/>
                </a:lnTo>
                <a:lnTo>
                  <a:pt x="5099" y="339"/>
                </a:lnTo>
                <a:lnTo>
                  <a:pt x="5094" y="343"/>
                </a:lnTo>
                <a:lnTo>
                  <a:pt x="5090" y="348"/>
                </a:lnTo>
                <a:lnTo>
                  <a:pt x="5009" y="354"/>
                </a:lnTo>
                <a:lnTo>
                  <a:pt x="5003" y="353"/>
                </a:lnTo>
                <a:lnTo>
                  <a:pt x="4996" y="353"/>
                </a:lnTo>
                <a:lnTo>
                  <a:pt x="4991" y="351"/>
                </a:lnTo>
                <a:lnTo>
                  <a:pt x="4986" y="349"/>
                </a:lnTo>
                <a:lnTo>
                  <a:pt x="4979" y="344"/>
                </a:lnTo>
                <a:lnTo>
                  <a:pt x="4972" y="339"/>
                </a:lnTo>
                <a:lnTo>
                  <a:pt x="4964" y="332"/>
                </a:lnTo>
                <a:lnTo>
                  <a:pt x="4956" y="327"/>
                </a:lnTo>
                <a:lnTo>
                  <a:pt x="4951" y="325"/>
                </a:lnTo>
                <a:lnTo>
                  <a:pt x="4945" y="324"/>
                </a:lnTo>
                <a:lnTo>
                  <a:pt x="4938" y="323"/>
                </a:lnTo>
                <a:lnTo>
                  <a:pt x="4929" y="323"/>
                </a:lnTo>
                <a:lnTo>
                  <a:pt x="4924" y="323"/>
                </a:lnTo>
                <a:lnTo>
                  <a:pt x="4918" y="324"/>
                </a:lnTo>
                <a:lnTo>
                  <a:pt x="4916" y="326"/>
                </a:lnTo>
                <a:lnTo>
                  <a:pt x="4913" y="329"/>
                </a:lnTo>
                <a:lnTo>
                  <a:pt x="4911" y="331"/>
                </a:lnTo>
                <a:lnTo>
                  <a:pt x="4907" y="333"/>
                </a:lnTo>
                <a:lnTo>
                  <a:pt x="4903" y="334"/>
                </a:lnTo>
                <a:lnTo>
                  <a:pt x="4896" y="336"/>
                </a:lnTo>
                <a:lnTo>
                  <a:pt x="4884" y="334"/>
                </a:lnTo>
                <a:lnTo>
                  <a:pt x="4873" y="332"/>
                </a:lnTo>
                <a:lnTo>
                  <a:pt x="4863" y="328"/>
                </a:lnTo>
                <a:lnTo>
                  <a:pt x="4853" y="324"/>
                </a:lnTo>
                <a:lnTo>
                  <a:pt x="4836" y="314"/>
                </a:lnTo>
                <a:lnTo>
                  <a:pt x="4816" y="304"/>
                </a:lnTo>
                <a:lnTo>
                  <a:pt x="4830" y="292"/>
                </a:lnTo>
                <a:lnTo>
                  <a:pt x="4826" y="290"/>
                </a:lnTo>
                <a:lnTo>
                  <a:pt x="4816" y="286"/>
                </a:lnTo>
                <a:lnTo>
                  <a:pt x="4808" y="284"/>
                </a:lnTo>
                <a:lnTo>
                  <a:pt x="4799" y="282"/>
                </a:lnTo>
                <a:lnTo>
                  <a:pt x="4789" y="281"/>
                </a:lnTo>
                <a:lnTo>
                  <a:pt x="4777" y="279"/>
                </a:lnTo>
                <a:lnTo>
                  <a:pt x="4766" y="281"/>
                </a:lnTo>
                <a:lnTo>
                  <a:pt x="4757" y="281"/>
                </a:lnTo>
                <a:lnTo>
                  <a:pt x="4748" y="283"/>
                </a:lnTo>
                <a:lnTo>
                  <a:pt x="4740" y="285"/>
                </a:lnTo>
                <a:lnTo>
                  <a:pt x="4728" y="290"/>
                </a:lnTo>
                <a:lnTo>
                  <a:pt x="4717" y="295"/>
                </a:lnTo>
                <a:lnTo>
                  <a:pt x="4710" y="301"/>
                </a:lnTo>
                <a:lnTo>
                  <a:pt x="4701" y="306"/>
                </a:lnTo>
                <a:lnTo>
                  <a:pt x="4698" y="308"/>
                </a:lnTo>
                <a:lnTo>
                  <a:pt x="4693" y="309"/>
                </a:lnTo>
                <a:lnTo>
                  <a:pt x="4689" y="310"/>
                </a:lnTo>
                <a:lnTo>
                  <a:pt x="4683" y="310"/>
                </a:lnTo>
                <a:lnTo>
                  <a:pt x="4670" y="310"/>
                </a:lnTo>
                <a:lnTo>
                  <a:pt x="4657" y="310"/>
                </a:lnTo>
                <a:lnTo>
                  <a:pt x="4657" y="279"/>
                </a:lnTo>
                <a:lnTo>
                  <a:pt x="4650" y="275"/>
                </a:lnTo>
                <a:lnTo>
                  <a:pt x="4644" y="272"/>
                </a:lnTo>
                <a:lnTo>
                  <a:pt x="4638" y="271"/>
                </a:lnTo>
                <a:lnTo>
                  <a:pt x="4633" y="270"/>
                </a:lnTo>
                <a:lnTo>
                  <a:pt x="4627" y="271"/>
                </a:lnTo>
                <a:lnTo>
                  <a:pt x="4621" y="272"/>
                </a:lnTo>
                <a:lnTo>
                  <a:pt x="4613" y="275"/>
                </a:lnTo>
                <a:lnTo>
                  <a:pt x="4604" y="279"/>
                </a:lnTo>
                <a:lnTo>
                  <a:pt x="4603" y="277"/>
                </a:lnTo>
                <a:lnTo>
                  <a:pt x="4601" y="275"/>
                </a:lnTo>
                <a:lnTo>
                  <a:pt x="4599" y="273"/>
                </a:lnTo>
                <a:lnTo>
                  <a:pt x="4597" y="272"/>
                </a:lnTo>
                <a:lnTo>
                  <a:pt x="4589" y="270"/>
                </a:lnTo>
                <a:lnTo>
                  <a:pt x="4579" y="268"/>
                </a:lnTo>
                <a:lnTo>
                  <a:pt x="4557" y="267"/>
                </a:lnTo>
                <a:lnTo>
                  <a:pt x="4532" y="267"/>
                </a:lnTo>
                <a:lnTo>
                  <a:pt x="4486" y="271"/>
                </a:lnTo>
                <a:lnTo>
                  <a:pt x="4465" y="273"/>
                </a:lnTo>
                <a:lnTo>
                  <a:pt x="4398" y="273"/>
                </a:lnTo>
                <a:lnTo>
                  <a:pt x="4399" y="276"/>
                </a:lnTo>
                <a:lnTo>
                  <a:pt x="4400" y="279"/>
                </a:lnTo>
                <a:lnTo>
                  <a:pt x="4402" y="283"/>
                </a:lnTo>
                <a:lnTo>
                  <a:pt x="4405" y="285"/>
                </a:lnTo>
                <a:lnTo>
                  <a:pt x="4409" y="288"/>
                </a:lnTo>
                <a:lnTo>
                  <a:pt x="4412" y="290"/>
                </a:lnTo>
                <a:lnTo>
                  <a:pt x="4415" y="292"/>
                </a:lnTo>
                <a:lnTo>
                  <a:pt x="4418" y="292"/>
                </a:lnTo>
                <a:lnTo>
                  <a:pt x="4420" y="299"/>
                </a:lnTo>
                <a:lnTo>
                  <a:pt x="4425" y="307"/>
                </a:lnTo>
                <a:lnTo>
                  <a:pt x="4432" y="316"/>
                </a:lnTo>
                <a:lnTo>
                  <a:pt x="4438" y="323"/>
                </a:lnTo>
                <a:lnTo>
                  <a:pt x="4429" y="323"/>
                </a:lnTo>
                <a:lnTo>
                  <a:pt x="4420" y="324"/>
                </a:lnTo>
                <a:lnTo>
                  <a:pt x="4412" y="326"/>
                </a:lnTo>
                <a:lnTo>
                  <a:pt x="4403" y="329"/>
                </a:lnTo>
                <a:lnTo>
                  <a:pt x="4394" y="331"/>
                </a:lnTo>
                <a:lnTo>
                  <a:pt x="4383" y="333"/>
                </a:lnTo>
                <a:lnTo>
                  <a:pt x="4373" y="334"/>
                </a:lnTo>
                <a:lnTo>
                  <a:pt x="4358" y="336"/>
                </a:lnTo>
                <a:lnTo>
                  <a:pt x="4337" y="334"/>
                </a:lnTo>
                <a:lnTo>
                  <a:pt x="4317" y="331"/>
                </a:lnTo>
                <a:lnTo>
                  <a:pt x="4295" y="327"/>
                </a:lnTo>
                <a:lnTo>
                  <a:pt x="4272" y="323"/>
                </a:lnTo>
                <a:lnTo>
                  <a:pt x="4250" y="318"/>
                </a:lnTo>
                <a:lnTo>
                  <a:pt x="4228" y="314"/>
                </a:lnTo>
                <a:lnTo>
                  <a:pt x="4206" y="311"/>
                </a:lnTo>
                <a:lnTo>
                  <a:pt x="4186" y="310"/>
                </a:lnTo>
                <a:lnTo>
                  <a:pt x="4176" y="310"/>
                </a:lnTo>
                <a:lnTo>
                  <a:pt x="4166" y="310"/>
                </a:lnTo>
                <a:lnTo>
                  <a:pt x="4166" y="348"/>
                </a:lnTo>
                <a:lnTo>
                  <a:pt x="4139" y="348"/>
                </a:lnTo>
                <a:lnTo>
                  <a:pt x="4131" y="345"/>
                </a:lnTo>
                <a:lnTo>
                  <a:pt x="4122" y="342"/>
                </a:lnTo>
                <a:lnTo>
                  <a:pt x="4113" y="340"/>
                </a:lnTo>
                <a:lnTo>
                  <a:pt x="4102" y="338"/>
                </a:lnTo>
                <a:lnTo>
                  <a:pt x="4082" y="333"/>
                </a:lnTo>
                <a:lnTo>
                  <a:pt x="4060" y="330"/>
                </a:lnTo>
                <a:lnTo>
                  <a:pt x="4039" y="326"/>
                </a:lnTo>
                <a:lnTo>
                  <a:pt x="4019" y="321"/>
                </a:lnTo>
                <a:lnTo>
                  <a:pt x="4009" y="318"/>
                </a:lnTo>
                <a:lnTo>
                  <a:pt x="4000" y="314"/>
                </a:lnTo>
                <a:lnTo>
                  <a:pt x="3993" y="310"/>
                </a:lnTo>
                <a:lnTo>
                  <a:pt x="3986" y="304"/>
                </a:lnTo>
                <a:lnTo>
                  <a:pt x="3946" y="304"/>
                </a:lnTo>
                <a:lnTo>
                  <a:pt x="3953" y="317"/>
                </a:lnTo>
                <a:lnTo>
                  <a:pt x="3960" y="329"/>
                </a:lnTo>
                <a:lnTo>
                  <a:pt x="3941" y="318"/>
                </a:lnTo>
                <a:lnTo>
                  <a:pt x="3920" y="305"/>
                </a:lnTo>
                <a:lnTo>
                  <a:pt x="3898" y="294"/>
                </a:lnTo>
                <a:lnTo>
                  <a:pt x="3880" y="286"/>
                </a:lnTo>
                <a:lnTo>
                  <a:pt x="3820" y="286"/>
                </a:lnTo>
                <a:lnTo>
                  <a:pt x="3820" y="287"/>
                </a:lnTo>
                <a:lnTo>
                  <a:pt x="3819" y="288"/>
                </a:lnTo>
                <a:lnTo>
                  <a:pt x="3818" y="288"/>
                </a:lnTo>
                <a:lnTo>
                  <a:pt x="3816" y="287"/>
                </a:lnTo>
                <a:lnTo>
                  <a:pt x="3809" y="286"/>
                </a:lnTo>
                <a:lnTo>
                  <a:pt x="3800" y="283"/>
                </a:lnTo>
                <a:lnTo>
                  <a:pt x="3777" y="274"/>
                </a:lnTo>
                <a:lnTo>
                  <a:pt x="3752" y="265"/>
                </a:lnTo>
                <a:lnTo>
                  <a:pt x="3727" y="256"/>
                </a:lnTo>
                <a:lnTo>
                  <a:pt x="3706" y="249"/>
                </a:lnTo>
                <a:lnTo>
                  <a:pt x="3698" y="247"/>
                </a:lnTo>
                <a:lnTo>
                  <a:pt x="3694" y="246"/>
                </a:lnTo>
                <a:lnTo>
                  <a:pt x="3693" y="246"/>
                </a:lnTo>
                <a:lnTo>
                  <a:pt x="3692" y="247"/>
                </a:lnTo>
                <a:lnTo>
                  <a:pt x="3693" y="248"/>
                </a:lnTo>
                <a:lnTo>
                  <a:pt x="3694" y="249"/>
                </a:lnTo>
                <a:lnTo>
                  <a:pt x="3677" y="249"/>
                </a:lnTo>
                <a:lnTo>
                  <a:pt x="3663" y="251"/>
                </a:lnTo>
                <a:lnTo>
                  <a:pt x="3650" y="253"/>
                </a:lnTo>
                <a:lnTo>
                  <a:pt x="3637" y="255"/>
                </a:lnTo>
                <a:lnTo>
                  <a:pt x="3624" y="257"/>
                </a:lnTo>
                <a:lnTo>
                  <a:pt x="3608" y="259"/>
                </a:lnTo>
                <a:lnTo>
                  <a:pt x="3593" y="261"/>
                </a:lnTo>
                <a:lnTo>
                  <a:pt x="3574" y="261"/>
                </a:lnTo>
                <a:lnTo>
                  <a:pt x="3559" y="261"/>
                </a:lnTo>
                <a:lnTo>
                  <a:pt x="3544" y="260"/>
                </a:lnTo>
                <a:lnTo>
                  <a:pt x="3528" y="258"/>
                </a:lnTo>
                <a:lnTo>
                  <a:pt x="3515" y="256"/>
                </a:lnTo>
                <a:lnTo>
                  <a:pt x="3488" y="252"/>
                </a:lnTo>
                <a:lnTo>
                  <a:pt x="3461" y="246"/>
                </a:lnTo>
                <a:lnTo>
                  <a:pt x="3435" y="240"/>
                </a:lnTo>
                <a:lnTo>
                  <a:pt x="3408" y="236"/>
                </a:lnTo>
                <a:lnTo>
                  <a:pt x="3394" y="234"/>
                </a:lnTo>
                <a:lnTo>
                  <a:pt x="3379" y="232"/>
                </a:lnTo>
                <a:lnTo>
                  <a:pt x="3365" y="231"/>
                </a:lnTo>
                <a:lnTo>
                  <a:pt x="3348" y="231"/>
                </a:lnTo>
                <a:lnTo>
                  <a:pt x="3334" y="227"/>
                </a:lnTo>
                <a:lnTo>
                  <a:pt x="3313" y="219"/>
                </a:lnTo>
                <a:lnTo>
                  <a:pt x="3304" y="216"/>
                </a:lnTo>
                <a:lnTo>
                  <a:pt x="3296" y="214"/>
                </a:lnTo>
                <a:lnTo>
                  <a:pt x="3293" y="214"/>
                </a:lnTo>
                <a:lnTo>
                  <a:pt x="3291" y="215"/>
                </a:lnTo>
                <a:lnTo>
                  <a:pt x="3289" y="216"/>
                </a:lnTo>
                <a:lnTo>
                  <a:pt x="3289" y="218"/>
                </a:lnTo>
                <a:lnTo>
                  <a:pt x="3289" y="221"/>
                </a:lnTo>
                <a:lnTo>
                  <a:pt x="3290" y="226"/>
                </a:lnTo>
                <a:lnTo>
                  <a:pt x="3292" y="229"/>
                </a:lnTo>
                <a:lnTo>
                  <a:pt x="3295" y="233"/>
                </a:lnTo>
                <a:lnTo>
                  <a:pt x="3302" y="240"/>
                </a:lnTo>
                <a:lnTo>
                  <a:pt x="3310" y="247"/>
                </a:lnTo>
                <a:lnTo>
                  <a:pt x="3320" y="252"/>
                </a:lnTo>
                <a:lnTo>
                  <a:pt x="3328" y="257"/>
                </a:lnTo>
                <a:lnTo>
                  <a:pt x="3336" y="260"/>
                </a:lnTo>
                <a:lnTo>
                  <a:pt x="3341" y="261"/>
                </a:lnTo>
                <a:lnTo>
                  <a:pt x="3332" y="260"/>
                </a:lnTo>
                <a:lnTo>
                  <a:pt x="3323" y="257"/>
                </a:lnTo>
                <a:lnTo>
                  <a:pt x="3314" y="255"/>
                </a:lnTo>
                <a:lnTo>
                  <a:pt x="3305" y="251"/>
                </a:lnTo>
                <a:lnTo>
                  <a:pt x="3290" y="244"/>
                </a:lnTo>
                <a:lnTo>
                  <a:pt x="3273" y="235"/>
                </a:lnTo>
                <a:lnTo>
                  <a:pt x="3257" y="225"/>
                </a:lnTo>
                <a:lnTo>
                  <a:pt x="3239" y="213"/>
                </a:lnTo>
                <a:lnTo>
                  <a:pt x="3219" y="203"/>
                </a:lnTo>
                <a:lnTo>
                  <a:pt x="3195" y="193"/>
                </a:lnTo>
                <a:lnTo>
                  <a:pt x="3198" y="192"/>
                </a:lnTo>
                <a:lnTo>
                  <a:pt x="3200" y="190"/>
                </a:lnTo>
                <a:lnTo>
                  <a:pt x="3201" y="186"/>
                </a:lnTo>
                <a:lnTo>
                  <a:pt x="3201" y="181"/>
                </a:lnTo>
                <a:lnTo>
                  <a:pt x="3202" y="173"/>
                </a:lnTo>
                <a:lnTo>
                  <a:pt x="3202" y="169"/>
                </a:lnTo>
                <a:lnTo>
                  <a:pt x="3169" y="169"/>
                </a:lnTo>
                <a:lnTo>
                  <a:pt x="3164" y="170"/>
                </a:lnTo>
                <a:lnTo>
                  <a:pt x="3159" y="173"/>
                </a:lnTo>
                <a:lnTo>
                  <a:pt x="3154" y="177"/>
                </a:lnTo>
                <a:lnTo>
                  <a:pt x="3149" y="181"/>
                </a:lnTo>
                <a:lnTo>
                  <a:pt x="3153" y="187"/>
                </a:lnTo>
                <a:lnTo>
                  <a:pt x="3156" y="193"/>
                </a:lnTo>
                <a:lnTo>
                  <a:pt x="3144" y="196"/>
                </a:lnTo>
                <a:lnTo>
                  <a:pt x="3133" y="199"/>
                </a:lnTo>
                <a:lnTo>
                  <a:pt x="3122" y="203"/>
                </a:lnTo>
                <a:lnTo>
                  <a:pt x="3112" y="206"/>
                </a:lnTo>
                <a:lnTo>
                  <a:pt x="3093" y="215"/>
                </a:lnTo>
                <a:lnTo>
                  <a:pt x="3076" y="225"/>
                </a:lnTo>
                <a:lnTo>
                  <a:pt x="3058" y="235"/>
                </a:lnTo>
                <a:lnTo>
                  <a:pt x="3040" y="245"/>
                </a:lnTo>
                <a:lnTo>
                  <a:pt x="3030" y="249"/>
                </a:lnTo>
                <a:lnTo>
                  <a:pt x="3020" y="253"/>
                </a:lnTo>
                <a:lnTo>
                  <a:pt x="3008" y="257"/>
                </a:lnTo>
                <a:lnTo>
                  <a:pt x="2997" y="261"/>
                </a:lnTo>
                <a:lnTo>
                  <a:pt x="2997" y="257"/>
                </a:lnTo>
                <a:lnTo>
                  <a:pt x="2998" y="252"/>
                </a:lnTo>
                <a:lnTo>
                  <a:pt x="2999" y="248"/>
                </a:lnTo>
                <a:lnTo>
                  <a:pt x="3002" y="243"/>
                </a:lnTo>
                <a:lnTo>
                  <a:pt x="3008" y="235"/>
                </a:lnTo>
                <a:lnTo>
                  <a:pt x="3016" y="226"/>
                </a:lnTo>
                <a:lnTo>
                  <a:pt x="3026" y="217"/>
                </a:lnTo>
                <a:lnTo>
                  <a:pt x="3038" y="209"/>
                </a:lnTo>
                <a:lnTo>
                  <a:pt x="3052" y="201"/>
                </a:lnTo>
                <a:lnTo>
                  <a:pt x="3065" y="193"/>
                </a:lnTo>
                <a:lnTo>
                  <a:pt x="3093" y="179"/>
                </a:lnTo>
                <a:lnTo>
                  <a:pt x="3122" y="165"/>
                </a:lnTo>
                <a:lnTo>
                  <a:pt x="3148" y="154"/>
                </a:lnTo>
                <a:lnTo>
                  <a:pt x="3169" y="144"/>
                </a:lnTo>
                <a:lnTo>
                  <a:pt x="3157" y="136"/>
                </a:lnTo>
                <a:lnTo>
                  <a:pt x="3144" y="129"/>
                </a:lnTo>
                <a:lnTo>
                  <a:pt x="3130" y="122"/>
                </a:lnTo>
                <a:lnTo>
                  <a:pt x="3114" y="115"/>
                </a:lnTo>
                <a:lnTo>
                  <a:pt x="3098" y="107"/>
                </a:lnTo>
                <a:lnTo>
                  <a:pt x="3080" y="102"/>
                </a:lnTo>
                <a:lnTo>
                  <a:pt x="3063" y="96"/>
                </a:lnTo>
                <a:lnTo>
                  <a:pt x="3044" y="91"/>
                </a:lnTo>
                <a:lnTo>
                  <a:pt x="3024" y="86"/>
                </a:lnTo>
                <a:lnTo>
                  <a:pt x="3004" y="82"/>
                </a:lnTo>
                <a:lnTo>
                  <a:pt x="2985" y="79"/>
                </a:lnTo>
                <a:lnTo>
                  <a:pt x="2965" y="76"/>
                </a:lnTo>
                <a:lnTo>
                  <a:pt x="2944" y="74"/>
                </a:lnTo>
                <a:lnTo>
                  <a:pt x="2923" y="72"/>
                </a:lnTo>
                <a:lnTo>
                  <a:pt x="2903" y="71"/>
                </a:lnTo>
                <a:lnTo>
                  <a:pt x="2884" y="70"/>
                </a:lnTo>
                <a:lnTo>
                  <a:pt x="2875" y="71"/>
                </a:lnTo>
                <a:lnTo>
                  <a:pt x="2867" y="72"/>
                </a:lnTo>
                <a:lnTo>
                  <a:pt x="2862" y="74"/>
                </a:lnTo>
                <a:lnTo>
                  <a:pt x="2856" y="76"/>
                </a:lnTo>
                <a:lnTo>
                  <a:pt x="2850" y="79"/>
                </a:lnTo>
                <a:lnTo>
                  <a:pt x="2843" y="81"/>
                </a:lnTo>
                <a:lnTo>
                  <a:pt x="2834" y="82"/>
                </a:lnTo>
                <a:lnTo>
                  <a:pt x="2823" y="83"/>
                </a:lnTo>
                <a:lnTo>
                  <a:pt x="2723" y="64"/>
                </a:lnTo>
                <a:lnTo>
                  <a:pt x="2724" y="58"/>
                </a:lnTo>
                <a:lnTo>
                  <a:pt x="2726" y="52"/>
                </a:lnTo>
                <a:lnTo>
                  <a:pt x="2729" y="47"/>
                </a:lnTo>
                <a:lnTo>
                  <a:pt x="2731" y="42"/>
                </a:lnTo>
                <a:lnTo>
                  <a:pt x="2738" y="33"/>
                </a:lnTo>
                <a:lnTo>
                  <a:pt x="2744" y="21"/>
                </a:lnTo>
                <a:lnTo>
                  <a:pt x="2743" y="19"/>
                </a:lnTo>
                <a:lnTo>
                  <a:pt x="2742" y="17"/>
                </a:lnTo>
                <a:lnTo>
                  <a:pt x="2739" y="15"/>
                </a:lnTo>
                <a:lnTo>
                  <a:pt x="2735" y="13"/>
                </a:lnTo>
                <a:lnTo>
                  <a:pt x="2727" y="10"/>
                </a:lnTo>
                <a:lnTo>
                  <a:pt x="2717" y="9"/>
                </a:lnTo>
                <a:lnTo>
                  <a:pt x="2712" y="5"/>
                </a:lnTo>
                <a:lnTo>
                  <a:pt x="2707" y="1"/>
                </a:lnTo>
                <a:lnTo>
                  <a:pt x="2701" y="0"/>
                </a:lnTo>
                <a:lnTo>
                  <a:pt x="2696" y="0"/>
                </a:lnTo>
                <a:lnTo>
                  <a:pt x="2691" y="3"/>
                </a:lnTo>
                <a:lnTo>
                  <a:pt x="2687" y="7"/>
                </a:lnTo>
                <a:lnTo>
                  <a:pt x="2685" y="13"/>
                </a:lnTo>
                <a:lnTo>
                  <a:pt x="2684" y="21"/>
                </a:lnTo>
                <a:lnTo>
                  <a:pt x="2667" y="24"/>
                </a:lnTo>
                <a:lnTo>
                  <a:pt x="2653" y="29"/>
                </a:lnTo>
                <a:lnTo>
                  <a:pt x="2641" y="34"/>
                </a:lnTo>
                <a:lnTo>
                  <a:pt x="2630" y="40"/>
                </a:lnTo>
                <a:lnTo>
                  <a:pt x="2610" y="53"/>
                </a:lnTo>
                <a:lnTo>
                  <a:pt x="2590" y="64"/>
                </a:lnTo>
                <a:lnTo>
                  <a:pt x="2618" y="83"/>
                </a:lnTo>
                <a:lnTo>
                  <a:pt x="2611" y="83"/>
                </a:lnTo>
                <a:lnTo>
                  <a:pt x="2597" y="83"/>
                </a:lnTo>
                <a:lnTo>
                  <a:pt x="2575" y="83"/>
                </a:lnTo>
                <a:lnTo>
                  <a:pt x="2551" y="83"/>
                </a:lnTo>
                <a:lnTo>
                  <a:pt x="2567" y="97"/>
                </a:lnTo>
                <a:lnTo>
                  <a:pt x="2587" y="118"/>
                </a:lnTo>
                <a:lnTo>
                  <a:pt x="2598" y="128"/>
                </a:lnTo>
                <a:lnTo>
                  <a:pt x="2610" y="136"/>
                </a:lnTo>
                <a:lnTo>
                  <a:pt x="2617" y="140"/>
                </a:lnTo>
                <a:lnTo>
                  <a:pt x="2623" y="142"/>
                </a:lnTo>
                <a:lnTo>
                  <a:pt x="2630" y="144"/>
                </a:lnTo>
                <a:lnTo>
                  <a:pt x="2638" y="144"/>
                </a:lnTo>
                <a:lnTo>
                  <a:pt x="2630" y="144"/>
                </a:lnTo>
                <a:lnTo>
                  <a:pt x="2623" y="142"/>
                </a:lnTo>
                <a:lnTo>
                  <a:pt x="2618" y="140"/>
                </a:lnTo>
                <a:lnTo>
                  <a:pt x="2611" y="137"/>
                </a:lnTo>
                <a:lnTo>
                  <a:pt x="2600" y="130"/>
                </a:lnTo>
                <a:lnTo>
                  <a:pt x="2590" y="121"/>
                </a:lnTo>
                <a:lnTo>
                  <a:pt x="2579" y="110"/>
                </a:lnTo>
                <a:lnTo>
                  <a:pt x="2567" y="100"/>
                </a:lnTo>
                <a:lnTo>
                  <a:pt x="2561" y="95"/>
                </a:lnTo>
                <a:lnTo>
                  <a:pt x="2554" y="90"/>
                </a:lnTo>
                <a:lnTo>
                  <a:pt x="2547" y="86"/>
                </a:lnTo>
                <a:lnTo>
                  <a:pt x="2538" y="83"/>
                </a:lnTo>
                <a:lnTo>
                  <a:pt x="2465" y="114"/>
                </a:lnTo>
                <a:lnTo>
                  <a:pt x="2462" y="110"/>
                </a:lnTo>
                <a:lnTo>
                  <a:pt x="2455" y="104"/>
                </a:lnTo>
                <a:lnTo>
                  <a:pt x="2451" y="100"/>
                </a:lnTo>
                <a:lnTo>
                  <a:pt x="2446" y="98"/>
                </a:lnTo>
                <a:lnTo>
                  <a:pt x="2439" y="95"/>
                </a:lnTo>
                <a:lnTo>
                  <a:pt x="2431" y="95"/>
                </a:lnTo>
                <a:lnTo>
                  <a:pt x="2410" y="95"/>
                </a:lnTo>
                <a:lnTo>
                  <a:pt x="2391" y="98"/>
                </a:lnTo>
                <a:lnTo>
                  <a:pt x="2372" y="101"/>
                </a:lnTo>
                <a:lnTo>
                  <a:pt x="2354" y="105"/>
                </a:lnTo>
                <a:lnTo>
                  <a:pt x="2319" y="117"/>
                </a:lnTo>
                <a:lnTo>
                  <a:pt x="2284" y="129"/>
                </a:lnTo>
                <a:lnTo>
                  <a:pt x="2250" y="141"/>
                </a:lnTo>
                <a:lnTo>
                  <a:pt x="2214" y="152"/>
                </a:lnTo>
                <a:lnTo>
                  <a:pt x="2195" y="156"/>
                </a:lnTo>
                <a:lnTo>
                  <a:pt x="2175" y="159"/>
                </a:lnTo>
                <a:lnTo>
                  <a:pt x="2155" y="161"/>
                </a:lnTo>
                <a:lnTo>
                  <a:pt x="2133" y="162"/>
                </a:lnTo>
                <a:lnTo>
                  <a:pt x="2134" y="167"/>
                </a:lnTo>
                <a:lnTo>
                  <a:pt x="2137" y="173"/>
                </a:lnTo>
                <a:lnTo>
                  <a:pt x="2142" y="178"/>
                </a:lnTo>
                <a:lnTo>
                  <a:pt x="2149" y="183"/>
                </a:lnTo>
                <a:lnTo>
                  <a:pt x="2157" y="187"/>
                </a:lnTo>
                <a:lnTo>
                  <a:pt x="2167" y="190"/>
                </a:lnTo>
                <a:lnTo>
                  <a:pt x="2175" y="193"/>
                </a:lnTo>
                <a:lnTo>
                  <a:pt x="2185" y="193"/>
                </a:lnTo>
                <a:lnTo>
                  <a:pt x="2186" y="198"/>
                </a:lnTo>
                <a:lnTo>
                  <a:pt x="2187" y="203"/>
                </a:lnTo>
                <a:lnTo>
                  <a:pt x="2190" y="208"/>
                </a:lnTo>
                <a:lnTo>
                  <a:pt x="2192" y="213"/>
                </a:lnTo>
                <a:lnTo>
                  <a:pt x="2198" y="225"/>
                </a:lnTo>
                <a:lnTo>
                  <a:pt x="2207" y="235"/>
                </a:lnTo>
                <a:lnTo>
                  <a:pt x="2216" y="244"/>
                </a:lnTo>
                <a:lnTo>
                  <a:pt x="2225" y="251"/>
                </a:lnTo>
                <a:lnTo>
                  <a:pt x="2233" y="257"/>
                </a:lnTo>
                <a:lnTo>
                  <a:pt x="2239" y="261"/>
                </a:lnTo>
                <a:lnTo>
                  <a:pt x="2233" y="261"/>
                </a:lnTo>
                <a:lnTo>
                  <a:pt x="2227" y="260"/>
                </a:lnTo>
                <a:lnTo>
                  <a:pt x="2223" y="259"/>
                </a:lnTo>
                <a:lnTo>
                  <a:pt x="2217" y="257"/>
                </a:lnTo>
                <a:lnTo>
                  <a:pt x="2214" y="254"/>
                </a:lnTo>
                <a:lnTo>
                  <a:pt x="2209" y="251"/>
                </a:lnTo>
                <a:lnTo>
                  <a:pt x="2206" y="248"/>
                </a:lnTo>
                <a:lnTo>
                  <a:pt x="2203" y="244"/>
                </a:lnTo>
                <a:lnTo>
                  <a:pt x="2198" y="236"/>
                </a:lnTo>
                <a:lnTo>
                  <a:pt x="2195" y="225"/>
                </a:lnTo>
                <a:lnTo>
                  <a:pt x="2193" y="213"/>
                </a:lnTo>
                <a:lnTo>
                  <a:pt x="2192" y="200"/>
                </a:lnTo>
                <a:lnTo>
                  <a:pt x="2190" y="201"/>
                </a:lnTo>
                <a:lnTo>
                  <a:pt x="2186" y="202"/>
                </a:lnTo>
                <a:lnTo>
                  <a:pt x="2182" y="202"/>
                </a:lnTo>
                <a:lnTo>
                  <a:pt x="2179" y="202"/>
                </a:lnTo>
                <a:lnTo>
                  <a:pt x="2169" y="200"/>
                </a:lnTo>
                <a:lnTo>
                  <a:pt x="2159" y="200"/>
                </a:lnTo>
                <a:lnTo>
                  <a:pt x="2150" y="200"/>
                </a:lnTo>
                <a:lnTo>
                  <a:pt x="2141" y="202"/>
                </a:lnTo>
                <a:lnTo>
                  <a:pt x="2134" y="205"/>
                </a:lnTo>
                <a:lnTo>
                  <a:pt x="2126" y="209"/>
                </a:lnTo>
                <a:lnTo>
                  <a:pt x="2118" y="212"/>
                </a:lnTo>
                <a:lnTo>
                  <a:pt x="2111" y="215"/>
                </a:lnTo>
                <a:lnTo>
                  <a:pt x="2102" y="217"/>
                </a:lnTo>
                <a:lnTo>
                  <a:pt x="2093" y="218"/>
                </a:lnTo>
                <a:lnTo>
                  <a:pt x="2083" y="217"/>
                </a:lnTo>
                <a:lnTo>
                  <a:pt x="2073" y="214"/>
                </a:lnTo>
                <a:lnTo>
                  <a:pt x="2066" y="210"/>
                </a:lnTo>
                <a:lnTo>
                  <a:pt x="2059" y="206"/>
                </a:lnTo>
                <a:lnTo>
                  <a:pt x="2020" y="218"/>
                </a:lnTo>
                <a:lnTo>
                  <a:pt x="2013" y="218"/>
                </a:lnTo>
                <a:lnTo>
                  <a:pt x="2000" y="219"/>
                </a:lnTo>
                <a:lnTo>
                  <a:pt x="1992" y="221"/>
                </a:lnTo>
                <a:lnTo>
                  <a:pt x="1985" y="223"/>
                </a:lnTo>
                <a:lnTo>
                  <a:pt x="1983" y="225"/>
                </a:lnTo>
                <a:lnTo>
                  <a:pt x="1981" y="227"/>
                </a:lnTo>
                <a:lnTo>
                  <a:pt x="1980" y="229"/>
                </a:lnTo>
                <a:lnTo>
                  <a:pt x="1980" y="231"/>
                </a:lnTo>
                <a:lnTo>
                  <a:pt x="1980" y="234"/>
                </a:lnTo>
                <a:lnTo>
                  <a:pt x="1982" y="238"/>
                </a:lnTo>
                <a:lnTo>
                  <a:pt x="1984" y="242"/>
                </a:lnTo>
                <a:lnTo>
                  <a:pt x="1988" y="245"/>
                </a:lnTo>
                <a:lnTo>
                  <a:pt x="1996" y="253"/>
                </a:lnTo>
                <a:lnTo>
                  <a:pt x="2009" y="261"/>
                </a:lnTo>
                <a:lnTo>
                  <a:pt x="2023" y="270"/>
                </a:lnTo>
                <a:lnTo>
                  <a:pt x="2038" y="278"/>
                </a:lnTo>
                <a:lnTo>
                  <a:pt x="2056" y="287"/>
                </a:lnTo>
                <a:lnTo>
                  <a:pt x="2074" y="295"/>
                </a:lnTo>
                <a:lnTo>
                  <a:pt x="2112" y="311"/>
                </a:lnTo>
                <a:lnTo>
                  <a:pt x="2148" y="324"/>
                </a:lnTo>
                <a:lnTo>
                  <a:pt x="2178" y="334"/>
                </a:lnTo>
                <a:lnTo>
                  <a:pt x="2198" y="342"/>
                </a:lnTo>
                <a:lnTo>
                  <a:pt x="2200" y="352"/>
                </a:lnTo>
                <a:lnTo>
                  <a:pt x="2202" y="361"/>
                </a:lnTo>
                <a:lnTo>
                  <a:pt x="2204" y="369"/>
                </a:lnTo>
                <a:lnTo>
                  <a:pt x="2207" y="376"/>
                </a:lnTo>
                <a:lnTo>
                  <a:pt x="2216" y="389"/>
                </a:lnTo>
                <a:lnTo>
                  <a:pt x="2226" y="403"/>
                </a:lnTo>
                <a:lnTo>
                  <a:pt x="2214" y="405"/>
                </a:lnTo>
                <a:lnTo>
                  <a:pt x="2203" y="404"/>
                </a:lnTo>
                <a:lnTo>
                  <a:pt x="2193" y="402"/>
                </a:lnTo>
                <a:lnTo>
                  <a:pt x="2184" y="399"/>
                </a:lnTo>
                <a:lnTo>
                  <a:pt x="2177" y="394"/>
                </a:lnTo>
                <a:lnTo>
                  <a:pt x="2169" y="387"/>
                </a:lnTo>
                <a:lnTo>
                  <a:pt x="2161" y="381"/>
                </a:lnTo>
                <a:lnTo>
                  <a:pt x="2155" y="374"/>
                </a:lnTo>
                <a:lnTo>
                  <a:pt x="2142" y="360"/>
                </a:lnTo>
                <a:lnTo>
                  <a:pt x="2129" y="345"/>
                </a:lnTo>
                <a:lnTo>
                  <a:pt x="2123" y="339"/>
                </a:lnTo>
                <a:lnTo>
                  <a:pt x="2115" y="332"/>
                </a:lnTo>
                <a:lnTo>
                  <a:pt x="2107" y="327"/>
                </a:lnTo>
                <a:lnTo>
                  <a:pt x="2100" y="323"/>
                </a:lnTo>
                <a:lnTo>
                  <a:pt x="2065" y="315"/>
                </a:lnTo>
                <a:lnTo>
                  <a:pt x="2020" y="305"/>
                </a:lnTo>
                <a:lnTo>
                  <a:pt x="2009" y="302"/>
                </a:lnTo>
                <a:lnTo>
                  <a:pt x="1999" y="298"/>
                </a:lnTo>
                <a:lnTo>
                  <a:pt x="1989" y="293"/>
                </a:lnTo>
                <a:lnTo>
                  <a:pt x="1980" y="288"/>
                </a:lnTo>
                <a:lnTo>
                  <a:pt x="1972" y="281"/>
                </a:lnTo>
                <a:lnTo>
                  <a:pt x="1967" y="273"/>
                </a:lnTo>
                <a:lnTo>
                  <a:pt x="1964" y="269"/>
                </a:lnTo>
                <a:lnTo>
                  <a:pt x="1962" y="265"/>
                </a:lnTo>
                <a:lnTo>
                  <a:pt x="1960" y="260"/>
                </a:lnTo>
                <a:lnTo>
                  <a:pt x="1960" y="255"/>
                </a:lnTo>
                <a:lnTo>
                  <a:pt x="1947" y="255"/>
                </a:lnTo>
                <a:lnTo>
                  <a:pt x="1940" y="255"/>
                </a:lnTo>
                <a:lnTo>
                  <a:pt x="1933" y="256"/>
                </a:lnTo>
                <a:lnTo>
                  <a:pt x="1927" y="258"/>
                </a:lnTo>
                <a:lnTo>
                  <a:pt x="1922" y="261"/>
                </a:lnTo>
                <a:lnTo>
                  <a:pt x="1916" y="264"/>
                </a:lnTo>
                <a:lnTo>
                  <a:pt x="1910" y="267"/>
                </a:lnTo>
                <a:lnTo>
                  <a:pt x="1903" y="270"/>
                </a:lnTo>
                <a:lnTo>
                  <a:pt x="1895" y="272"/>
                </a:lnTo>
                <a:lnTo>
                  <a:pt x="1887" y="273"/>
                </a:lnTo>
                <a:lnTo>
                  <a:pt x="1882" y="287"/>
                </a:lnTo>
                <a:lnTo>
                  <a:pt x="1879" y="297"/>
                </a:lnTo>
                <a:lnTo>
                  <a:pt x="1877" y="301"/>
                </a:lnTo>
                <a:lnTo>
                  <a:pt x="1875" y="305"/>
                </a:lnTo>
                <a:lnTo>
                  <a:pt x="1871" y="308"/>
                </a:lnTo>
                <a:lnTo>
                  <a:pt x="1867" y="310"/>
                </a:lnTo>
                <a:lnTo>
                  <a:pt x="1871" y="316"/>
                </a:lnTo>
                <a:lnTo>
                  <a:pt x="1876" y="320"/>
                </a:lnTo>
                <a:lnTo>
                  <a:pt x="1882" y="325"/>
                </a:lnTo>
                <a:lnTo>
                  <a:pt x="1889" y="328"/>
                </a:lnTo>
                <a:lnTo>
                  <a:pt x="1903" y="334"/>
                </a:lnTo>
                <a:lnTo>
                  <a:pt x="1921" y="340"/>
                </a:lnTo>
                <a:lnTo>
                  <a:pt x="1959" y="349"/>
                </a:lnTo>
                <a:lnTo>
                  <a:pt x="2000" y="360"/>
                </a:lnTo>
                <a:lnTo>
                  <a:pt x="1954" y="360"/>
                </a:lnTo>
                <a:lnTo>
                  <a:pt x="1929" y="354"/>
                </a:lnTo>
                <a:lnTo>
                  <a:pt x="1906" y="349"/>
                </a:lnTo>
                <a:lnTo>
                  <a:pt x="1886" y="344"/>
                </a:lnTo>
                <a:lnTo>
                  <a:pt x="1866" y="338"/>
                </a:lnTo>
                <a:lnTo>
                  <a:pt x="1857" y="333"/>
                </a:lnTo>
                <a:lnTo>
                  <a:pt x="1849" y="328"/>
                </a:lnTo>
                <a:lnTo>
                  <a:pt x="1842" y="322"/>
                </a:lnTo>
                <a:lnTo>
                  <a:pt x="1835" y="315"/>
                </a:lnTo>
                <a:lnTo>
                  <a:pt x="1828" y="307"/>
                </a:lnTo>
                <a:lnTo>
                  <a:pt x="1823" y="298"/>
                </a:lnTo>
                <a:lnTo>
                  <a:pt x="1817" y="287"/>
                </a:lnTo>
                <a:lnTo>
                  <a:pt x="1814" y="273"/>
                </a:lnTo>
                <a:lnTo>
                  <a:pt x="1787" y="273"/>
                </a:lnTo>
                <a:lnTo>
                  <a:pt x="1787" y="282"/>
                </a:lnTo>
                <a:lnTo>
                  <a:pt x="1786" y="288"/>
                </a:lnTo>
                <a:lnTo>
                  <a:pt x="1785" y="293"/>
                </a:lnTo>
                <a:lnTo>
                  <a:pt x="1782" y="298"/>
                </a:lnTo>
                <a:lnTo>
                  <a:pt x="1776" y="306"/>
                </a:lnTo>
                <a:lnTo>
                  <a:pt x="1767" y="316"/>
                </a:lnTo>
                <a:lnTo>
                  <a:pt x="1771" y="323"/>
                </a:lnTo>
                <a:lnTo>
                  <a:pt x="1775" y="328"/>
                </a:lnTo>
                <a:lnTo>
                  <a:pt x="1779" y="332"/>
                </a:lnTo>
                <a:lnTo>
                  <a:pt x="1785" y="336"/>
                </a:lnTo>
                <a:lnTo>
                  <a:pt x="1793" y="342"/>
                </a:lnTo>
                <a:lnTo>
                  <a:pt x="1803" y="346"/>
                </a:lnTo>
                <a:lnTo>
                  <a:pt x="1813" y="351"/>
                </a:lnTo>
                <a:lnTo>
                  <a:pt x="1823" y="358"/>
                </a:lnTo>
                <a:lnTo>
                  <a:pt x="1827" y="363"/>
                </a:lnTo>
                <a:lnTo>
                  <a:pt x="1832" y="369"/>
                </a:lnTo>
                <a:lnTo>
                  <a:pt x="1836" y="376"/>
                </a:lnTo>
                <a:lnTo>
                  <a:pt x="1841" y="384"/>
                </a:lnTo>
                <a:lnTo>
                  <a:pt x="1842" y="389"/>
                </a:lnTo>
                <a:lnTo>
                  <a:pt x="1843" y="396"/>
                </a:lnTo>
                <a:lnTo>
                  <a:pt x="1844" y="402"/>
                </a:lnTo>
                <a:lnTo>
                  <a:pt x="1844" y="409"/>
                </a:lnTo>
                <a:lnTo>
                  <a:pt x="1844" y="415"/>
                </a:lnTo>
                <a:lnTo>
                  <a:pt x="1844" y="420"/>
                </a:lnTo>
                <a:lnTo>
                  <a:pt x="1845" y="424"/>
                </a:lnTo>
                <a:lnTo>
                  <a:pt x="1847" y="427"/>
                </a:lnTo>
                <a:lnTo>
                  <a:pt x="1859" y="436"/>
                </a:lnTo>
                <a:lnTo>
                  <a:pt x="1868" y="444"/>
                </a:lnTo>
                <a:lnTo>
                  <a:pt x="1872" y="448"/>
                </a:lnTo>
                <a:lnTo>
                  <a:pt x="1878" y="451"/>
                </a:lnTo>
                <a:lnTo>
                  <a:pt x="1884" y="452"/>
                </a:lnTo>
                <a:lnTo>
                  <a:pt x="1893" y="453"/>
                </a:lnTo>
                <a:lnTo>
                  <a:pt x="1902" y="452"/>
                </a:lnTo>
                <a:lnTo>
                  <a:pt x="1910" y="450"/>
                </a:lnTo>
                <a:lnTo>
                  <a:pt x="1917" y="446"/>
                </a:lnTo>
                <a:lnTo>
                  <a:pt x="1923" y="443"/>
                </a:lnTo>
                <a:lnTo>
                  <a:pt x="1929" y="439"/>
                </a:lnTo>
                <a:lnTo>
                  <a:pt x="1936" y="436"/>
                </a:lnTo>
                <a:lnTo>
                  <a:pt x="1944" y="434"/>
                </a:lnTo>
                <a:lnTo>
                  <a:pt x="1954" y="433"/>
                </a:lnTo>
                <a:lnTo>
                  <a:pt x="1961" y="434"/>
                </a:lnTo>
                <a:lnTo>
                  <a:pt x="1970" y="435"/>
                </a:lnTo>
                <a:lnTo>
                  <a:pt x="1978" y="437"/>
                </a:lnTo>
                <a:lnTo>
                  <a:pt x="1985" y="439"/>
                </a:lnTo>
                <a:lnTo>
                  <a:pt x="1999" y="445"/>
                </a:lnTo>
                <a:lnTo>
                  <a:pt x="2013" y="453"/>
                </a:lnTo>
                <a:lnTo>
                  <a:pt x="2027" y="459"/>
                </a:lnTo>
                <a:lnTo>
                  <a:pt x="2041" y="465"/>
                </a:lnTo>
                <a:lnTo>
                  <a:pt x="2048" y="467"/>
                </a:lnTo>
                <a:lnTo>
                  <a:pt x="2056" y="469"/>
                </a:lnTo>
                <a:lnTo>
                  <a:pt x="2065" y="470"/>
                </a:lnTo>
                <a:lnTo>
                  <a:pt x="2073" y="471"/>
                </a:lnTo>
                <a:lnTo>
                  <a:pt x="2076" y="482"/>
                </a:lnTo>
                <a:lnTo>
                  <a:pt x="2078" y="492"/>
                </a:lnTo>
                <a:lnTo>
                  <a:pt x="2082" y="503"/>
                </a:lnTo>
                <a:lnTo>
                  <a:pt x="2086" y="511"/>
                </a:lnTo>
                <a:lnTo>
                  <a:pt x="2090" y="515"/>
                </a:lnTo>
                <a:lnTo>
                  <a:pt x="2093" y="518"/>
                </a:lnTo>
                <a:lnTo>
                  <a:pt x="2097" y="522"/>
                </a:lnTo>
                <a:lnTo>
                  <a:pt x="2102" y="525"/>
                </a:lnTo>
                <a:lnTo>
                  <a:pt x="2106" y="527"/>
                </a:lnTo>
                <a:lnTo>
                  <a:pt x="2113" y="529"/>
                </a:lnTo>
                <a:lnTo>
                  <a:pt x="2118" y="531"/>
                </a:lnTo>
                <a:lnTo>
                  <a:pt x="2126" y="532"/>
                </a:lnTo>
                <a:lnTo>
                  <a:pt x="2111" y="532"/>
                </a:lnTo>
                <a:lnTo>
                  <a:pt x="2100" y="532"/>
                </a:lnTo>
                <a:lnTo>
                  <a:pt x="2093" y="532"/>
                </a:lnTo>
                <a:lnTo>
                  <a:pt x="2086" y="531"/>
                </a:lnTo>
                <a:lnTo>
                  <a:pt x="2081" y="530"/>
                </a:lnTo>
                <a:lnTo>
                  <a:pt x="2076" y="529"/>
                </a:lnTo>
                <a:lnTo>
                  <a:pt x="2067" y="524"/>
                </a:lnTo>
                <a:lnTo>
                  <a:pt x="2059" y="519"/>
                </a:lnTo>
                <a:lnTo>
                  <a:pt x="2052" y="513"/>
                </a:lnTo>
                <a:lnTo>
                  <a:pt x="2046" y="506"/>
                </a:lnTo>
                <a:lnTo>
                  <a:pt x="2040" y="497"/>
                </a:lnTo>
                <a:lnTo>
                  <a:pt x="2035" y="489"/>
                </a:lnTo>
                <a:lnTo>
                  <a:pt x="2030" y="481"/>
                </a:lnTo>
                <a:lnTo>
                  <a:pt x="2024" y="473"/>
                </a:lnTo>
                <a:lnTo>
                  <a:pt x="2017" y="466"/>
                </a:lnTo>
                <a:lnTo>
                  <a:pt x="2011" y="460"/>
                </a:lnTo>
                <a:lnTo>
                  <a:pt x="2002" y="454"/>
                </a:lnTo>
                <a:lnTo>
                  <a:pt x="1992" y="450"/>
                </a:lnTo>
                <a:lnTo>
                  <a:pt x="1980" y="448"/>
                </a:lnTo>
                <a:lnTo>
                  <a:pt x="1967" y="446"/>
                </a:lnTo>
                <a:lnTo>
                  <a:pt x="1959" y="446"/>
                </a:lnTo>
                <a:lnTo>
                  <a:pt x="1953" y="449"/>
                </a:lnTo>
                <a:lnTo>
                  <a:pt x="1946" y="451"/>
                </a:lnTo>
                <a:lnTo>
                  <a:pt x="1939" y="453"/>
                </a:lnTo>
                <a:lnTo>
                  <a:pt x="1927" y="459"/>
                </a:lnTo>
                <a:lnTo>
                  <a:pt x="1913" y="465"/>
                </a:lnTo>
                <a:lnTo>
                  <a:pt x="1918" y="477"/>
                </a:lnTo>
                <a:lnTo>
                  <a:pt x="1932" y="499"/>
                </a:lnTo>
                <a:lnTo>
                  <a:pt x="1939" y="512"/>
                </a:lnTo>
                <a:lnTo>
                  <a:pt x="1947" y="523"/>
                </a:lnTo>
                <a:lnTo>
                  <a:pt x="1954" y="532"/>
                </a:lnTo>
                <a:lnTo>
                  <a:pt x="1960" y="538"/>
                </a:lnTo>
                <a:lnTo>
                  <a:pt x="1945" y="554"/>
                </a:lnTo>
                <a:lnTo>
                  <a:pt x="1929" y="573"/>
                </a:lnTo>
                <a:lnTo>
                  <a:pt x="1924" y="578"/>
                </a:lnTo>
                <a:lnTo>
                  <a:pt x="1918" y="581"/>
                </a:lnTo>
                <a:lnTo>
                  <a:pt x="1913" y="585"/>
                </a:lnTo>
                <a:lnTo>
                  <a:pt x="1906" y="588"/>
                </a:lnTo>
                <a:lnTo>
                  <a:pt x="1900" y="590"/>
                </a:lnTo>
                <a:lnTo>
                  <a:pt x="1892" y="592"/>
                </a:lnTo>
                <a:lnTo>
                  <a:pt x="1883" y="593"/>
                </a:lnTo>
                <a:lnTo>
                  <a:pt x="1873" y="594"/>
                </a:lnTo>
                <a:lnTo>
                  <a:pt x="1855" y="595"/>
                </a:lnTo>
                <a:lnTo>
                  <a:pt x="1838" y="597"/>
                </a:lnTo>
                <a:lnTo>
                  <a:pt x="1823" y="600"/>
                </a:lnTo>
                <a:lnTo>
                  <a:pt x="1810" y="603"/>
                </a:lnTo>
                <a:lnTo>
                  <a:pt x="1797" y="604"/>
                </a:lnTo>
                <a:lnTo>
                  <a:pt x="1785" y="604"/>
                </a:lnTo>
                <a:lnTo>
                  <a:pt x="1779" y="603"/>
                </a:lnTo>
                <a:lnTo>
                  <a:pt x="1772" y="601"/>
                </a:lnTo>
                <a:lnTo>
                  <a:pt x="1767" y="598"/>
                </a:lnTo>
                <a:lnTo>
                  <a:pt x="1760" y="594"/>
                </a:lnTo>
                <a:lnTo>
                  <a:pt x="1778" y="593"/>
                </a:lnTo>
                <a:lnTo>
                  <a:pt x="1793" y="591"/>
                </a:lnTo>
                <a:lnTo>
                  <a:pt x="1806" y="589"/>
                </a:lnTo>
                <a:lnTo>
                  <a:pt x="1821" y="588"/>
                </a:lnTo>
                <a:lnTo>
                  <a:pt x="1826" y="587"/>
                </a:lnTo>
                <a:lnTo>
                  <a:pt x="1832" y="586"/>
                </a:lnTo>
                <a:lnTo>
                  <a:pt x="1837" y="585"/>
                </a:lnTo>
                <a:lnTo>
                  <a:pt x="1843" y="583"/>
                </a:lnTo>
                <a:lnTo>
                  <a:pt x="1847" y="580"/>
                </a:lnTo>
                <a:lnTo>
                  <a:pt x="1852" y="577"/>
                </a:lnTo>
                <a:lnTo>
                  <a:pt x="1856" y="573"/>
                </a:lnTo>
                <a:lnTo>
                  <a:pt x="1859" y="569"/>
                </a:lnTo>
                <a:lnTo>
                  <a:pt x="1866" y="560"/>
                </a:lnTo>
                <a:lnTo>
                  <a:pt x="1870" y="548"/>
                </a:lnTo>
                <a:lnTo>
                  <a:pt x="1872" y="538"/>
                </a:lnTo>
                <a:lnTo>
                  <a:pt x="1873" y="526"/>
                </a:lnTo>
                <a:lnTo>
                  <a:pt x="1873" y="520"/>
                </a:lnTo>
                <a:lnTo>
                  <a:pt x="1873" y="512"/>
                </a:lnTo>
                <a:lnTo>
                  <a:pt x="1873" y="499"/>
                </a:lnTo>
                <a:lnTo>
                  <a:pt x="1873" y="483"/>
                </a:lnTo>
                <a:lnTo>
                  <a:pt x="1860" y="480"/>
                </a:lnTo>
                <a:lnTo>
                  <a:pt x="1849" y="476"/>
                </a:lnTo>
                <a:lnTo>
                  <a:pt x="1839" y="470"/>
                </a:lnTo>
                <a:lnTo>
                  <a:pt x="1832" y="464"/>
                </a:lnTo>
                <a:lnTo>
                  <a:pt x="1824" y="457"/>
                </a:lnTo>
                <a:lnTo>
                  <a:pt x="1817" y="449"/>
                </a:lnTo>
                <a:lnTo>
                  <a:pt x="1812" y="440"/>
                </a:lnTo>
                <a:lnTo>
                  <a:pt x="1806" y="431"/>
                </a:lnTo>
                <a:lnTo>
                  <a:pt x="1796" y="413"/>
                </a:lnTo>
                <a:lnTo>
                  <a:pt x="1785" y="396"/>
                </a:lnTo>
                <a:lnTo>
                  <a:pt x="1778" y="387"/>
                </a:lnTo>
                <a:lnTo>
                  <a:pt x="1771" y="379"/>
                </a:lnTo>
                <a:lnTo>
                  <a:pt x="1764" y="372"/>
                </a:lnTo>
                <a:lnTo>
                  <a:pt x="1754" y="366"/>
                </a:lnTo>
                <a:lnTo>
                  <a:pt x="1708" y="348"/>
                </a:lnTo>
                <a:lnTo>
                  <a:pt x="1705" y="342"/>
                </a:lnTo>
                <a:lnTo>
                  <a:pt x="1707" y="333"/>
                </a:lnTo>
                <a:lnTo>
                  <a:pt x="1708" y="324"/>
                </a:lnTo>
                <a:lnTo>
                  <a:pt x="1709" y="313"/>
                </a:lnTo>
                <a:lnTo>
                  <a:pt x="1710" y="303"/>
                </a:lnTo>
                <a:lnTo>
                  <a:pt x="1709" y="294"/>
                </a:lnTo>
                <a:lnTo>
                  <a:pt x="1708" y="290"/>
                </a:lnTo>
                <a:lnTo>
                  <a:pt x="1707" y="286"/>
                </a:lnTo>
                <a:lnTo>
                  <a:pt x="1704" y="283"/>
                </a:lnTo>
                <a:lnTo>
                  <a:pt x="1701" y="279"/>
                </a:lnTo>
                <a:lnTo>
                  <a:pt x="1698" y="276"/>
                </a:lnTo>
                <a:lnTo>
                  <a:pt x="1693" y="273"/>
                </a:lnTo>
                <a:lnTo>
                  <a:pt x="1689" y="271"/>
                </a:lnTo>
                <a:lnTo>
                  <a:pt x="1682" y="269"/>
                </a:lnTo>
                <a:lnTo>
                  <a:pt x="1669" y="266"/>
                </a:lnTo>
                <a:lnTo>
                  <a:pt x="1654" y="263"/>
                </a:lnTo>
                <a:lnTo>
                  <a:pt x="1618" y="261"/>
                </a:lnTo>
                <a:lnTo>
                  <a:pt x="1581" y="261"/>
                </a:lnTo>
                <a:lnTo>
                  <a:pt x="1596" y="257"/>
                </a:lnTo>
                <a:lnTo>
                  <a:pt x="1609" y="253"/>
                </a:lnTo>
                <a:lnTo>
                  <a:pt x="1613" y="249"/>
                </a:lnTo>
                <a:lnTo>
                  <a:pt x="1618" y="245"/>
                </a:lnTo>
                <a:lnTo>
                  <a:pt x="1620" y="239"/>
                </a:lnTo>
                <a:lnTo>
                  <a:pt x="1621" y="231"/>
                </a:lnTo>
                <a:lnTo>
                  <a:pt x="1608" y="231"/>
                </a:lnTo>
                <a:lnTo>
                  <a:pt x="1596" y="231"/>
                </a:lnTo>
                <a:lnTo>
                  <a:pt x="1581" y="231"/>
                </a:lnTo>
                <a:lnTo>
                  <a:pt x="1562" y="231"/>
                </a:lnTo>
                <a:lnTo>
                  <a:pt x="1559" y="246"/>
                </a:lnTo>
                <a:lnTo>
                  <a:pt x="1555" y="263"/>
                </a:lnTo>
                <a:lnTo>
                  <a:pt x="1550" y="279"/>
                </a:lnTo>
                <a:lnTo>
                  <a:pt x="1548" y="292"/>
                </a:lnTo>
                <a:lnTo>
                  <a:pt x="1548" y="294"/>
                </a:lnTo>
                <a:lnTo>
                  <a:pt x="1550" y="295"/>
                </a:lnTo>
                <a:lnTo>
                  <a:pt x="1552" y="295"/>
                </a:lnTo>
                <a:lnTo>
                  <a:pt x="1555" y="295"/>
                </a:lnTo>
                <a:lnTo>
                  <a:pt x="1559" y="293"/>
                </a:lnTo>
                <a:lnTo>
                  <a:pt x="1562" y="292"/>
                </a:lnTo>
                <a:lnTo>
                  <a:pt x="1562" y="323"/>
                </a:lnTo>
                <a:lnTo>
                  <a:pt x="1552" y="327"/>
                </a:lnTo>
                <a:lnTo>
                  <a:pt x="1543" y="331"/>
                </a:lnTo>
                <a:lnTo>
                  <a:pt x="1537" y="332"/>
                </a:lnTo>
                <a:lnTo>
                  <a:pt x="1531" y="334"/>
                </a:lnTo>
                <a:lnTo>
                  <a:pt x="1524" y="334"/>
                </a:lnTo>
                <a:lnTo>
                  <a:pt x="1514" y="336"/>
                </a:lnTo>
                <a:lnTo>
                  <a:pt x="1514" y="345"/>
                </a:lnTo>
                <a:lnTo>
                  <a:pt x="1514" y="354"/>
                </a:lnTo>
                <a:lnTo>
                  <a:pt x="1532" y="375"/>
                </a:lnTo>
                <a:lnTo>
                  <a:pt x="1555" y="404"/>
                </a:lnTo>
                <a:lnTo>
                  <a:pt x="1562" y="411"/>
                </a:lnTo>
                <a:lnTo>
                  <a:pt x="1569" y="418"/>
                </a:lnTo>
                <a:lnTo>
                  <a:pt x="1577" y="424"/>
                </a:lnTo>
                <a:lnTo>
                  <a:pt x="1585" y="429"/>
                </a:lnTo>
                <a:lnTo>
                  <a:pt x="1593" y="433"/>
                </a:lnTo>
                <a:lnTo>
                  <a:pt x="1602" y="437"/>
                </a:lnTo>
                <a:lnTo>
                  <a:pt x="1611" y="439"/>
                </a:lnTo>
                <a:lnTo>
                  <a:pt x="1621" y="439"/>
                </a:lnTo>
                <a:lnTo>
                  <a:pt x="1622" y="445"/>
                </a:lnTo>
                <a:lnTo>
                  <a:pt x="1623" y="451"/>
                </a:lnTo>
                <a:lnTo>
                  <a:pt x="1625" y="455"/>
                </a:lnTo>
                <a:lnTo>
                  <a:pt x="1629" y="458"/>
                </a:lnTo>
                <a:lnTo>
                  <a:pt x="1636" y="465"/>
                </a:lnTo>
                <a:lnTo>
                  <a:pt x="1645" y="471"/>
                </a:lnTo>
                <a:lnTo>
                  <a:pt x="1654" y="477"/>
                </a:lnTo>
                <a:lnTo>
                  <a:pt x="1663" y="483"/>
                </a:lnTo>
                <a:lnTo>
                  <a:pt x="1667" y="487"/>
                </a:lnTo>
                <a:lnTo>
                  <a:pt x="1670" y="491"/>
                </a:lnTo>
                <a:lnTo>
                  <a:pt x="1673" y="496"/>
                </a:lnTo>
                <a:lnTo>
                  <a:pt x="1674" y="501"/>
                </a:lnTo>
                <a:lnTo>
                  <a:pt x="1667" y="501"/>
                </a:lnTo>
                <a:lnTo>
                  <a:pt x="1654" y="501"/>
                </a:lnTo>
                <a:lnTo>
                  <a:pt x="1645" y="499"/>
                </a:lnTo>
                <a:lnTo>
                  <a:pt x="1625" y="494"/>
                </a:lnTo>
                <a:lnTo>
                  <a:pt x="1599" y="487"/>
                </a:lnTo>
                <a:lnTo>
                  <a:pt x="1568" y="478"/>
                </a:lnTo>
                <a:lnTo>
                  <a:pt x="1539" y="468"/>
                </a:lnTo>
                <a:lnTo>
                  <a:pt x="1513" y="458"/>
                </a:lnTo>
                <a:lnTo>
                  <a:pt x="1502" y="453"/>
                </a:lnTo>
                <a:lnTo>
                  <a:pt x="1495" y="448"/>
                </a:lnTo>
                <a:lnTo>
                  <a:pt x="1492" y="445"/>
                </a:lnTo>
                <a:lnTo>
                  <a:pt x="1490" y="443"/>
                </a:lnTo>
                <a:lnTo>
                  <a:pt x="1488" y="441"/>
                </a:lnTo>
                <a:lnTo>
                  <a:pt x="1488" y="439"/>
                </a:lnTo>
                <a:lnTo>
                  <a:pt x="1467" y="439"/>
                </a:lnTo>
                <a:lnTo>
                  <a:pt x="1432" y="436"/>
                </a:lnTo>
                <a:lnTo>
                  <a:pt x="1389" y="432"/>
                </a:lnTo>
                <a:lnTo>
                  <a:pt x="1343" y="425"/>
                </a:lnTo>
                <a:lnTo>
                  <a:pt x="1320" y="421"/>
                </a:lnTo>
                <a:lnTo>
                  <a:pt x="1298" y="417"/>
                </a:lnTo>
                <a:lnTo>
                  <a:pt x="1277" y="412"/>
                </a:lnTo>
                <a:lnTo>
                  <a:pt x="1260" y="406"/>
                </a:lnTo>
                <a:lnTo>
                  <a:pt x="1251" y="403"/>
                </a:lnTo>
                <a:lnTo>
                  <a:pt x="1244" y="400"/>
                </a:lnTo>
                <a:lnTo>
                  <a:pt x="1238" y="397"/>
                </a:lnTo>
                <a:lnTo>
                  <a:pt x="1232" y="394"/>
                </a:lnTo>
                <a:lnTo>
                  <a:pt x="1228" y="389"/>
                </a:lnTo>
                <a:lnTo>
                  <a:pt x="1225" y="386"/>
                </a:lnTo>
                <a:lnTo>
                  <a:pt x="1223" y="382"/>
                </a:lnTo>
                <a:lnTo>
                  <a:pt x="1222" y="378"/>
                </a:lnTo>
                <a:lnTo>
                  <a:pt x="1210" y="381"/>
                </a:lnTo>
                <a:lnTo>
                  <a:pt x="1203" y="384"/>
                </a:lnTo>
                <a:lnTo>
                  <a:pt x="1203" y="389"/>
                </a:lnTo>
                <a:lnTo>
                  <a:pt x="1204" y="395"/>
                </a:lnTo>
                <a:lnTo>
                  <a:pt x="1205" y="399"/>
                </a:lnTo>
                <a:lnTo>
                  <a:pt x="1207" y="403"/>
                </a:lnTo>
                <a:lnTo>
                  <a:pt x="1211" y="410"/>
                </a:lnTo>
                <a:lnTo>
                  <a:pt x="1218" y="416"/>
                </a:lnTo>
                <a:lnTo>
                  <a:pt x="1225" y="421"/>
                </a:lnTo>
                <a:lnTo>
                  <a:pt x="1233" y="425"/>
                </a:lnTo>
                <a:lnTo>
                  <a:pt x="1243" y="429"/>
                </a:lnTo>
                <a:lnTo>
                  <a:pt x="1253" y="433"/>
                </a:lnTo>
                <a:lnTo>
                  <a:pt x="1274" y="442"/>
                </a:lnTo>
                <a:lnTo>
                  <a:pt x="1295" y="452"/>
                </a:lnTo>
                <a:lnTo>
                  <a:pt x="1305" y="458"/>
                </a:lnTo>
                <a:lnTo>
                  <a:pt x="1313" y="465"/>
                </a:lnTo>
                <a:lnTo>
                  <a:pt x="1322" y="473"/>
                </a:lnTo>
                <a:lnTo>
                  <a:pt x="1329" y="483"/>
                </a:lnTo>
                <a:lnTo>
                  <a:pt x="1319" y="483"/>
                </a:lnTo>
                <a:lnTo>
                  <a:pt x="1309" y="483"/>
                </a:lnTo>
                <a:lnTo>
                  <a:pt x="1297" y="481"/>
                </a:lnTo>
                <a:lnTo>
                  <a:pt x="1281" y="477"/>
                </a:lnTo>
                <a:lnTo>
                  <a:pt x="1272" y="475"/>
                </a:lnTo>
                <a:lnTo>
                  <a:pt x="1262" y="473"/>
                </a:lnTo>
                <a:lnTo>
                  <a:pt x="1252" y="471"/>
                </a:lnTo>
                <a:lnTo>
                  <a:pt x="1242" y="471"/>
                </a:lnTo>
                <a:lnTo>
                  <a:pt x="1232" y="471"/>
                </a:lnTo>
                <a:lnTo>
                  <a:pt x="1221" y="473"/>
                </a:lnTo>
                <a:lnTo>
                  <a:pt x="1210" y="475"/>
                </a:lnTo>
                <a:lnTo>
                  <a:pt x="1198" y="477"/>
                </a:lnTo>
                <a:lnTo>
                  <a:pt x="1174" y="484"/>
                </a:lnTo>
                <a:lnTo>
                  <a:pt x="1149" y="492"/>
                </a:lnTo>
                <a:lnTo>
                  <a:pt x="1122" y="500"/>
                </a:lnTo>
                <a:lnTo>
                  <a:pt x="1097" y="508"/>
                </a:lnTo>
                <a:lnTo>
                  <a:pt x="1085" y="510"/>
                </a:lnTo>
                <a:lnTo>
                  <a:pt x="1073" y="512"/>
                </a:lnTo>
                <a:lnTo>
                  <a:pt x="1061" y="514"/>
                </a:lnTo>
                <a:lnTo>
                  <a:pt x="1050" y="514"/>
                </a:lnTo>
                <a:lnTo>
                  <a:pt x="1046" y="513"/>
                </a:lnTo>
                <a:lnTo>
                  <a:pt x="1042" y="511"/>
                </a:lnTo>
                <a:lnTo>
                  <a:pt x="1040" y="507"/>
                </a:lnTo>
                <a:lnTo>
                  <a:pt x="1040" y="503"/>
                </a:lnTo>
                <a:lnTo>
                  <a:pt x="1040" y="496"/>
                </a:lnTo>
                <a:lnTo>
                  <a:pt x="1042" y="490"/>
                </a:lnTo>
                <a:lnTo>
                  <a:pt x="1046" y="484"/>
                </a:lnTo>
                <a:lnTo>
                  <a:pt x="1050" y="477"/>
                </a:lnTo>
                <a:lnTo>
                  <a:pt x="1040" y="473"/>
                </a:lnTo>
                <a:lnTo>
                  <a:pt x="1030" y="472"/>
                </a:lnTo>
                <a:lnTo>
                  <a:pt x="1019" y="471"/>
                </a:lnTo>
                <a:lnTo>
                  <a:pt x="1009" y="471"/>
                </a:lnTo>
                <a:lnTo>
                  <a:pt x="1007" y="475"/>
                </a:lnTo>
                <a:lnTo>
                  <a:pt x="1004" y="477"/>
                </a:lnTo>
                <a:lnTo>
                  <a:pt x="999" y="479"/>
                </a:lnTo>
                <a:lnTo>
                  <a:pt x="994" y="480"/>
                </a:lnTo>
                <a:lnTo>
                  <a:pt x="984" y="480"/>
                </a:lnTo>
                <a:lnTo>
                  <a:pt x="972" y="479"/>
                </a:lnTo>
                <a:lnTo>
                  <a:pt x="961" y="477"/>
                </a:lnTo>
                <a:lnTo>
                  <a:pt x="949" y="477"/>
                </a:lnTo>
                <a:lnTo>
                  <a:pt x="943" y="477"/>
                </a:lnTo>
                <a:lnTo>
                  <a:pt x="939" y="478"/>
                </a:lnTo>
                <a:lnTo>
                  <a:pt x="934" y="480"/>
                </a:lnTo>
                <a:lnTo>
                  <a:pt x="930" y="483"/>
                </a:lnTo>
                <a:lnTo>
                  <a:pt x="924" y="489"/>
                </a:lnTo>
                <a:lnTo>
                  <a:pt x="916" y="495"/>
                </a:lnTo>
                <a:lnTo>
                  <a:pt x="908" y="500"/>
                </a:lnTo>
                <a:lnTo>
                  <a:pt x="900" y="505"/>
                </a:lnTo>
                <a:lnTo>
                  <a:pt x="882" y="513"/>
                </a:lnTo>
                <a:lnTo>
                  <a:pt x="864" y="522"/>
                </a:lnTo>
                <a:lnTo>
                  <a:pt x="857" y="526"/>
                </a:lnTo>
                <a:lnTo>
                  <a:pt x="849" y="532"/>
                </a:lnTo>
                <a:lnTo>
                  <a:pt x="841" y="538"/>
                </a:lnTo>
                <a:lnTo>
                  <a:pt x="836" y="545"/>
                </a:lnTo>
                <a:lnTo>
                  <a:pt x="830" y="553"/>
                </a:lnTo>
                <a:lnTo>
                  <a:pt x="827" y="564"/>
                </a:lnTo>
                <a:lnTo>
                  <a:pt x="825" y="575"/>
                </a:lnTo>
                <a:lnTo>
                  <a:pt x="824" y="588"/>
                </a:lnTo>
                <a:lnTo>
                  <a:pt x="810" y="584"/>
                </a:lnTo>
                <a:lnTo>
                  <a:pt x="797" y="581"/>
                </a:lnTo>
                <a:lnTo>
                  <a:pt x="791" y="581"/>
                </a:lnTo>
                <a:lnTo>
                  <a:pt x="784" y="582"/>
                </a:lnTo>
                <a:lnTo>
                  <a:pt x="778" y="584"/>
                </a:lnTo>
                <a:lnTo>
                  <a:pt x="771" y="588"/>
                </a:lnTo>
                <a:lnTo>
                  <a:pt x="758" y="582"/>
                </a:lnTo>
                <a:lnTo>
                  <a:pt x="740" y="575"/>
                </a:lnTo>
                <a:lnTo>
                  <a:pt x="732" y="571"/>
                </a:lnTo>
                <a:lnTo>
                  <a:pt x="724" y="566"/>
                </a:lnTo>
                <a:lnTo>
                  <a:pt x="716" y="562"/>
                </a:lnTo>
                <a:lnTo>
                  <a:pt x="711" y="556"/>
                </a:lnTo>
                <a:lnTo>
                  <a:pt x="711" y="526"/>
                </a:lnTo>
                <a:lnTo>
                  <a:pt x="721" y="526"/>
                </a:lnTo>
                <a:lnTo>
                  <a:pt x="730" y="526"/>
                </a:lnTo>
                <a:lnTo>
                  <a:pt x="738" y="526"/>
                </a:lnTo>
                <a:lnTo>
                  <a:pt x="744" y="526"/>
                </a:lnTo>
                <a:lnTo>
                  <a:pt x="740" y="516"/>
                </a:lnTo>
                <a:lnTo>
                  <a:pt x="736" y="507"/>
                </a:lnTo>
                <a:lnTo>
                  <a:pt x="730" y="499"/>
                </a:lnTo>
                <a:lnTo>
                  <a:pt x="723" y="493"/>
                </a:lnTo>
                <a:lnTo>
                  <a:pt x="714" y="488"/>
                </a:lnTo>
                <a:lnTo>
                  <a:pt x="704" y="485"/>
                </a:lnTo>
                <a:lnTo>
                  <a:pt x="692" y="483"/>
                </a:lnTo>
                <a:lnTo>
                  <a:pt x="678" y="483"/>
                </a:lnTo>
                <a:lnTo>
                  <a:pt x="668" y="483"/>
                </a:lnTo>
                <a:lnTo>
                  <a:pt x="656" y="483"/>
                </a:lnTo>
                <a:lnTo>
                  <a:pt x="643" y="483"/>
                </a:lnTo>
                <a:lnTo>
                  <a:pt x="624" y="483"/>
                </a:lnTo>
                <a:lnTo>
                  <a:pt x="627" y="487"/>
                </a:lnTo>
                <a:lnTo>
                  <a:pt x="632" y="491"/>
                </a:lnTo>
                <a:lnTo>
                  <a:pt x="636" y="495"/>
                </a:lnTo>
                <a:lnTo>
                  <a:pt x="640" y="498"/>
                </a:lnTo>
                <a:lnTo>
                  <a:pt x="645" y="501"/>
                </a:lnTo>
                <a:lnTo>
                  <a:pt x="648" y="506"/>
                </a:lnTo>
                <a:lnTo>
                  <a:pt x="650" y="510"/>
                </a:lnTo>
                <a:lnTo>
                  <a:pt x="651" y="514"/>
                </a:lnTo>
                <a:lnTo>
                  <a:pt x="650" y="519"/>
                </a:lnTo>
                <a:lnTo>
                  <a:pt x="649" y="523"/>
                </a:lnTo>
                <a:lnTo>
                  <a:pt x="648" y="525"/>
                </a:lnTo>
                <a:lnTo>
                  <a:pt x="646" y="528"/>
                </a:lnTo>
                <a:lnTo>
                  <a:pt x="643" y="530"/>
                </a:lnTo>
                <a:lnTo>
                  <a:pt x="638" y="532"/>
                </a:lnTo>
                <a:lnTo>
                  <a:pt x="647" y="541"/>
                </a:lnTo>
                <a:lnTo>
                  <a:pt x="656" y="550"/>
                </a:lnTo>
                <a:lnTo>
                  <a:pt x="661" y="554"/>
                </a:lnTo>
                <a:lnTo>
                  <a:pt x="668" y="557"/>
                </a:lnTo>
                <a:lnTo>
                  <a:pt x="676" y="561"/>
                </a:lnTo>
                <a:lnTo>
                  <a:pt x="684" y="564"/>
                </a:lnTo>
                <a:lnTo>
                  <a:pt x="684" y="619"/>
                </a:lnTo>
                <a:lnTo>
                  <a:pt x="677" y="619"/>
                </a:lnTo>
                <a:lnTo>
                  <a:pt x="665" y="619"/>
                </a:lnTo>
                <a:lnTo>
                  <a:pt x="659" y="610"/>
                </a:lnTo>
                <a:lnTo>
                  <a:pt x="654" y="604"/>
                </a:lnTo>
                <a:lnTo>
                  <a:pt x="647" y="599"/>
                </a:lnTo>
                <a:lnTo>
                  <a:pt x="639" y="595"/>
                </a:lnTo>
                <a:lnTo>
                  <a:pt x="623" y="589"/>
                </a:lnTo>
                <a:lnTo>
                  <a:pt x="604" y="582"/>
                </a:lnTo>
                <a:lnTo>
                  <a:pt x="602" y="585"/>
                </a:lnTo>
                <a:lnTo>
                  <a:pt x="599" y="589"/>
                </a:lnTo>
                <a:lnTo>
                  <a:pt x="594" y="593"/>
                </a:lnTo>
                <a:lnTo>
                  <a:pt x="588" y="597"/>
                </a:lnTo>
                <a:lnTo>
                  <a:pt x="575" y="606"/>
                </a:lnTo>
                <a:lnTo>
                  <a:pt x="559" y="615"/>
                </a:lnTo>
                <a:lnTo>
                  <a:pt x="544" y="624"/>
                </a:lnTo>
                <a:lnTo>
                  <a:pt x="531" y="631"/>
                </a:lnTo>
                <a:lnTo>
                  <a:pt x="525" y="635"/>
                </a:lnTo>
                <a:lnTo>
                  <a:pt x="522" y="638"/>
                </a:lnTo>
                <a:lnTo>
                  <a:pt x="519" y="641"/>
                </a:lnTo>
                <a:lnTo>
                  <a:pt x="519" y="643"/>
                </a:lnTo>
                <a:lnTo>
                  <a:pt x="519" y="647"/>
                </a:lnTo>
                <a:lnTo>
                  <a:pt x="520" y="651"/>
                </a:lnTo>
                <a:lnTo>
                  <a:pt x="521" y="655"/>
                </a:lnTo>
                <a:lnTo>
                  <a:pt x="523" y="658"/>
                </a:lnTo>
                <a:lnTo>
                  <a:pt x="528" y="663"/>
                </a:lnTo>
                <a:lnTo>
                  <a:pt x="536" y="667"/>
                </a:lnTo>
                <a:lnTo>
                  <a:pt x="543" y="673"/>
                </a:lnTo>
                <a:lnTo>
                  <a:pt x="549" y="678"/>
                </a:lnTo>
                <a:lnTo>
                  <a:pt x="551" y="681"/>
                </a:lnTo>
                <a:lnTo>
                  <a:pt x="555" y="685"/>
                </a:lnTo>
                <a:lnTo>
                  <a:pt x="557" y="688"/>
                </a:lnTo>
                <a:lnTo>
                  <a:pt x="558" y="693"/>
                </a:lnTo>
                <a:lnTo>
                  <a:pt x="471" y="693"/>
                </a:lnTo>
                <a:lnTo>
                  <a:pt x="467" y="705"/>
                </a:lnTo>
                <a:lnTo>
                  <a:pt x="464" y="721"/>
                </a:lnTo>
                <a:lnTo>
                  <a:pt x="460" y="730"/>
                </a:lnTo>
                <a:lnTo>
                  <a:pt x="457" y="736"/>
                </a:lnTo>
                <a:lnTo>
                  <a:pt x="454" y="739"/>
                </a:lnTo>
                <a:lnTo>
                  <a:pt x="452" y="740"/>
                </a:lnTo>
                <a:lnTo>
                  <a:pt x="448" y="742"/>
                </a:lnTo>
                <a:lnTo>
                  <a:pt x="445" y="742"/>
                </a:lnTo>
                <a:lnTo>
                  <a:pt x="433" y="742"/>
                </a:lnTo>
                <a:lnTo>
                  <a:pt x="420" y="741"/>
                </a:lnTo>
                <a:lnTo>
                  <a:pt x="407" y="739"/>
                </a:lnTo>
                <a:lnTo>
                  <a:pt x="393" y="736"/>
                </a:lnTo>
                <a:lnTo>
                  <a:pt x="380" y="733"/>
                </a:lnTo>
                <a:lnTo>
                  <a:pt x="367" y="729"/>
                </a:lnTo>
                <a:lnTo>
                  <a:pt x="355" y="723"/>
                </a:lnTo>
                <a:lnTo>
                  <a:pt x="344" y="718"/>
                </a:lnTo>
                <a:lnTo>
                  <a:pt x="333" y="711"/>
                </a:lnTo>
                <a:lnTo>
                  <a:pt x="323" y="704"/>
                </a:lnTo>
                <a:lnTo>
                  <a:pt x="314" y="696"/>
                </a:lnTo>
                <a:lnTo>
                  <a:pt x="307" y="687"/>
                </a:lnTo>
                <a:lnTo>
                  <a:pt x="301" y="678"/>
                </a:lnTo>
                <a:lnTo>
                  <a:pt x="296" y="666"/>
                </a:lnTo>
                <a:lnTo>
                  <a:pt x="293" y="655"/>
                </a:lnTo>
                <a:lnTo>
                  <a:pt x="292" y="643"/>
                </a:lnTo>
                <a:lnTo>
                  <a:pt x="289" y="636"/>
                </a:lnTo>
                <a:lnTo>
                  <a:pt x="286" y="625"/>
                </a:lnTo>
                <a:lnTo>
                  <a:pt x="273" y="622"/>
                </a:lnTo>
                <a:lnTo>
                  <a:pt x="254" y="616"/>
                </a:lnTo>
                <a:lnTo>
                  <a:pt x="232" y="609"/>
                </a:lnTo>
                <a:lnTo>
                  <a:pt x="209" y="601"/>
                </a:lnTo>
                <a:lnTo>
                  <a:pt x="188" y="592"/>
                </a:lnTo>
                <a:lnTo>
                  <a:pt x="169" y="582"/>
                </a:lnTo>
                <a:lnTo>
                  <a:pt x="163" y="578"/>
                </a:lnTo>
                <a:lnTo>
                  <a:pt x="157" y="573"/>
                </a:lnTo>
                <a:lnTo>
                  <a:pt x="154" y="568"/>
                </a:lnTo>
                <a:lnTo>
                  <a:pt x="153" y="564"/>
                </a:lnTo>
                <a:lnTo>
                  <a:pt x="162" y="567"/>
                </a:lnTo>
                <a:lnTo>
                  <a:pt x="183" y="574"/>
                </a:lnTo>
                <a:lnTo>
                  <a:pt x="211" y="582"/>
                </a:lnTo>
                <a:lnTo>
                  <a:pt x="244" y="590"/>
                </a:lnTo>
                <a:lnTo>
                  <a:pt x="277" y="598"/>
                </a:lnTo>
                <a:lnTo>
                  <a:pt x="308" y="605"/>
                </a:lnTo>
                <a:lnTo>
                  <a:pt x="332" y="610"/>
                </a:lnTo>
                <a:lnTo>
                  <a:pt x="345" y="612"/>
                </a:lnTo>
                <a:lnTo>
                  <a:pt x="368" y="612"/>
                </a:lnTo>
                <a:lnTo>
                  <a:pt x="390" y="612"/>
                </a:lnTo>
                <a:lnTo>
                  <a:pt x="414" y="612"/>
                </a:lnTo>
                <a:lnTo>
                  <a:pt x="445" y="612"/>
                </a:lnTo>
                <a:lnTo>
                  <a:pt x="454" y="612"/>
                </a:lnTo>
                <a:lnTo>
                  <a:pt x="461" y="611"/>
                </a:lnTo>
                <a:lnTo>
                  <a:pt x="469" y="609"/>
                </a:lnTo>
                <a:lnTo>
                  <a:pt x="477" y="607"/>
                </a:lnTo>
                <a:lnTo>
                  <a:pt x="490" y="601"/>
                </a:lnTo>
                <a:lnTo>
                  <a:pt x="502" y="594"/>
                </a:lnTo>
                <a:lnTo>
                  <a:pt x="514" y="585"/>
                </a:lnTo>
                <a:lnTo>
                  <a:pt x="524" y="576"/>
                </a:lnTo>
                <a:lnTo>
                  <a:pt x="535" y="567"/>
                </a:lnTo>
                <a:lnTo>
                  <a:pt x="545" y="556"/>
                </a:lnTo>
                <a:lnTo>
                  <a:pt x="536" y="547"/>
                </a:lnTo>
                <a:lnTo>
                  <a:pt x="527" y="536"/>
                </a:lnTo>
                <a:lnTo>
                  <a:pt x="523" y="531"/>
                </a:lnTo>
                <a:lnTo>
                  <a:pt x="517" y="527"/>
                </a:lnTo>
                <a:lnTo>
                  <a:pt x="512" y="523"/>
                </a:lnTo>
                <a:lnTo>
                  <a:pt x="505" y="520"/>
                </a:lnTo>
                <a:lnTo>
                  <a:pt x="500" y="518"/>
                </a:lnTo>
                <a:lnTo>
                  <a:pt x="484" y="511"/>
                </a:lnTo>
                <a:lnTo>
                  <a:pt x="459" y="499"/>
                </a:lnTo>
                <a:lnTo>
                  <a:pt x="424" y="487"/>
                </a:lnTo>
                <a:lnTo>
                  <a:pt x="403" y="481"/>
                </a:lnTo>
                <a:lnTo>
                  <a:pt x="379" y="475"/>
                </a:lnTo>
                <a:lnTo>
                  <a:pt x="352" y="469"/>
                </a:lnTo>
                <a:lnTo>
                  <a:pt x="323" y="463"/>
                </a:lnTo>
                <a:lnTo>
                  <a:pt x="291" y="458"/>
                </a:lnTo>
                <a:lnTo>
                  <a:pt x="256" y="453"/>
                </a:lnTo>
                <a:lnTo>
                  <a:pt x="219" y="449"/>
                </a:lnTo>
                <a:lnTo>
                  <a:pt x="179" y="446"/>
                </a:lnTo>
                <a:lnTo>
                  <a:pt x="172" y="446"/>
                </a:lnTo>
                <a:lnTo>
                  <a:pt x="165" y="445"/>
                </a:lnTo>
                <a:lnTo>
                  <a:pt x="158" y="444"/>
                </a:lnTo>
                <a:lnTo>
                  <a:pt x="152" y="442"/>
                </a:lnTo>
                <a:lnTo>
                  <a:pt x="150" y="440"/>
                </a:lnTo>
                <a:lnTo>
                  <a:pt x="146" y="438"/>
                </a:lnTo>
                <a:lnTo>
                  <a:pt x="144" y="436"/>
                </a:lnTo>
                <a:lnTo>
                  <a:pt x="143" y="433"/>
                </a:lnTo>
                <a:lnTo>
                  <a:pt x="141" y="425"/>
                </a:lnTo>
                <a:lnTo>
                  <a:pt x="140" y="415"/>
                </a:lnTo>
                <a:lnTo>
                  <a:pt x="120" y="420"/>
                </a:lnTo>
                <a:lnTo>
                  <a:pt x="99" y="425"/>
                </a:lnTo>
                <a:lnTo>
                  <a:pt x="77" y="431"/>
                </a:lnTo>
                <a:lnTo>
                  <a:pt x="53" y="439"/>
                </a:lnTo>
                <a:lnTo>
                  <a:pt x="50" y="441"/>
                </a:lnTo>
                <a:lnTo>
                  <a:pt x="43" y="445"/>
                </a:lnTo>
                <a:lnTo>
                  <a:pt x="40" y="446"/>
                </a:lnTo>
                <a:lnTo>
                  <a:pt x="37" y="448"/>
                </a:lnTo>
                <a:lnTo>
                  <a:pt x="34" y="448"/>
                </a:lnTo>
                <a:lnTo>
                  <a:pt x="33" y="446"/>
                </a:lnTo>
                <a:lnTo>
                  <a:pt x="0" y="483"/>
                </a:lnTo>
                <a:lnTo>
                  <a:pt x="4" y="488"/>
                </a:lnTo>
                <a:lnTo>
                  <a:pt x="8" y="493"/>
                </a:lnTo>
                <a:lnTo>
                  <a:pt x="13" y="498"/>
                </a:lnTo>
                <a:lnTo>
                  <a:pt x="18" y="503"/>
                </a:lnTo>
                <a:lnTo>
                  <a:pt x="29" y="509"/>
                </a:lnTo>
                <a:lnTo>
                  <a:pt x="40" y="515"/>
                </a:lnTo>
                <a:lnTo>
                  <a:pt x="62" y="524"/>
                </a:lnTo>
                <a:lnTo>
                  <a:pt x="79" y="532"/>
                </a:lnTo>
                <a:lnTo>
                  <a:pt x="77" y="540"/>
                </a:lnTo>
                <a:lnTo>
                  <a:pt x="74" y="547"/>
                </a:lnTo>
                <a:lnTo>
                  <a:pt x="71" y="552"/>
                </a:lnTo>
                <a:lnTo>
                  <a:pt x="67" y="556"/>
                </a:lnTo>
                <a:lnTo>
                  <a:pt x="64" y="562"/>
                </a:lnTo>
                <a:lnTo>
                  <a:pt x="62" y="567"/>
                </a:lnTo>
                <a:lnTo>
                  <a:pt x="61" y="574"/>
                </a:lnTo>
                <a:lnTo>
                  <a:pt x="60" y="582"/>
                </a:lnTo>
                <a:lnTo>
                  <a:pt x="61" y="589"/>
                </a:lnTo>
                <a:lnTo>
                  <a:pt x="65" y="597"/>
                </a:lnTo>
                <a:lnTo>
                  <a:pt x="71" y="605"/>
                </a:lnTo>
                <a:lnTo>
                  <a:pt x="77" y="614"/>
                </a:lnTo>
                <a:lnTo>
                  <a:pt x="84" y="621"/>
                </a:lnTo>
                <a:lnTo>
                  <a:pt x="90" y="626"/>
                </a:lnTo>
                <a:lnTo>
                  <a:pt x="96" y="630"/>
                </a:lnTo>
                <a:lnTo>
                  <a:pt x="99" y="631"/>
                </a:lnTo>
                <a:lnTo>
                  <a:pt x="100" y="647"/>
                </a:lnTo>
                <a:lnTo>
                  <a:pt x="102" y="662"/>
                </a:lnTo>
                <a:lnTo>
                  <a:pt x="106" y="677"/>
                </a:lnTo>
                <a:lnTo>
                  <a:pt x="111" y="689"/>
                </a:lnTo>
                <a:lnTo>
                  <a:pt x="117" y="700"/>
                </a:lnTo>
                <a:lnTo>
                  <a:pt x="123" y="710"/>
                </a:lnTo>
                <a:lnTo>
                  <a:pt x="131" y="719"/>
                </a:lnTo>
                <a:lnTo>
                  <a:pt x="140" y="728"/>
                </a:lnTo>
                <a:lnTo>
                  <a:pt x="149" y="736"/>
                </a:lnTo>
                <a:lnTo>
                  <a:pt x="158" y="743"/>
                </a:lnTo>
                <a:lnTo>
                  <a:pt x="168" y="750"/>
                </a:lnTo>
                <a:lnTo>
                  <a:pt x="178" y="756"/>
                </a:lnTo>
                <a:lnTo>
                  <a:pt x="199" y="767"/>
                </a:lnTo>
                <a:lnTo>
                  <a:pt x="219" y="778"/>
                </a:lnTo>
                <a:lnTo>
                  <a:pt x="184" y="815"/>
                </a:lnTo>
                <a:lnTo>
                  <a:pt x="146" y="856"/>
                </a:lnTo>
                <a:lnTo>
                  <a:pt x="128" y="875"/>
                </a:lnTo>
                <a:lnTo>
                  <a:pt x="109" y="892"/>
                </a:lnTo>
                <a:lnTo>
                  <a:pt x="100" y="899"/>
                </a:lnTo>
                <a:lnTo>
                  <a:pt x="90" y="905"/>
                </a:lnTo>
                <a:lnTo>
                  <a:pt x="82" y="910"/>
                </a:lnTo>
                <a:lnTo>
                  <a:pt x="73" y="914"/>
                </a:lnTo>
                <a:lnTo>
                  <a:pt x="74" y="917"/>
                </a:lnTo>
                <a:lnTo>
                  <a:pt x="75" y="920"/>
                </a:lnTo>
                <a:lnTo>
                  <a:pt x="77" y="923"/>
                </a:lnTo>
                <a:lnTo>
                  <a:pt x="80" y="926"/>
                </a:lnTo>
                <a:lnTo>
                  <a:pt x="88" y="934"/>
                </a:lnTo>
                <a:lnTo>
                  <a:pt x="96" y="942"/>
                </a:lnTo>
                <a:lnTo>
                  <a:pt x="105" y="951"/>
                </a:lnTo>
                <a:lnTo>
                  <a:pt x="112" y="958"/>
                </a:lnTo>
                <a:lnTo>
                  <a:pt x="118" y="965"/>
                </a:lnTo>
                <a:lnTo>
                  <a:pt x="120" y="970"/>
                </a:lnTo>
                <a:lnTo>
                  <a:pt x="116" y="976"/>
                </a:lnTo>
                <a:lnTo>
                  <a:pt x="112" y="981"/>
                </a:lnTo>
                <a:lnTo>
                  <a:pt x="110" y="987"/>
                </a:lnTo>
                <a:lnTo>
                  <a:pt x="109" y="993"/>
                </a:lnTo>
                <a:lnTo>
                  <a:pt x="109" y="1005"/>
                </a:lnTo>
                <a:lnTo>
                  <a:pt x="111" y="1017"/>
                </a:lnTo>
                <a:lnTo>
                  <a:pt x="113" y="1029"/>
                </a:lnTo>
                <a:lnTo>
                  <a:pt x="116" y="1042"/>
                </a:lnTo>
                <a:lnTo>
                  <a:pt x="117" y="1048"/>
                </a:lnTo>
                <a:lnTo>
                  <a:pt x="116" y="1054"/>
                </a:lnTo>
                <a:lnTo>
                  <a:pt x="114" y="1062"/>
                </a:lnTo>
                <a:lnTo>
                  <a:pt x="113" y="1069"/>
                </a:lnTo>
                <a:lnTo>
                  <a:pt x="120" y="1090"/>
                </a:lnTo>
                <a:lnTo>
                  <a:pt x="130" y="1115"/>
                </a:lnTo>
                <a:lnTo>
                  <a:pt x="142" y="1139"/>
                </a:lnTo>
                <a:lnTo>
                  <a:pt x="153" y="1160"/>
                </a:lnTo>
                <a:lnTo>
                  <a:pt x="192" y="1180"/>
                </a:lnTo>
                <a:lnTo>
                  <a:pt x="232" y="1180"/>
                </a:lnTo>
                <a:lnTo>
                  <a:pt x="240" y="1204"/>
                </a:lnTo>
                <a:lnTo>
                  <a:pt x="279" y="1192"/>
                </a:lnTo>
                <a:lnTo>
                  <a:pt x="312" y="1204"/>
                </a:lnTo>
                <a:lnTo>
                  <a:pt x="319" y="1253"/>
                </a:lnTo>
                <a:lnTo>
                  <a:pt x="365" y="1291"/>
                </a:lnTo>
                <a:lnTo>
                  <a:pt x="399" y="1309"/>
                </a:lnTo>
                <a:lnTo>
                  <a:pt x="425" y="1327"/>
                </a:lnTo>
                <a:lnTo>
                  <a:pt x="399" y="1346"/>
                </a:lnTo>
                <a:lnTo>
                  <a:pt x="352" y="1333"/>
                </a:lnTo>
                <a:lnTo>
                  <a:pt x="358" y="1358"/>
                </a:lnTo>
                <a:lnTo>
                  <a:pt x="373" y="1370"/>
                </a:lnTo>
                <a:lnTo>
                  <a:pt x="373" y="1401"/>
                </a:lnTo>
                <a:lnTo>
                  <a:pt x="365" y="140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fr-FR" dirty="0"/>
          </a:p>
        </p:txBody>
      </p:sp>
      <p:sp>
        <p:nvSpPr>
          <p:cNvPr id="18" name="Freeform 10"/>
          <p:cNvSpPr>
            <a:spLocks/>
          </p:cNvSpPr>
          <p:nvPr>
            <p:custDataLst>
              <p:tags r:id="rId2"/>
            </p:custDataLst>
          </p:nvPr>
        </p:nvSpPr>
        <p:spPr bwMode="auto">
          <a:xfrm>
            <a:off x="1378261" y="4312893"/>
            <a:ext cx="86614" cy="67127"/>
          </a:xfrm>
          <a:custGeom>
            <a:avLst/>
            <a:gdLst>
              <a:gd name="T0" fmla="*/ 17693309 w 161"/>
              <a:gd name="T1" fmla="*/ 0 h 93"/>
              <a:gd name="T2" fmla="*/ 20140228 w 161"/>
              <a:gd name="T3" fmla="*/ 5040364 h 93"/>
              <a:gd name="T4" fmla="*/ 21081251 w 161"/>
              <a:gd name="T5" fmla="*/ 3360242 h 93"/>
              <a:gd name="T6" fmla="*/ 22022707 w 161"/>
              <a:gd name="T7" fmla="*/ 2239985 h 93"/>
              <a:gd name="T8" fmla="*/ 22963730 w 161"/>
              <a:gd name="T9" fmla="*/ 1400189 h 93"/>
              <a:gd name="T10" fmla="*/ 23904752 w 161"/>
              <a:gd name="T11" fmla="*/ 840325 h 93"/>
              <a:gd name="T12" fmla="*/ 25787232 w 161"/>
              <a:gd name="T13" fmla="*/ 279932 h 93"/>
              <a:gd name="T14" fmla="*/ 27857568 w 161"/>
              <a:gd name="T15" fmla="*/ 0 h 93"/>
              <a:gd name="T16" fmla="*/ 28422008 w 161"/>
              <a:gd name="T17" fmla="*/ 0 h 93"/>
              <a:gd name="T18" fmla="*/ 30304488 w 161"/>
              <a:gd name="T19" fmla="*/ 0 h 93"/>
              <a:gd name="T20" fmla="*/ 30304488 w 161"/>
              <a:gd name="T21" fmla="*/ 25762212 h 93"/>
              <a:gd name="T22" fmla="*/ 29175174 w 161"/>
              <a:gd name="T23" fmla="*/ 26042144 h 93"/>
              <a:gd name="T24" fmla="*/ 28234151 w 161"/>
              <a:gd name="T25" fmla="*/ 26042144 h 93"/>
              <a:gd name="T26" fmla="*/ 27292694 w 161"/>
              <a:gd name="T27" fmla="*/ 25762212 h 93"/>
              <a:gd name="T28" fmla="*/ 26351672 w 161"/>
              <a:gd name="T29" fmla="*/ 25482280 h 93"/>
              <a:gd name="T30" fmla="*/ 24281335 w 161"/>
              <a:gd name="T31" fmla="*/ 24641955 h 93"/>
              <a:gd name="T32" fmla="*/ 22587147 w 161"/>
              <a:gd name="T33" fmla="*/ 22961833 h 93"/>
              <a:gd name="T34" fmla="*/ 20892959 w 161"/>
              <a:gd name="T35" fmla="*/ 21001780 h 93"/>
              <a:gd name="T36" fmla="*/ 19575354 w 161"/>
              <a:gd name="T37" fmla="*/ 18761795 h 93"/>
              <a:gd name="T38" fmla="*/ 18258183 w 161"/>
              <a:gd name="T39" fmla="*/ 16521280 h 93"/>
              <a:gd name="T40" fmla="*/ 17693309 w 161"/>
              <a:gd name="T41" fmla="*/ 13720902 h 93"/>
              <a:gd name="T42" fmla="*/ 17316726 w 161"/>
              <a:gd name="T43" fmla="*/ 14001363 h 93"/>
              <a:gd name="T44" fmla="*/ 16752286 w 161"/>
              <a:gd name="T45" fmla="*/ 14281295 h 93"/>
              <a:gd name="T46" fmla="*/ 16187412 w 161"/>
              <a:gd name="T47" fmla="*/ 14281295 h 93"/>
              <a:gd name="T48" fmla="*/ 15810830 w 161"/>
              <a:gd name="T49" fmla="*/ 14281295 h 93"/>
              <a:gd name="T50" fmla="*/ 14681516 w 161"/>
              <a:gd name="T51" fmla="*/ 14001363 h 93"/>
              <a:gd name="T52" fmla="*/ 13928784 w 161"/>
              <a:gd name="T53" fmla="*/ 13720902 h 93"/>
              <a:gd name="T54" fmla="*/ 12234596 w 161"/>
              <a:gd name="T55" fmla="*/ 13440970 h 93"/>
              <a:gd name="T56" fmla="*/ 10352551 w 161"/>
              <a:gd name="T57" fmla="*/ 12601174 h 93"/>
              <a:gd name="T58" fmla="*/ 8281780 w 161"/>
              <a:gd name="T59" fmla="*/ 11200985 h 93"/>
              <a:gd name="T60" fmla="*/ 6023152 w 161"/>
              <a:gd name="T61" fmla="*/ 9520863 h 93"/>
              <a:gd name="T62" fmla="*/ 3952816 w 161"/>
              <a:gd name="T63" fmla="*/ 7280349 h 93"/>
              <a:gd name="T64" fmla="*/ 2258628 w 161"/>
              <a:gd name="T65" fmla="*/ 5040364 h 93"/>
              <a:gd name="T66" fmla="*/ 1505897 w 161"/>
              <a:gd name="T67" fmla="*/ 3920106 h 93"/>
              <a:gd name="T68" fmla="*/ 941023 w 161"/>
              <a:gd name="T69" fmla="*/ 2520446 h 93"/>
              <a:gd name="T70" fmla="*/ 564874 w 161"/>
              <a:gd name="T71" fmla="*/ 1400189 h 93"/>
              <a:gd name="T72" fmla="*/ 0 w 161"/>
              <a:gd name="T73" fmla="*/ 0 h 93"/>
              <a:gd name="T74" fmla="*/ 17693309 w 161"/>
              <a:gd name="T75" fmla="*/ 0 h 93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0" t="0" r="r" b="b"/>
            <a:pathLst>
              <a:path w="161" h="93">
                <a:moveTo>
                  <a:pt x="94" y="0"/>
                </a:moveTo>
                <a:lnTo>
                  <a:pt x="107" y="18"/>
                </a:lnTo>
                <a:lnTo>
                  <a:pt x="112" y="12"/>
                </a:lnTo>
                <a:lnTo>
                  <a:pt x="117" y="8"/>
                </a:lnTo>
                <a:lnTo>
                  <a:pt x="122" y="5"/>
                </a:lnTo>
                <a:lnTo>
                  <a:pt x="127" y="3"/>
                </a:lnTo>
                <a:lnTo>
                  <a:pt x="137" y="1"/>
                </a:lnTo>
                <a:lnTo>
                  <a:pt x="148" y="0"/>
                </a:lnTo>
                <a:lnTo>
                  <a:pt x="151" y="0"/>
                </a:lnTo>
                <a:lnTo>
                  <a:pt x="161" y="0"/>
                </a:lnTo>
                <a:lnTo>
                  <a:pt x="161" y="92"/>
                </a:lnTo>
                <a:lnTo>
                  <a:pt x="155" y="93"/>
                </a:lnTo>
                <a:lnTo>
                  <a:pt x="150" y="93"/>
                </a:lnTo>
                <a:lnTo>
                  <a:pt x="145" y="92"/>
                </a:lnTo>
                <a:lnTo>
                  <a:pt x="140" y="91"/>
                </a:lnTo>
                <a:lnTo>
                  <a:pt x="129" y="88"/>
                </a:lnTo>
                <a:lnTo>
                  <a:pt x="120" y="82"/>
                </a:lnTo>
                <a:lnTo>
                  <a:pt x="111" y="75"/>
                </a:lnTo>
                <a:lnTo>
                  <a:pt x="104" y="67"/>
                </a:lnTo>
                <a:lnTo>
                  <a:pt x="97" y="59"/>
                </a:lnTo>
                <a:lnTo>
                  <a:pt x="94" y="49"/>
                </a:lnTo>
                <a:lnTo>
                  <a:pt x="92" y="50"/>
                </a:lnTo>
                <a:lnTo>
                  <a:pt x="89" y="51"/>
                </a:lnTo>
                <a:lnTo>
                  <a:pt x="86" y="51"/>
                </a:lnTo>
                <a:lnTo>
                  <a:pt x="84" y="51"/>
                </a:lnTo>
                <a:lnTo>
                  <a:pt x="78" y="50"/>
                </a:lnTo>
                <a:lnTo>
                  <a:pt x="74" y="49"/>
                </a:lnTo>
                <a:lnTo>
                  <a:pt x="65" y="48"/>
                </a:lnTo>
                <a:lnTo>
                  <a:pt x="55" y="45"/>
                </a:lnTo>
                <a:lnTo>
                  <a:pt x="44" y="40"/>
                </a:lnTo>
                <a:lnTo>
                  <a:pt x="32" y="34"/>
                </a:lnTo>
                <a:lnTo>
                  <a:pt x="21" y="26"/>
                </a:lnTo>
                <a:lnTo>
                  <a:pt x="12" y="18"/>
                </a:lnTo>
                <a:lnTo>
                  <a:pt x="8" y="14"/>
                </a:lnTo>
                <a:lnTo>
                  <a:pt x="5" y="9"/>
                </a:lnTo>
                <a:lnTo>
                  <a:pt x="3" y="5"/>
                </a:lnTo>
                <a:lnTo>
                  <a:pt x="0" y="0"/>
                </a:lnTo>
                <a:lnTo>
                  <a:pt x="94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fr-FR" dirty="0"/>
          </a:p>
        </p:txBody>
      </p:sp>
      <p:sp>
        <p:nvSpPr>
          <p:cNvPr id="19" name="Freeform 11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756215" y="4141831"/>
            <a:ext cx="102362" cy="218700"/>
          </a:xfrm>
          <a:custGeom>
            <a:avLst/>
            <a:gdLst>
              <a:gd name="T0" fmla="*/ 7024489 w 192"/>
              <a:gd name="T1" fmla="*/ 818398 h 307"/>
              <a:gd name="T2" fmla="*/ 6839611 w 192"/>
              <a:gd name="T3" fmla="*/ 0 h 307"/>
              <a:gd name="T4" fmla="*/ 10536734 w 192"/>
              <a:gd name="T5" fmla="*/ 818398 h 307"/>
              <a:gd name="T6" fmla="*/ 20333957 w 192"/>
              <a:gd name="T7" fmla="*/ 3818841 h 307"/>
              <a:gd name="T8" fmla="*/ 28652589 w 192"/>
              <a:gd name="T9" fmla="*/ 6819284 h 307"/>
              <a:gd name="T10" fmla="*/ 33458977 w 192"/>
              <a:gd name="T11" fmla="*/ 7637682 h 307"/>
              <a:gd name="T12" fmla="*/ 35492201 w 192"/>
              <a:gd name="T13" fmla="*/ 9546580 h 307"/>
              <a:gd name="T14" fmla="*/ 34752690 w 192"/>
              <a:gd name="T15" fmla="*/ 12820170 h 307"/>
              <a:gd name="T16" fmla="*/ 32349711 w 192"/>
              <a:gd name="T17" fmla="*/ 22366750 h 307"/>
              <a:gd name="T18" fmla="*/ 29207222 w 192"/>
              <a:gd name="T19" fmla="*/ 34641148 h 307"/>
              <a:gd name="T20" fmla="*/ 27173568 w 192"/>
              <a:gd name="T21" fmla="*/ 45006648 h 307"/>
              <a:gd name="T22" fmla="*/ 26988691 w 192"/>
              <a:gd name="T23" fmla="*/ 56462648 h 307"/>
              <a:gd name="T24" fmla="*/ 26619365 w 192"/>
              <a:gd name="T25" fmla="*/ 67918649 h 307"/>
              <a:gd name="T26" fmla="*/ 24770589 w 192"/>
              <a:gd name="T27" fmla="*/ 75556330 h 307"/>
              <a:gd name="T28" fmla="*/ 19594446 w 192"/>
              <a:gd name="T29" fmla="*/ 80738819 h 307"/>
              <a:gd name="T30" fmla="*/ 15343121 w 192"/>
              <a:gd name="T31" fmla="*/ 82648240 h 307"/>
              <a:gd name="T32" fmla="*/ 13309468 w 192"/>
              <a:gd name="T33" fmla="*/ 83739262 h 307"/>
              <a:gd name="T34" fmla="*/ 9612346 w 192"/>
              <a:gd name="T35" fmla="*/ 83193490 h 307"/>
              <a:gd name="T36" fmla="*/ 5915223 w 192"/>
              <a:gd name="T37" fmla="*/ 79375171 h 307"/>
              <a:gd name="T38" fmla="*/ 5545468 w 192"/>
              <a:gd name="T39" fmla="*/ 75556330 h 307"/>
              <a:gd name="T40" fmla="*/ 4066877 w 192"/>
              <a:gd name="T41" fmla="*/ 70100694 h 307"/>
              <a:gd name="T42" fmla="*/ 1848346 w 192"/>
              <a:gd name="T43" fmla="*/ 63008785 h 307"/>
              <a:gd name="T44" fmla="*/ 369755 w 192"/>
              <a:gd name="T45" fmla="*/ 57553671 h 307"/>
              <a:gd name="T46" fmla="*/ 0 w 192"/>
              <a:gd name="T47" fmla="*/ 53734830 h 307"/>
              <a:gd name="T48" fmla="*/ 0 w 192"/>
              <a:gd name="T49" fmla="*/ 49098114 h 307"/>
              <a:gd name="T50" fmla="*/ 369755 w 192"/>
              <a:gd name="T51" fmla="*/ 45006648 h 307"/>
              <a:gd name="T52" fmla="*/ 2033224 w 192"/>
              <a:gd name="T53" fmla="*/ 39551012 h 307"/>
              <a:gd name="T54" fmla="*/ 6100101 w 192"/>
              <a:gd name="T55" fmla="*/ 29731285 h 307"/>
              <a:gd name="T56" fmla="*/ 8873265 w 192"/>
              <a:gd name="T57" fmla="*/ 22094125 h 307"/>
              <a:gd name="T58" fmla="*/ 9612346 w 192"/>
              <a:gd name="T59" fmla="*/ 16911636 h 307"/>
              <a:gd name="T60" fmla="*/ 9797223 w 192"/>
              <a:gd name="T61" fmla="*/ 11183375 h 307"/>
              <a:gd name="T62" fmla="*/ 10166978 w 192"/>
              <a:gd name="T63" fmla="*/ 8182932 h 307"/>
              <a:gd name="T64" fmla="*/ 10536734 w 192"/>
              <a:gd name="T65" fmla="*/ 7091909 h 307"/>
              <a:gd name="T66" fmla="*/ 11091366 w 192"/>
              <a:gd name="T67" fmla="*/ 6000886 h 307"/>
              <a:gd name="T68" fmla="*/ 8133755 w 192"/>
              <a:gd name="T69" fmla="*/ 1909420 h 307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0" t="0" r="r" b="b"/>
            <a:pathLst>
              <a:path w="192" h="307">
                <a:moveTo>
                  <a:pt x="44" y="7"/>
                </a:moveTo>
                <a:lnTo>
                  <a:pt x="38" y="3"/>
                </a:lnTo>
                <a:lnTo>
                  <a:pt x="35" y="1"/>
                </a:lnTo>
                <a:lnTo>
                  <a:pt x="37" y="0"/>
                </a:lnTo>
                <a:lnTo>
                  <a:pt x="41" y="0"/>
                </a:lnTo>
                <a:lnTo>
                  <a:pt x="57" y="3"/>
                </a:lnTo>
                <a:lnTo>
                  <a:pt x="82" y="8"/>
                </a:lnTo>
                <a:lnTo>
                  <a:pt x="110" y="14"/>
                </a:lnTo>
                <a:lnTo>
                  <a:pt x="141" y="22"/>
                </a:lnTo>
                <a:lnTo>
                  <a:pt x="155" y="25"/>
                </a:lnTo>
                <a:lnTo>
                  <a:pt x="169" y="27"/>
                </a:lnTo>
                <a:lnTo>
                  <a:pt x="181" y="28"/>
                </a:lnTo>
                <a:lnTo>
                  <a:pt x="192" y="29"/>
                </a:lnTo>
                <a:lnTo>
                  <a:pt x="192" y="35"/>
                </a:lnTo>
                <a:lnTo>
                  <a:pt x="192" y="41"/>
                </a:lnTo>
                <a:lnTo>
                  <a:pt x="188" y="47"/>
                </a:lnTo>
                <a:lnTo>
                  <a:pt x="183" y="61"/>
                </a:lnTo>
                <a:lnTo>
                  <a:pt x="175" y="82"/>
                </a:lnTo>
                <a:lnTo>
                  <a:pt x="167" y="104"/>
                </a:lnTo>
                <a:lnTo>
                  <a:pt x="158" y="127"/>
                </a:lnTo>
                <a:lnTo>
                  <a:pt x="152" y="148"/>
                </a:lnTo>
                <a:lnTo>
                  <a:pt x="147" y="165"/>
                </a:lnTo>
                <a:lnTo>
                  <a:pt x="146" y="176"/>
                </a:lnTo>
                <a:lnTo>
                  <a:pt x="146" y="207"/>
                </a:lnTo>
                <a:lnTo>
                  <a:pt x="146" y="234"/>
                </a:lnTo>
                <a:lnTo>
                  <a:pt x="144" y="249"/>
                </a:lnTo>
                <a:lnTo>
                  <a:pt x="141" y="263"/>
                </a:lnTo>
                <a:lnTo>
                  <a:pt x="134" y="277"/>
                </a:lnTo>
                <a:lnTo>
                  <a:pt x="127" y="294"/>
                </a:lnTo>
                <a:lnTo>
                  <a:pt x="106" y="296"/>
                </a:lnTo>
                <a:lnTo>
                  <a:pt x="91" y="300"/>
                </a:lnTo>
                <a:lnTo>
                  <a:pt x="83" y="303"/>
                </a:lnTo>
                <a:lnTo>
                  <a:pt x="77" y="306"/>
                </a:lnTo>
                <a:lnTo>
                  <a:pt x="72" y="307"/>
                </a:lnTo>
                <a:lnTo>
                  <a:pt x="64" y="307"/>
                </a:lnTo>
                <a:lnTo>
                  <a:pt x="52" y="305"/>
                </a:lnTo>
                <a:lnTo>
                  <a:pt x="33" y="300"/>
                </a:lnTo>
                <a:lnTo>
                  <a:pt x="32" y="291"/>
                </a:lnTo>
                <a:lnTo>
                  <a:pt x="32" y="284"/>
                </a:lnTo>
                <a:lnTo>
                  <a:pt x="30" y="277"/>
                </a:lnTo>
                <a:lnTo>
                  <a:pt x="28" y="270"/>
                </a:lnTo>
                <a:lnTo>
                  <a:pt x="22" y="257"/>
                </a:lnTo>
                <a:lnTo>
                  <a:pt x="17" y="244"/>
                </a:lnTo>
                <a:lnTo>
                  <a:pt x="10" y="231"/>
                </a:lnTo>
                <a:lnTo>
                  <a:pt x="5" y="218"/>
                </a:lnTo>
                <a:lnTo>
                  <a:pt x="2" y="211"/>
                </a:lnTo>
                <a:lnTo>
                  <a:pt x="1" y="204"/>
                </a:lnTo>
                <a:lnTo>
                  <a:pt x="0" y="197"/>
                </a:lnTo>
                <a:lnTo>
                  <a:pt x="0" y="189"/>
                </a:lnTo>
                <a:lnTo>
                  <a:pt x="0" y="180"/>
                </a:lnTo>
                <a:lnTo>
                  <a:pt x="1" y="173"/>
                </a:lnTo>
                <a:lnTo>
                  <a:pt x="2" y="165"/>
                </a:lnTo>
                <a:lnTo>
                  <a:pt x="5" y="158"/>
                </a:lnTo>
                <a:lnTo>
                  <a:pt x="11" y="145"/>
                </a:lnTo>
                <a:lnTo>
                  <a:pt x="18" y="133"/>
                </a:lnTo>
                <a:lnTo>
                  <a:pt x="33" y="109"/>
                </a:lnTo>
                <a:lnTo>
                  <a:pt x="46" y="90"/>
                </a:lnTo>
                <a:lnTo>
                  <a:pt x="48" y="81"/>
                </a:lnTo>
                <a:lnTo>
                  <a:pt x="50" y="72"/>
                </a:lnTo>
                <a:lnTo>
                  <a:pt x="52" y="62"/>
                </a:lnTo>
                <a:lnTo>
                  <a:pt x="53" y="53"/>
                </a:lnTo>
                <a:lnTo>
                  <a:pt x="53" y="41"/>
                </a:lnTo>
                <a:lnTo>
                  <a:pt x="54" y="34"/>
                </a:lnTo>
                <a:lnTo>
                  <a:pt x="55" y="30"/>
                </a:lnTo>
                <a:lnTo>
                  <a:pt x="56" y="28"/>
                </a:lnTo>
                <a:lnTo>
                  <a:pt x="57" y="26"/>
                </a:lnTo>
                <a:lnTo>
                  <a:pt x="58" y="25"/>
                </a:lnTo>
                <a:lnTo>
                  <a:pt x="60" y="22"/>
                </a:lnTo>
                <a:lnTo>
                  <a:pt x="60" y="16"/>
                </a:lnTo>
                <a:lnTo>
                  <a:pt x="44" y="7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fr-FR" dirty="0"/>
          </a:p>
        </p:txBody>
      </p:sp>
      <p:sp>
        <p:nvSpPr>
          <p:cNvPr id="20" name="Freeform 12"/>
          <p:cNvSpPr>
            <a:spLocks/>
          </p:cNvSpPr>
          <p:nvPr>
            <p:custDataLst>
              <p:tags r:id="rId4"/>
            </p:custDataLst>
          </p:nvPr>
        </p:nvSpPr>
        <p:spPr bwMode="auto">
          <a:xfrm>
            <a:off x="856609" y="3440258"/>
            <a:ext cx="212598" cy="368109"/>
          </a:xfrm>
          <a:custGeom>
            <a:avLst/>
            <a:gdLst>
              <a:gd name="T0" fmla="*/ 4824724 w 398"/>
              <a:gd name="T1" fmla="*/ 542876 h 518"/>
              <a:gd name="T2" fmla="*/ 17629195 w 398"/>
              <a:gd name="T3" fmla="*/ 3528694 h 518"/>
              <a:gd name="T4" fmla="*/ 21526021 w 398"/>
              <a:gd name="T5" fmla="*/ 6243074 h 518"/>
              <a:gd name="T6" fmla="*/ 14845502 w 398"/>
              <a:gd name="T7" fmla="*/ 12757585 h 518"/>
              <a:gd name="T8" fmla="*/ 11876574 w 398"/>
              <a:gd name="T9" fmla="*/ 16829155 h 518"/>
              <a:gd name="T10" fmla="*/ 14288936 w 398"/>
              <a:gd name="T11" fmla="*/ 18729221 h 518"/>
              <a:gd name="T12" fmla="*/ 30990234 w 398"/>
              <a:gd name="T13" fmla="*/ 21443601 h 518"/>
              <a:gd name="T14" fmla="*/ 38969982 w 398"/>
              <a:gd name="T15" fmla="*/ 29586219 h 518"/>
              <a:gd name="T16" fmla="*/ 28577872 w 398"/>
              <a:gd name="T17" fmla="*/ 34472103 h 518"/>
              <a:gd name="T18" fmla="*/ 27278643 w 398"/>
              <a:gd name="T19" fmla="*/ 37457921 h 518"/>
              <a:gd name="T20" fmla="*/ 35444057 w 398"/>
              <a:gd name="T21" fmla="*/ 38815111 h 518"/>
              <a:gd name="T22" fmla="*/ 39155217 w 398"/>
              <a:gd name="T23" fmla="*/ 42343804 h 518"/>
              <a:gd name="T24" fmla="*/ 45093504 w 398"/>
              <a:gd name="T25" fmla="*/ 51844134 h 518"/>
              <a:gd name="T26" fmla="*/ 47877197 w 398"/>
              <a:gd name="T27" fmla="*/ 57544331 h 518"/>
              <a:gd name="T28" fmla="*/ 48248529 w 398"/>
              <a:gd name="T29" fmla="*/ 64330281 h 518"/>
              <a:gd name="T30" fmla="*/ 50475225 w 398"/>
              <a:gd name="T31" fmla="*/ 68944727 h 518"/>
              <a:gd name="T32" fmla="*/ 53073252 w 398"/>
              <a:gd name="T33" fmla="*/ 75730155 h 518"/>
              <a:gd name="T34" fmla="*/ 56784412 w 398"/>
              <a:gd name="T35" fmla="*/ 80616039 h 518"/>
              <a:gd name="T36" fmla="*/ 60681669 w 398"/>
              <a:gd name="T37" fmla="*/ 86859112 h 518"/>
              <a:gd name="T38" fmla="*/ 64207163 w 398"/>
              <a:gd name="T39" fmla="*/ 91473558 h 518"/>
              <a:gd name="T40" fmla="*/ 68660986 w 398"/>
              <a:gd name="T41" fmla="*/ 92559310 h 518"/>
              <a:gd name="T42" fmla="*/ 73485710 w 398"/>
              <a:gd name="T43" fmla="*/ 99073822 h 518"/>
              <a:gd name="T44" fmla="*/ 73300475 w 398"/>
              <a:gd name="T45" fmla="*/ 107216961 h 518"/>
              <a:gd name="T46" fmla="*/ 70888113 w 398"/>
              <a:gd name="T47" fmla="*/ 109659903 h 518"/>
              <a:gd name="T48" fmla="*/ 68104420 w 398"/>
              <a:gd name="T49" fmla="*/ 112645721 h 518"/>
              <a:gd name="T50" fmla="*/ 68290086 w 398"/>
              <a:gd name="T51" fmla="*/ 115631539 h 518"/>
              <a:gd name="T52" fmla="*/ 69774550 w 398"/>
              <a:gd name="T53" fmla="*/ 120245463 h 518"/>
              <a:gd name="T54" fmla="*/ 66619956 w 398"/>
              <a:gd name="T55" fmla="*/ 125674223 h 518"/>
              <a:gd name="T56" fmla="*/ 27093408 w 398"/>
              <a:gd name="T57" fmla="*/ 135717428 h 518"/>
              <a:gd name="T58" fmla="*/ 12618806 w 398"/>
              <a:gd name="T59" fmla="*/ 137888932 h 518"/>
              <a:gd name="T60" fmla="*/ 9835113 w 398"/>
              <a:gd name="T61" fmla="*/ 140603312 h 518"/>
              <a:gd name="T62" fmla="*/ 10763011 w 398"/>
              <a:gd name="T63" fmla="*/ 133817362 h 518"/>
              <a:gd name="T64" fmla="*/ 13175372 w 398"/>
              <a:gd name="T65" fmla="*/ 129202917 h 518"/>
              <a:gd name="T66" fmla="*/ 21155121 w 398"/>
              <a:gd name="T67" fmla="*/ 124317033 h 518"/>
              <a:gd name="T68" fmla="*/ 31918131 w 398"/>
              <a:gd name="T69" fmla="*/ 119159711 h 518"/>
              <a:gd name="T70" fmla="*/ 33216930 w 398"/>
              <a:gd name="T71" fmla="*/ 115631539 h 518"/>
              <a:gd name="T72" fmla="*/ 31732466 w 398"/>
              <a:gd name="T73" fmla="*/ 117802521 h 518"/>
              <a:gd name="T74" fmla="*/ 20598124 w 398"/>
              <a:gd name="T75" fmla="*/ 117259646 h 518"/>
              <a:gd name="T76" fmla="*/ 14103270 w 398"/>
              <a:gd name="T77" fmla="*/ 114002911 h 518"/>
              <a:gd name="T78" fmla="*/ 14288936 w 398"/>
              <a:gd name="T79" fmla="*/ 109117027 h 518"/>
              <a:gd name="T80" fmla="*/ 17629195 w 398"/>
              <a:gd name="T81" fmla="*/ 106131209 h 518"/>
              <a:gd name="T82" fmla="*/ 16144731 w 398"/>
              <a:gd name="T83" fmla="*/ 95545128 h 518"/>
              <a:gd name="T84" fmla="*/ 19484991 w 398"/>
              <a:gd name="T85" fmla="*/ 89302054 h 518"/>
              <a:gd name="T86" fmla="*/ 28577872 w 398"/>
              <a:gd name="T87" fmla="*/ 83873295 h 518"/>
              <a:gd name="T88" fmla="*/ 31918131 w 398"/>
              <a:gd name="T89" fmla="*/ 78987411 h 518"/>
              <a:gd name="T90" fmla="*/ 27464308 w 398"/>
              <a:gd name="T91" fmla="*/ 73558651 h 518"/>
              <a:gd name="T92" fmla="*/ 25794179 w 398"/>
              <a:gd name="T93" fmla="*/ 67044661 h 518"/>
              <a:gd name="T94" fmla="*/ 17443530 w 398"/>
              <a:gd name="T95" fmla="*/ 64873157 h 518"/>
              <a:gd name="T96" fmla="*/ 14845502 w 398"/>
              <a:gd name="T97" fmla="*/ 58630083 h 518"/>
              <a:gd name="T98" fmla="*/ 16701298 w 398"/>
              <a:gd name="T99" fmla="*/ 52115572 h 518"/>
              <a:gd name="T100" fmla="*/ 18557093 w 398"/>
              <a:gd name="T101" fmla="*/ 45601060 h 518"/>
              <a:gd name="T102" fmla="*/ 13546704 w 398"/>
              <a:gd name="T103" fmla="*/ 50486944 h 518"/>
              <a:gd name="T104" fmla="*/ 4082492 w 398"/>
              <a:gd name="T105" fmla="*/ 43972432 h 518"/>
              <a:gd name="T106" fmla="*/ 3711591 w 398"/>
              <a:gd name="T107" fmla="*/ 38543673 h 518"/>
              <a:gd name="T108" fmla="*/ 2598028 w 398"/>
              <a:gd name="T109" fmla="*/ 35557855 h 518"/>
              <a:gd name="T110" fmla="*/ 3711591 w 398"/>
              <a:gd name="T111" fmla="*/ 17100593 h 518"/>
              <a:gd name="T112" fmla="*/ 3525925 w 398"/>
              <a:gd name="T113" fmla="*/ 13300461 h 518"/>
              <a:gd name="T114" fmla="*/ 742232 w 398"/>
              <a:gd name="T115" fmla="*/ 10857519 h 518"/>
              <a:gd name="T116" fmla="*/ 3711591 w 398"/>
              <a:gd name="T117" fmla="*/ 5157322 h 518"/>
              <a:gd name="T118" fmla="*/ 556566 w 398"/>
              <a:gd name="T119" fmla="*/ 2442942 h 518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398" h="518">
                <a:moveTo>
                  <a:pt x="0" y="1"/>
                </a:moveTo>
                <a:lnTo>
                  <a:pt x="6" y="0"/>
                </a:lnTo>
                <a:lnTo>
                  <a:pt x="15" y="1"/>
                </a:lnTo>
                <a:lnTo>
                  <a:pt x="26" y="2"/>
                </a:lnTo>
                <a:lnTo>
                  <a:pt x="39" y="5"/>
                </a:lnTo>
                <a:lnTo>
                  <a:pt x="56" y="8"/>
                </a:lnTo>
                <a:lnTo>
                  <a:pt x="75" y="11"/>
                </a:lnTo>
                <a:lnTo>
                  <a:pt x="95" y="13"/>
                </a:lnTo>
                <a:lnTo>
                  <a:pt x="120" y="13"/>
                </a:lnTo>
                <a:lnTo>
                  <a:pt x="120" y="17"/>
                </a:lnTo>
                <a:lnTo>
                  <a:pt x="118" y="20"/>
                </a:lnTo>
                <a:lnTo>
                  <a:pt x="116" y="23"/>
                </a:lnTo>
                <a:lnTo>
                  <a:pt x="114" y="26"/>
                </a:lnTo>
                <a:lnTo>
                  <a:pt x="107" y="32"/>
                </a:lnTo>
                <a:lnTo>
                  <a:pt x="99" y="37"/>
                </a:lnTo>
                <a:lnTo>
                  <a:pt x="80" y="47"/>
                </a:lnTo>
                <a:lnTo>
                  <a:pt x="66" y="57"/>
                </a:lnTo>
                <a:lnTo>
                  <a:pt x="65" y="59"/>
                </a:lnTo>
                <a:lnTo>
                  <a:pt x="64" y="61"/>
                </a:lnTo>
                <a:lnTo>
                  <a:pt x="64" y="62"/>
                </a:lnTo>
                <a:lnTo>
                  <a:pt x="65" y="64"/>
                </a:lnTo>
                <a:lnTo>
                  <a:pt x="68" y="66"/>
                </a:lnTo>
                <a:lnTo>
                  <a:pt x="71" y="67"/>
                </a:lnTo>
                <a:lnTo>
                  <a:pt x="77" y="69"/>
                </a:lnTo>
                <a:lnTo>
                  <a:pt x="84" y="70"/>
                </a:lnTo>
                <a:lnTo>
                  <a:pt x="103" y="73"/>
                </a:lnTo>
                <a:lnTo>
                  <a:pt x="131" y="76"/>
                </a:lnTo>
                <a:lnTo>
                  <a:pt x="167" y="79"/>
                </a:lnTo>
                <a:lnTo>
                  <a:pt x="213" y="81"/>
                </a:lnTo>
                <a:lnTo>
                  <a:pt x="213" y="91"/>
                </a:lnTo>
                <a:lnTo>
                  <a:pt x="213" y="105"/>
                </a:lnTo>
                <a:lnTo>
                  <a:pt x="210" y="109"/>
                </a:lnTo>
                <a:lnTo>
                  <a:pt x="202" y="112"/>
                </a:lnTo>
                <a:lnTo>
                  <a:pt x="191" y="116"/>
                </a:lnTo>
                <a:lnTo>
                  <a:pt x="179" y="120"/>
                </a:lnTo>
                <a:lnTo>
                  <a:pt x="154" y="127"/>
                </a:lnTo>
                <a:lnTo>
                  <a:pt x="139" y="130"/>
                </a:lnTo>
                <a:lnTo>
                  <a:pt x="142" y="133"/>
                </a:lnTo>
                <a:lnTo>
                  <a:pt x="144" y="136"/>
                </a:lnTo>
                <a:lnTo>
                  <a:pt x="147" y="138"/>
                </a:lnTo>
                <a:lnTo>
                  <a:pt x="150" y="140"/>
                </a:lnTo>
                <a:lnTo>
                  <a:pt x="160" y="142"/>
                </a:lnTo>
                <a:lnTo>
                  <a:pt x="170" y="143"/>
                </a:lnTo>
                <a:lnTo>
                  <a:pt x="191" y="143"/>
                </a:lnTo>
                <a:lnTo>
                  <a:pt x="206" y="142"/>
                </a:lnTo>
                <a:lnTo>
                  <a:pt x="206" y="147"/>
                </a:lnTo>
                <a:lnTo>
                  <a:pt x="208" y="152"/>
                </a:lnTo>
                <a:lnTo>
                  <a:pt x="211" y="156"/>
                </a:lnTo>
                <a:lnTo>
                  <a:pt x="214" y="161"/>
                </a:lnTo>
                <a:lnTo>
                  <a:pt x="223" y="172"/>
                </a:lnTo>
                <a:lnTo>
                  <a:pt x="233" y="182"/>
                </a:lnTo>
                <a:lnTo>
                  <a:pt x="243" y="191"/>
                </a:lnTo>
                <a:lnTo>
                  <a:pt x="250" y="200"/>
                </a:lnTo>
                <a:lnTo>
                  <a:pt x="254" y="205"/>
                </a:lnTo>
                <a:lnTo>
                  <a:pt x="257" y="209"/>
                </a:lnTo>
                <a:lnTo>
                  <a:pt x="258" y="212"/>
                </a:lnTo>
                <a:lnTo>
                  <a:pt x="259" y="216"/>
                </a:lnTo>
                <a:lnTo>
                  <a:pt x="259" y="223"/>
                </a:lnTo>
                <a:lnTo>
                  <a:pt x="260" y="232"/>
                </a:lnTo>
                <a:lnTo>
                  <a:pt x="260" y="237"/>
                </a:lnTo>
                <a:lnTo>
                  <a:pt x="262" y="241"/>
                </a:lnTo>
                <a:lnTo>
                  <a:pt x="263" y="244"/>
                </a:lnTo>
                <a:lnTo>
                  <a:pt x="266" y="247"/>
                </a:lnTo>
                <a:lnTo>
                  <a:pt x="272" y="254"/>
                </a:lnTo>
                <a:lnTo>
                  <a:pt x="277" y="261"/>
                </a:lnTo>
                <a:lnTo>
                  <a:pt x="280" y="267"/>
                </a:lnTo>
                <a:lnTo>
                  <a:pt x="283" y="273"/>
                </a:lnTo>
                <a:lnTo>
                  <a:pt x="286" y="279"/>
                </a:lnTo>
                <a:lnTo>
                  <a:pt x="291" y="284"/>
                </a:lnTo>
                <a:lnTo>
                  <a:pt x="297" y="288"/>
                </a:lnTo>
                <a:lnTo>
                  <a:pt x="305" y="291"/>
                </a:lnTo>
                <a:lnTo>
                  <a:pt x="306" y="297"/>
                </a:lnTo>
                <a:lnTo>
                  <a:pt x="310" y="304"/>
                </a:lnTo>
                <a:lnTo>
                  <a:pt x="315" y="310"/>
                </a:lnTo>
                <a:lnTo>
                  <a:pt x="320" y="316"/>
                </a:lnTo>
                <a:lnTo>
                  <a:pt x="327" y="320"/>
                </a:lnTo>
                <a:lnTo>
                  <a:pt x="334" y="324"/>
                </a:lnTo>
                <a:lnTo>
                  <a:pt x="340" y="326"/>
                </a:lnTo>
                <a:lnTo>
                  <a:pt x="346" y="327"/>
                </a:lnTo>
                <a:lnTo>
                  <a:pt x="346" y="337"/>
                </a:lnTo>
                <a:lnTo>
                  <a:pt x="346" y="346"/>
                </a:lnTo>
                <a:lnTo>
                  <a:pt x="355" y="343"/>
                </a:lnTo>
                <a:lnTo>
                  <a:pt x="363" y="341"/>
                </a:lnTo>
                <a:lnTo>
                  <a:pt x="370" y="341"/>
                </a:lnTo>
                <a:lnTo>
                  <a:pt x="376" y="342"/>
                </a:lnTo>
                <a:lnTo>
                  <a:pt x="389" y="347"/>
                </a:lnTo>
                <a:lnTo>
                  <a:pt x="398" y="352"/>
                </a:lnTo>
                <a:lnTo>
                  <a:pt x="396" y="365"/>
                </a:lnTo>
                <a:lnTo>
                  <a:pt x="394" y="376"/>
                </a:lnTo>
                <a:lnTo>
                  <a:pt x="393" y="382"/>
                </a:lnTo>
                <a:lnTo>
                  <a:pt x="393" y="389"/>
                </a:lnTo>
                <a:lnTo>
                  <a:pt x="395" y="395"/>
                </a:lnTo>
                <a:lnTo>
                  <a:pt x="398" y="401"/>
                </a:lnTo>
                <a:lnTo>
                  <a:pt x="393" y="402"/>
                </a:lnTo>
                <a:lnTo>
                  <a:pt x="387" y="403"/>
                </a:lnTo>
                <a:lnTo>
                  <a:pt x="382" y="404"/>
                </a:lnTo>
                <a:lnTo>
                  <a:pt x="376" y="406"/>
                </a:lnTo>
                <a:lnTo>
                  <a:pt x="372" y="409"/>
                </a:lnTo>
                <a:lnTo>
                  <a:pt x="369" y="412"/>
                </a:lnTo>
                <a:lnTo>
                  <a:pt x="367" y="415"/>
                </a:lnTo>
                <a:lnTo>
                  <a:pt x="365" y="420"/>
                </a:lnTo>
                <a:lnTo>
                  <a:pt x="365" y="422"/>
                </a:lnTo>
                <a:lnTo>
                  <a:pt x="367" y="424"/>
                </a:lnTo>
                <a:lnTo>
                  <a:pt x="368" y="426"/>
                </a:lnTo>
                <a:lnTo>
                  <a:pt x="370" y="429"/>
                </a:lnTo>
                <a:lnTo>
                  <a:pt x="376" y="433"/>
                </a:lnTo>
                <a:lnTo>
                  <a:pt x="385" y="438"/>
                </a:lnTo>
                <a:lnTo>
                  <a:pt x="376" y="443"/>
                </a:lnTo>
                <a:lnTo>
                  <a:pt x="371" y="447"/>
                </a:lnTo>
                <a:lnTo>
                  <a:pt x="367" y="451"/>
                </a:lnTo>
                <a:lnTo>
                  <a:pt x="363" y="455"/>
                </a:lnTo>
                <a:lnTo>
                  <a:pt x="359" y="463"/>
                </a:lnTo>
                <a:lnTo>
                  <a:pt x="352" y="475"/>
                </a:lnTo>
                <a:lnTo>
                  <a:pt x="146" y="475"/>
                </a:lnTo>
                <a:lnTo>
                  <a:pt x="146" y="487"/>
                </a:lnTo>
                <a:lnTo>
                  <a:pt x="146" y="500"/>
                </a:lnTo>
                <a:lnTo>
                  <a:pt x="116" y="501"/>
                </a:lnTo>
                <a:lnTo>
                  <a:pt x="90" y="503"/>
                </a:lnTo>
                <a:lnTo>
                  <a:pt x="78" y="505"/>
                </a:lnTo>
                <a:lnTo>
                  <a:pt x="68" y="508"/>
                </a:lnTo>
                <a:lnTo>
                  <a:pt x="64" y="510"/>
                </a:lnTo>
                <a:lnTo>
                  <a:pt x="59" y="512"/>
                </a:lnTo>
                <a:lnTo>
                  <a:pt x="56" y="515"/>
                </a:lnTo>
                <a:lnTo>
                  <a:pt x="53" y="518"/>
                </a:lnTo>
                <a:lnTo>
                  <a:pt x="54" y="511"/>
                </a:lnTo>
                <a:lnTo>
                  <a:pt x="55" y="505"/>
                </a:lnTo>
                <a:lnTo>
                  <a:pt x="56" y="499"/>
                </a:lnTo>
                <a:lnTo>
                  <a:pt x="58" y="493"/>
                </a:lnTo>
                <a:lnTo>
                  <a:pt x="61" y="488"/>
                </a:lnTo>
                <a:lnTo>
                  <a:pt x="64" y="484"/>
                </a:lnTo>
                <a:lnTo>
                  <a:pt x="68" y="480"/>
                </a:lnTo>
                <a:lnTo>
                  <a:pt x="71" y="476"/>
                </a:lnTo>
                <a:lnTo>
                  <a:pt x="81" y="470"/>
                </a:lnTo>
                <a:lnTo>
                  <a:pt x="91" y="465"/>
                </a:lnTo>
                <a:lnTo>
                  <a:pt x="102" y="462"/>
                </a:lnTo>
                <a:lnTo>
                  <a:pt x="114" y="458"/>
                </a:lnTo>
                <a:lnTo>
                  <a:pt x="136" y="453"/>
                </a:lnTo>
                <a:lnTo>
                  <a:pt x="157" y="448"/>
                </a:lnTo>
                <a:lnTo>
                  <a:pt x="165" y="444"/>
                </a:lnTo>
                <a:lnTo>
                  <a:pt x="172" y="439"/>
                </a:lnTo>
                <a:lnTo>
                  <a:pt x="174" y="436"/>
                </a:lnTo>
                <a:lnTo>
                  <a:pt x="177" y="433"/>
                </a:lnTo>
                <a:lnTo>
                  <a:pt x="179" y="429"/>
                </a:lnTo>
                <a:lnTo>
                  <a:pt x="179" y="426"/>
                </a:lnTo>
                <a:lnTo>
                  <a:pt x="179" y="428"/>
                </a:lnTo>
                <a:lnTo>
                  <a:pt x="177" y="430"/>
                </a:lnTo>
                <a:lnTo>
                  <a:pt x="174" y="432"/>
                </a:lnTo>
                <a:lnTo>
                  <a:pt x="171" y="434"/>
                </a:lnTo>
                <a:lnTo>
                  <a:pt x="162" y="437"/>
                </a:lnTo>
                <a:lnTo>
                  <a:pt x="152" y="438"/>
                </a:lnTo>
                <a:lnTo>
                  <a:pt x="137" y="437"/>
                </a:lnTo>
                <a:lnTo>
                  <a:pt x="111" y="432"/>
                </a:lnTo>
                <a:lnTo>
                  <a:pt x="96" y="429"/>
                </a:lnTo>
                <a:lnTo>
                  <a:pt x="84" y="425"/>
                </a:lnTo>
                <a:lnTo>
                  <a:pt x="80" y="423"/>
                </a:lnTo>
                <a:lnTo>
                  <a:pt x="76" y="420"/>
                </a:lnTo>
                <a:lnTo>
                  <a:pt x="73" y="417"/>
                </a:lnTo>
                <a:lnTo>
                  <a:pt x="73" y="414"/>
                </a:lnTo>
                <a:lnTo>
                  <a:pt x="73" y="407"/>
                </a:lnTo>
                <a:lnTo>
                  <a:pt x="77" y="402"/>
                </a:lnTo>
                <a:lnTo>
                  <a:pt x="80" y="398"/>
                </a:lnTo>
                <a:lnTo>
                  <a:pt x="84" y="395"/>
                </a:lnTo>
                <a:lnTo>
                  <a:pt x="90" y="392"/>
                </a:lnTo>
                <a:lnTo>
                  <a:pt x="95" y="391"/>
                </a:lnTo>
                <a:lnTo>
                  <a:pt x="101" y="390"/>
                </a:lnTo>
                <a:lnTo>
                  <a:pt x="106" y="389"/>
                </a:lnTo>
                <a:lnTo>
                  <a:pt x="106" y="352"/>
                </a:lnTo>
                <a:lnTo>
                  <a:pt x="87" y="352"/>
                </a:lnTo>
                <a:lnTo>
                  <a:pt x="90" y="345"/>
                </a:lnTo>
                <a:lnTo>
                  <a:pt x="94" y="339"/>
                </a:lnTo>
                <a:lnTo>
                  <a:pt x="100" y="334"/>
                </a:lnTo>
                <a:lnTo>
                  <a:pt x="105" y="329"/>
                </a:lnTo>
                <a:lnTo>
                  <a:pt x="117" y="323"/>
                </a:lnTo>
                <a:lnTo>
                  <a:pt x="129" y="319"/>
                </a:lnTo>
                <a:lnTo>
                  <a:pt x="142" y="315"/>
                </a:lnTo>
                <a:lnTo>
                  <a:pt x="154" y="309"/>
                </a:lnTo>
                <a:lnTo>
                  <a:pt x="159" y="306"/>
                </a:lnTo>
                <a:lnTo>
                  <a:pt x="163" y="302"/>
                </a:lnTo>
                <a:lnTo>
                  <a:pt x="169" y="297"/>
                </a:lnTo>
                <a:lnTo>
                  <a:pt x="172" y="291"/>
                </a:lnTo>
                <a:lnTo>
                  <a:pt x="166" y="286"/>
                </a:lnTo>
                <a:lnTo>
                  <a:pt x="159" y="281"/>
                </a:lnTo>
                <a:lnTo>
                  <a:pt x="154" y="277"/>
                </a:lnTo>
                <a:lnTo>
                  <a:pt x="148" y="271"/>
                </a:lnTo>
                <a:lnTo>
                  <a:pt x="145" y="265"/>
                </a:lnTo>
                <a:lnTo>
                  <a:pt x="142" y="260"/>
                </a:lnTo>
                <a:lnTo>
                  <a:pt x="140" y="254"/>
                </a:lnTo>
                <a:lnTo>
                  <a:pt x="139" y="247"/>
                </a:lnTo>
                <a:lnTo>
                  <a:pt x="125" y="247"/>
                </a:lnTo>
                <a:lnTo>
                  <a:pt x="113" y="245"/>
                </a:lnTo>
                <a:lnTo>
                  <a:pt x="103" y="242"/>
                </a:lnTo>
                <a:lnTo>
                  <a:pt x="94" y="239"/>
                </a:lnTo>
                <a:lnTo>
                  <a:pt x="88" y="235"/>
                </a:lnTo>
                <a:lnTo>
                  <a:pt x="83" y="229"/>
                </a:lnTo>
                <a:lnTo>
                  <a:pt x="80" y="224"/>
                </a:lnTo>
                <a:lnTo>
                  <a:pt x="80" y="216"/>
                </a:lnTo>
                <a:lnTo>
                  <a:pt x="80" y="209"/>
                </a:lnTo>
                <a:lnTo>
                  <a:pt x="82" y="203"/>
                </a:lnTo>
                <a:lnTo>
                  <a:pt x="86" y="198"/>
                </a:lnTo>
                <a:lnTo>
                  <a:pt x="90" y="192"/>
                </a:lnTo>
                <a:lnTo>
                  <a:pt x="93" y="186"/>
                </a:lnTo>
                <a:lnTo>
                  <a:pt x="96" y="180"/>
                </a:lnTo>
                <a:lnTo>
                  <a:pt x="99" y="174"/>
                </a:lnTo>
                <a:lnTo>
                  <a:pt x="100" y="168"/>
                </a:lnTo>
                <a:lnTo>
                  <a:pt x="92" y="171"/>
                </a:lnTo>
                <a:lnTo>
                  <a:pt x="86" y="175"/>
                </a:lnTo>
                <a:lnTo>
                  <a:pt x="80" y="180"/>
                </a:lnTo>
                <a:lnTo>
                  <a:pt x="73" y="186"/>
                </a:lnTo>
                <a:lnTo>
                  <a:pt x="64" y="199"/>
                </a:lnTo>
                <a:lnTo>
                  <a:pt x="53" y="210"/>
                </a:lnTo>
                <a:lnTo>
                  <a:pt x="31" y="179"/>
                </a:lnTo>
                <a:lnTo>
                  <a:pt x="22" y="162"/>
                </a:lnTo>
                <a:lnTo>
                  <a:pt x="20" y="157"/>
                </a:lnTo>
                <a:lnTo>
                  <a:pt x="20" y="153"/>
                </a:lnTo>
                <a:lnTo>
                  <a:pt x="20" y="148"/>
                </a:lnTo>
                <a:lnTo>
                  <a:pt x="20" y="142"/>
                </a:lnTo>
                <a:lnTo>
                  <a:pt x="17" y="141"/>
                </a:lnTo>
                <a:lnTo>
                  <a:pt x="16" y="138"/>
                </a:lnTo>
                <a:lnTo>
                  <a:pt x="15" y="135"/>
                </a:lnTo>
                <a:lnTo>
                  <a:pt x="14" y="131"/>
                </a:lnTo>
                <a:lnTo>
                  <a:pt x="14" y="121"/>
                </a:lnTo>
                <a:lnTo>
                  <a:pt x="15" y="110"/>
                </a:lnTo>
                <a:lnTo>
                  <a:pt x="17" y="84"/>
                </a:lnTo>
                <a:lnTo>
                  <a:pt x="20" y="63"/>
                </a:lnTo>
                <a:lnTo>
                  <a:pt x="21" y="59"/>
                </a:lnTo>
                <a:lnTo>
                  <a:pt x="21" y="55"/>
                </a:lnTo>
                <a:lnTo>
                  <a:pt x="20" y="51"/>
                </a:lnTo>
                <a:lnTo>
                  <a:pt x="19" y="49"/>
                </a:lnTo>
                <a:lnTo>
                  <a:pt x="15" y="45"/>
                </a:lnTo>
                <a:lnTo>
                  <a:pt x="11" y="43"/>
                </a:lnTo>
                <a:lnTo>
                  <a:pt x="6" y="41"/>
                </a:lnTo>
                <a:lnTo>
                  <a:pt x="4" y="40"/>
                </a:lnTo>
                <a:lnTo>
                  <a:pt x="3" y="39"/>
                </a:lnTo>
                <a:lnTo>
                  <a:pt x="6" y="37"/>
                </a:lnTo>
                <a:lnTo>
                  <a:pt x="13" y="28"/>
                </a:lnTo>
                <a:lnTo>
                  <a:pt x="20" y="19"/>
                </a:lnTo>
                <a:lnTo>
                  <a:pt x="20" y="13"/>
                </a:lnTo>
                <a:lnTo>
                  <a:pt x="11" y="11"/>
                </a:lnTo>
                <a:lnTo>
                  <a:pt x="5" y="10"/>
                </a:lnTo>
                <a:lnTo>
                  <a:pt x="3" y="9"/>
                </a:lnTo>
                <a:lnTo>
                  <a:pt x="1" y="7"/>
                </a:lnTo>
                <a:lnTo>
                  <a:pt x="0" y="5"/>
                </a:lnTo>
                <a:lnTo>
                  <a:pt x="0" y="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 dirty="0"/>
          </a:p>
        </p:txBody>
      </p:sp>
      <p:sp>
        <p:nvSpPr>
          <p:cNvPr id="21" name="Freeform 13"/>
          <p:cNvSpPr>
            <a:spLocks/>
          </p:cNvSpPr>
          <p:nvPr>
            <p:custDataLst>
              <p:tags r:id="rId5"/>
            </p:custDataLst>
          </p:nvPr>
        </p:nvSpPr>
        <p:spPr bwMode="auto">
          <a:xfrm>
            <a:off x="1301491" y="3853839"/>
            <a:ext cx="210629" cy="103937"/>
          </a:xfrm>
          <a:custGeom>
            <a:avLst/>
            <a:gdLst>
              <a:gd name="T0" fmla="*/ 37567961 w 382"/>
              <a:gd name="T1" fmla="*/ 5566719 h 148"/>
              <a:gd name="T2" fmla="*/ 34997797 w 382"/>
              <a:gd name="T3" fmla="*/ 8217758 h 148"/>
              <a:gd name="T4" fmla="*/ 34404614 w 382"/>
              <a:gd name="T5" fmla="*/ 11928904 h 148"/>
              <a:gd name="T6" fmla="*/ 33218248 w 382"/>
              <a:gd name="T7" fmla="*/ 14049632 h 148"/>
              <a:gd name="T8" fmla="*/ 32822497 w 382"/>
              <a:gd name="T9" fmla="*/ 16170361 h 148"/>
              <a:gd name="T10" fmla="*/ 34997797 w 382"/>
              <a:gd name="T11" fmla="*/ 19616351 h 148"/>
              <a:gd name="T12" fmla="*/ 30647640 w 382"/>
              <a:gd name="T13" fmla="*/ 22797186 h 148"/>
              <a:gd name="T14" fmla="*/ 21354588 w 382"/>
              <a:gd name="T15" fmla="*/ 25448226 h 148"/>
              <a:gd name="T16" fmla="*/ 15224882 w 382"/>
              <a:gd name="T17" fmla="*/ 25713381 h 148"/>
              <a:gd name="T18" fmla="*/ 10281987 w 382"/>
              <a:gd name="T19" fmla="*/ 25183070 h 148"/>
              <a:gd name="T20" fmla="*/ 791059 w 382"/>
              <a:gd name="T21" fmla="*/ 29424527 h 148"/>
              <a:gd name="T22" fmla="*/ 0 w 382"/>
              <a:gd name="T23" fmla="*/ 34196295 h 148"/>
              <a:gd name="T24" fmla="*/ 791059 w 382"/>
              <a:gd name="T25" fmla="*/ 34726091 h 148"/>
              <a:gd name="T26" fmla="*/ 2372732 w 382"/>
              <a:gd name="T27" fmla="*/ 34726091 h 148"/>
              <a:gd name="T28" fmla="*/ 10084111 w 382"/>
              <a:gd name="T29" fmla="*/ 34196295 h 148"/>
              <a:gd name="T30" fmla="*/ 22540954 w 382"/>
              <a:gd name="T31" fmla="*/ 33665984 h 148"/>
              <a:gd name="T32" fmla="*/ 24320503 w 382"/>
              <a:gd name="T33" fmla="*/ 35521557 h 148"/>
              <a:gd name="T34" fmla="*/ 27088542 w 382"/>
              <a:gd name="T35" fmla="*/ 37377130 h 148"/>
              <a:gd name="T36" fmla="*/ 31438699 w 382"/>
              <a:gd name="T37" fmla="*/ 38967547 h 148"/>
              <a:gd name="T38" fmla="*/ 36579470 w 382"/>
              <a:gd name="T39" fmla="*/ 39232703 h 148"/>
              <a:gd name="T40" fmla="*/ 41522810 w 382"/>
              <a:gd name="T41" fmla="*/ 39232703 h 148"/>
              <a:gd name="T42" fmla="*/ 46070399 w 382"/>
              <a:gd name="T43" fmla="*/ 39232703 h 148"/>
              <a:gd name="T44" fmla="*/ 50420555 w 382"/>
              <a:gd name="T45" fmla="*/ 39232703 h 148"/>
              <a:gd name="T46" fmla="*/ 54374961 w 382"/>
              <a:gd name="T47" fmla="*/ 37907441 h 148"/>
              <a:gd name="T48" fmla="*/ 59515732 w 382"/>
              <a:gd name="T49" fmla="*/ 35521557 h 148"/>
              <a:gd name="T50" fmla="*/ 66040745 w 382"/>
              <a:gd name="T51" fmla="*/ 32075566 h 148"/>
              <a:gd name="T52" fmla="*/ 69797719 w 382"/>
              <a:gd name="T53" fmla="*/ 27303799 h 148"/>
              <a:gd name="T54" fmla="*/ 73554248 w 382"/>
              <a:gd name="T55" fmla="*/ 19086041 h 148"/>
              <a:gd name="T56" fmla="*/ 74345307 w 382"/>
              <a:gd name="T57" fmla="*/ 13784477 h 148"/>
              <a:gd name="T58" fmla="*/ 71774699 w 382"/>
              <a:gd name="T59" fmla="*/ 11663749 h 148"/>
              <a:gd name="T60" fmla="*/ 70588333 w 382"/>
              <a:gd name="T61" fmla="*/ 8482914 h 148"/>
              <a:gd name="T62" fmla="*/ 68611353 w 382"/>
              <a:gd name="T63" fmla="*/ 5831874 h 148"/>
              <a:gd name="T64" fmla="*/ 66040745 w 382"/>
              <a:gd name="T65" fmla="*/ 4506612 h 148"/>
              <a:gd name="T66" fmla="*/ 63074830 w 382"/>
              <a:gd name="T67" fmla="*/ 2120728 h 148"/>
              <a:gd name="T68" fmla="*/ 40138568 w 382"/>
              <a:gd name="T69" fmla="*/ 4771768 h 148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0" t="0" r="r" b="b"/>
            <a:pathLst>
              <a:path w="382" h="148">
                <a:moveTo>
                  <a:pt x="203" y="18"/>
                </a:moveTo>
                <a:lnTo>
                  <a:pt x="190" y="21"/>
                </a:lnTo>
                <a:lnTo>
                  <a:pt x="177" y="24"/>
                </a:lnTo>
                <a:lnTo>
                  <a:pt x="177" y="31"/>
                </a:lnTo>
                <a:lnTo>
                  <a:pt x="175" y="40"/>
                </a:lnTo>
                <a:lnTo>
                  <a:pt x="174" y="45"/>
                </a:lnTo>
                <a:lnTo>
                  <a:pt x="172" y="49"/>
                </a:lnTo>
                <a:lnTo>
                  <a:pt x="168" y="53"/>
                </a:lnTo>
                <a:lnTo>
                  <a:pt x="164" y="55"/>
                </a:lnTo>
                <a:lnTo>
                  <a:pt x="166" y="61"/>
                </a:lnTo>
                <a:lnTo>
                  <a:pt x="170" y="67"/>
                </a:lnTo>
                <a:lnTo>
                  <a:pt x="177" y="74"/>
                </a:lnTo>
                <a:lnTo>
                  <a:pt x="184" y="80"/>
                </a:lnTo>
                <a:lnTo>
                  <a:pt x="155" y="86"/>
                </a:lnTo>
                <a:lnTo>
                  <a:pt x="125" y="93"/>
                </a:lnTo>
                <a:lnTo>
                  <a:pt x="108" y="96"/>
                </a:lnTo>
                <a:lnTo>
                  <a:pt x="88" y="97"/>
                </a:lnTo>
                <a:lnTo>
                  <a:pt x="77" y="97"/>
                </a:lnTo>
                <a:lnTo>
                  <a:pt x="65" y="96"/>
                </a:lnTo>
                <a:lnTo>
                  <a:pt x="52" y="95"/>
                </a:lnTo>
                <a:lnTo>
                  <a:pt x="38" y="93"/>
                </a:lnTo>
                <a:lnTo>
                  <a:pt x="4" y="111"/>
                </a:lnTo>
                <a:lnTo>
                  <a:pt x="1" y="122"/>
                </a:lnTo>
                <a:lnTo>
                  <a:pt x="0" y="129"/>
                </a:lnTo>
                <a:lnTo>
                  <a:pt x="1" y="130"/>
                </a:lnTo>
                <a:lnTo>
                  <a:pt x="4" y="131"/>
                </a:lnTo>
                <a:lnTo>
                  <a:pt x="7" y="131"/>
                </a:lnTo>
                <a:lnTo>
                  <a:pt x="12" y="131"/>
                </a:lnTo>
                <a:lnTo>
                  <a:pt x="28" y="131"/>
                </a:lnTo>
                <a:lnTo>
                  <a:pt x="51" y="129"/>
                </a:lnTo>
                <a:lnTo>
                  <a:pt x="110" y="123"/>
                </a:lnTo>
                <a:lnTo>
                  <a:pt x="114" y="127"/>
                </a:lnTo>
                <a:lnTo>
                  <a:pt x="119" y="131"/>
                </a:lnTo>
                <a:lnTo>
                  <a:pt x="123" y="134"/>
                </a:lnTo>
                <a:lnTo>
                  <a:pt x="128" y="137"/>
                </a:lnTo>
                <a:lnTo>
                  <a:pt x="137" y="141"/>
                </a:lnTo>
                <a:lnTo>
                  <a:pt x="148" y="144"/>
                </a:lnTo>
                <a:lnTo>
                  <a:pt x="159" y="147"/>
                </a:lnTo>
                <a:lnTo>
                  <a:pt x="172" y="148"/>
                </a:lnTo>
                <a:lnTo>
                  <a:pt x="185" y="148"/>
                </a:lnTo>
                <a:lnTo>
                  <a:pt x="197" y="148"/>
                </a:lnTo>
                <a:lnTo>
                  <a:pt x="210" y="148"/>
                </a:lnTo>
                <a:lnTo>
                  <a:pt x="222" y="148"/>
                </a:lnTo>
                <a:lnTo>
                  <a:pt x="233" y="148"/>
                </a:lnTo>
                <a:lnTo>
                  <a:pt x="243" y="148"/>
                </a:lnTo>
                <a:lnTo>
                  <a:pt x="255" y="148"/>
                </a:lnTo>
                <a:lnTo>
                  <a:pt x="265" y="145"/>
                </a:lnTo>
                <a:lnTo>
                  <a:pt x="275" y="143"/>
                </a:lnTo>
                <a:lnTo>
                  <a:pt x="284" y="140"/>
                </a:lnTo>
                <a:lnTo>
                  <a:pt x="301" y="134"/>
                </a:lnTo>
                <a:lnTo>
                  <a:pt x="323" y="129"/>
                </a:lnTo>
                <a:lnTo>
                  <a:pt x="334" y="121"/>
                </a:lnTo>
                <a:lnTo>
                  <a:pt x="344" y="113"/>
                </a:lnTo>
                <a:lnTo>
                  <a:pt x="353" y="103"/>
                </a:lnTo>
                <a:lnTo>
                  <a:pt x="360" y="93"/>
                </a:lnTo>
                <a:lnTo>
                  <a:pt x="372" y="72"/>
                </a:lnTo>
                <a:lnTo>
                  <a:pt x="382" y="55"/>
                </a:lnTo>
                <a:lnTo>
                  <a:pt x="376" y="52"/>
                </a:lnTo>
                <a:lnTo>
                  <a:pt x="367" y="47"/>
                </a:lnTo>
                <a:lnTo>
                  <a:pt x="363" y="44"/>
                </a:lnTo>
                <a:lnTo>
                  <a:pt x="359" y="39"/>
                </a:lnTo>
                <a:lnTo>
                  <a:pt x="357" y="32"/>
                </a:lnTo>
                <a:lnTo>
                  <a:pt x="356" y="24"/>
                </a:lnTo>
                <a:lnTo>
                  <a:pt x="347" y="22"/>
                </a:lnTo>
                <a:lnTo>
                  <a:pt x="341" y="20"/>
                </a:lnTo>
                <a:lnTo>
                  <a:pt x="334" y="17"/>
                </a:lnTo>
                <a:lnTo>
                  <a:pt x="330" y="14"/>
                </a:lnTo>
                <a:lnTo>
                  <a:pt x="319" y="8"/>
                </a:lnTo>
                <a:lnTo>
                  <a:pt x="303" y="0"/>
                </a:lnTo>
                <a:lnTo>
                  <a:pt x="203" y="18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fr-FR" dirty="0"/>
          </a:p>
        </p:txBody>
      </p:sp>
      <p:sp>
        <p:nvSpPr>
          <p:cNvPr id="22" name="Freeform 14"/>
          <p:cNvSpPr>
            <a:spLocks/>
          </p:cNvSpPr>
          <p:nvPr>
            <p:custDataLst>
              <p:tags r:id="rId6"/>
            </p:custDataLst>
          </p:nvPr>
        </p:nvSpPr>
        <p:spPr bwMode="auto">
          <a:xfrm>
            <a:off x="3151882" y="3648131"/>
            <a:ext cx="1588580" cy="1416139"/>
          </a:xfrm>
          <a:custGeom>
            <a:avLst/>
            <a:gdLst>
              <a:gd name="T0" fmla="*/ 71018374 w 2936"/>
              <a:gd name="T1" fmla="*/ 293580501 h 1983"/>
              <a:gd name="T2" fmla="*/ 73303082 w 2936"/>
              <a:gd name="T3" fmla="*/ 324007352 h 1983"/>
              <a:gd name="T4" fmla="*/ 91010004 w 2936"/>
              <a:gd name="T5" fmla="*/ 372252092 h 1983"/>
              <a:gd name="T6" fmla="*/ 146225670 w 2936"/>
              <a:gd name="T7" fmla="*/ 408984210 h 1983"/>
              <a:gd name="T8" fmla="*/ 197252413 w 2936"/>
              <a:gd name="T9" fmla="*/ 425430888 h 1983"/>
              <a:gd name="T10" fmla="*/ 214007229 w 2936"/>
              <a:gd name="T11" fmla="*/ 419126145 h 1983"/>
              <a:gd name="T12" fmla="*/ 266747503 w 2936"/>
              <a:gd name="T13" fmla="*/ 396922894 h 1983"/>
              <a:gd name="T14" fmla="*/ 294545364 w 2936"/>
              <a:gd name="T15" fmla="*/ 422690036 h 1983"/>
              <a:gd name="T16" fmla="*/ 300257571 w 2936"/>
              <a:gd name="T17" fmla="*/ 465178203 h 1983"/>
              <a:gd name="T18" fmla="*/ 305969340 w 2936"/>
              <a:gd name="T19" fmla="*/ 486011290 h 1983"/>
              <a:gd name="T20" fmla="*/ 324818617 w 2936"/>
              <a:gd name="T21" fmla="*/ 524113572 h 1983"/>
              <a:gd name="T22" fmla="*/ 350712701 w 2936"/>
              <a:gd name="T23" fmla="*/ 509585228 h 1983"/>
              <a:gd name="T24" fmla="*/ 394504390 w 2936"/>
              <a:gd name="T25" fmla="*/ 508214541 h 1983"/>
              <a:gd name="T26" fmla="*/ 431251273 w 2936"/>
              <a:gd name="T27" fmla="*/ 543575971 h 1983"/>
              <a:gd name="T28" fmla="*/ 448767948 w 2936"/>
              <a:gd name="T29" fmla="*/ 523565401 h 1983"/>
              <a:gd name="T30" fmla="*/ 467807472 w 2936"/>
              <a:gd name="T31" fmla="*/ 511504086 h 1983"/>
              <a:gd name="T32" fmla="*/ 484752971 w 2936"/>
              <a:gd name="T33" fmla="*/ 500539634 h 1983"/>
              <a:gd name="T34" fmla="*/ 510837301 w 2936"/>
              <a:gd name="T35" fmla="*/ 474772491 h 1983"/>
              <a:gd name="T36" fmla="*/ 517691861 w 2936"/>
              <a:gd name="T37" fmla="*/ 442974429 h 1983"/>
              <a:gd name="T38" fmla="*/ 531971722 w 2936"/>
              <a:gd name="T39" fmla="*/ 389247464 h 1983"/>
              <a:gd name="T40" fmla="*/ 515026223 w 2936"/>
              <a:gd name="T41" fmla="*/ 376912324 h 1983"/>
              <a:gd name="T42" fmla="*/ 502650577 w 2936"/>
              <a:gd name="T43" fmla="*/ 348951977 h 1983"/>
              <a:gd name="T44" fmla="*/ 508172099 w 2936"/>
              <a:gd name="T45" fmla="*/ 336343015 h 1983"/>
              <a:gd name="T46" fmla="*/ 482087333 w 2936"/>
              <a:gd name="T47" fmla="*/ 290839126 h 1983"/>
              <a:gd name="T48" fmla="*/ 491797778 w 2936"/>
              <a:gd name="T49" fmla="*/ 272199244 h 1983"/>
              <a:gd name="T50" fmla="*/ 467046048 w 2936"/>
              <a:gd name="T51" fmla="*/ 263701297 h 1983"/>
              <a:gd name="T52" fmla="*/ 444198096 w 2936"/>
              <a:gd name="T53" fmla="*/ 243142557 h 1983"/>
              <a:gd name="T54" fmla="*/ 450861973 w 2936"/>
              <a:gd name="T55" fmla="*/ 229162383 h 1983"/>
              <a:gd name="T56" fmla="*/ 465141834 w 2936"/>
              <a:gd name="T57" fmla="*/ 207232956 h 1983"/>
              <a:gd name="T58" fmla="*/ 475233209 w 2936"/>
              <a:gd name="T59" fmla="*/ 213812046 h 1983"/>
              <a:gd name="T60" fmla="*/ 482087333 w 2936"/>
              <a:gd name="T61" fmla="*/ 233822616 h 1983"/>
              <a:gd name="T62" fmla="*/ 511980091 w 2936"/>
              <a:gd name="T63" fmla="*/ 209151814 h 1983"/>
              <a:gd name="T64" fmla="*/ 538445352 w 2936"/>
              <a:gd name="T65" fmla="*/ 184481535 h 1983"/>
              <a:gd name="T66" fmla="*/ 549488398 w 2936"/>
              <a:gd name="T67" fmla="*/ 154602331 h 1983"/>
              <a:gd name="T68" fmla="*/ 557484876 w 2936"/>
              <a:gd name="T69" fmla="*/ 135414278 h 1983"/>
              <a:gd name="T70" fmla="*/ 550820999 w 2936"/>
              <a:gd name="T71" fmla="*/ 84154340 h 1983"/>
              <a:gd name="T72" fmla="*/ 518263038 w 2936"/>
              <a:gd name="T73" fmla="*/ 93474282 h 1983"/>
              <a:gd name="T74" fmla="*/ 468569332 w 2936"/>
              <a:gd name="T75" fmla="*/ 56193994 h 1983"/>
              <a:gd name="T76" fmla="*/ 437915149 w 2936"/>
              <a:gd name="T77" fmla="*/ 24396455 h 1983"/>
              <a:gd name="T78" fmla="*/ 376987714 w 2936"/>
              <a:gd name="T79" fmla="*/ 14528344 h 1983"/>
              <a:gd name="T80" fmla="*/ 382128743 w 2936"/>
              <a:gd name="T81" fmla="*/ 42488167 h 1983"/>
              <a:gd name="T82" fmla="*/ 371656438 w 2936"/>
              <a:gd name="T83" fmla="*/ 62224913 h 1983"/>
              <a:gd name="T84" fmla="*/ 385555805 w 2936"/>
              <a:gd name="T85" fmla="*/ 95941309 h 1983"/>
              <a:gd name="T86" fmla="*/ 408594004 w 2936"/>
              <a:gd name="T87" fmla="*/ 101423535 h 1983"/>
              <a:gd name="T88" fmla="*/ 388601937 w 2936"/>
              <a:gd name="T89" fmla="*/ 124723650 h 1983"/>
              <a:gd name="T90" fmla="*/ 360042215 w 2936"/>
              <a:gd name="T91" fmla="*/ 156247365 h 1983"/>
              <a:gd name="T92" fmla="*/ 310348509 w 2936"/>
              <a:gd name="T93" fmla="*/ 195445987 h 1983"/>
              <a:gd name="T94" fmla="*/ 233808612 w 2936"/>
              <a:gd name="T95" fmla="*/ 180643820 h 1983"/>
              <a:gd name="T96" fmla="*/ 197252413 w 2936"/>
              <a:gd name="T97" fmla="*/ 153505990 h 1983"/>
              <a:gd name="T98" fmla="*/ 143179102 w 2936"/>
              <a:gd name="T99" fmla="*/ 135688625 h 1983"/>
              <a:gd name="T100" fmla="*/ 130612772 w 2936"/>
              <a:gd name="T101" fmla="*/ 103890563 h 1983"/>
              <a:gd name="T102" fmla="*/ 97483634 w 2936"/>
              <a:gd name="T103" fmla="*/ 81961136 h 1983"/>
              <a:gd name="T104" fmla="*/ 81871173 w 2936"/>
              <a:gd name="T105" fmla="*/ 85250681 h 1983"/>
              <a:gd name="T106" fmla="*/ 80538136 w 2936"/>
              <a:gd name="T107" fmla="*/ 106357591 h 1983"/>
              <a:gd name="T108" fmla="*/ 58071550 w 2936"/>
              <a:gd name="T109" fmla="*/ 104713080 h 1983"/>
              <a:gd name="T110" fmla="*/ 43220513 w 2936"/>
              <a:gd name="T111" fmla="*/ 138977647 h 1983"/>
              <a:gd name="T112" fmla="*/ 49503459 w 2936"/>
              <a:gd name="T113" fmla="*/ 163100278 h 1983"/>
              <a:gd name="T114" fmla="*/ 47980175 w 2936"/>
              <a:gd name="T115" fmla="*/ 196268504 h 1983"/>
              <a:gd name="T116" fmla="*/ 22467022 w 2936"/>
              <a:gd name="T117" fmla="*/ 214086393 h 1983"/>
              <a:gd name="T118" fmla="*/ 7615984 w 2936"/>
              <a:gd name="T119" fmla="*/ 245061414 h 1983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2936" h="1983">
                <a:moveTo>
                  <a:pt x="98" y="954"/>
                </a:moveTo>
                <a:lnTo>
                  <a:pt x="129" y="989"/>
                </a:lnTo>
                <a:lnTo>
                  <a:pt x="157" y="1017"/>
                </a:lnTo>
                <a:lnTo>
                  <a:pt x="170" y="1029"/>
                </a:lnTo>
                <a:lnTo>
                  <a:pt x="182" y="1041"/>
                </a:lnTo>
                <a:lnTo>
                  <a:pt x="194" y="1050"/>
                </a:lnTo>
                <a:lnTo>
                  <a:pt x="205" y="1059"/>
                </a:lnTo>
                <a:lnTo>
                  <a:pt x="216" y="1066"/>
                </a:lnTo>
                <a:lnTo>
                  <a:pt x="227" y="1072"/>
                </a:lnTo>
                <a:lnTo>
                  <a:pt x="238" y="1076"/>
                </a:lnTo>
                <a:lnTo>
                  <a:pt x="248" y="1080"/>
                </a:lnTo>
                <a:lnTo>
                  <a:pt x="259" y="1082"/>
                </a:lnTo>
                <a:lnTo>
                  <a:pt x="270" y="1084"/>
                </a:lnTo>
                <a:lnTo>
                  <a:pt x="281" y="1084"/>
                </a:lnTo>
                <a:lnTo>
                  <a:pt x="292" y="1084"/>
                </a:lnTo>
                <a:lnTo>
                  <a:pt x="364" y="1065"/>
                </a:lnTo>
                <a:lnTo>
                  <a:pt x="373" y="1071"/>
                </a:lnTo>
                <a:lnTo>
                  <a:pt x="383" y="1079"/>
                </a:lnTo>
                <a:lnTo>
                  <a:pt x="393" y="1090"/>
                </a:lnTo>
                <a:lnTo>
                  <a:pt x="401" y="1102"/>
                </a:lnTo>
                <a:lnTo>
                  <a:pt x="410" y="1114"/>
                </a:lnTo>
                <a:lnTo>
                  <a:pt x="418" y="1127"/>
                </a:lnTo>
                <a:lnTo>
                  <a:pt x="420" y="1133"/>
                </a:lnTo>
                <a:lnTo>
                  <a:pt x="422" y="1139"/>
                </a:lnTo>
                <a:lnTo>
                  <a:pt x="423" y="1145"/>
                </a:lnTo>
                <a:lnTo>
                  <a:pt x="425" y="1151"/>
                </a:lnTo>
                <a:lnTo>
                  <a:pt x="423" y="1157"/>
                </a:lnTo>
                <a:lnTo>
                  <a:pt x="420" y="1162"/>
                </a:lnTo>
                <a:lnTo>
                  <a:pt x="416" y="1167"/>
                </a:lnTo>
                <a:lnTo>
                  <a:pt x="409" y="1172"/>
                </a:lnTo>
                <a:lnTo>
                  <a:pt x="403" y="1176"/>
                </a:lnTo>
                <a:lnTo>
                  <a:pt x="396" y="1179"/>
                </a:lnTo>
                <a:lnTo>
                  <a:pt x="390" y="1182"/>
                </a:lnTo>
                <a:lnTo>
                  <a:pt x="385" y="1182"/>
                </a:lnTo>
                <a:lnTo>
                  <a:pt x="399" y="1200"/>
                </a:lnTo>
                <a:lnTo>
                  <a:pt x="412" y="1217"/>
                </a:lnTo>
                <a:lnTo>
                  <a:pt x="419" y="1226"/>
                </a:lnTo>
                <a:lnTo>
                  <a:pt x="423" y="1235"/>
                </a:lnTo>
                <a:lnTo>
                  <a:pt x="428" y="1245"/>
                </a:lnTo>
                <a:lnTo>
                  <a:pt x="431" y="1256"/>
                </a:lnTo>
                <a:lnTo>
                  <a:pt x="385" y="1256"/>
                </a:lnTo>
                <a:lnTo>
                  <a:pt x="385" y="1287"/>
                </a:lnTo>
                <a:lnTo>
                  <a:pt x="390" y="1300"/>
                </a:lnTo>
                <a:lnTo>
                  <a:pt x="397" y="1311"/>
                </a:lnTo>
                <a:lnTo>
                  <a:pt x="405" y="1321"/>
                </a:lnTo>
                <a:lnTo>
                  <a:pt x="414" y="1328"/>
                </a:lnTo>
                <a:lnTo>
                  <a:pt x="423" y="1335"/>
                </a:lnTo>
                <a:lnTo>
                  <a:pt x="434" y="1340"/>
                </a:lnTo>
                <a:lnTo>
                  <a:pt x="444" y="1345"/>
                </a:lnTo>
                <a:lnTo>
                  <a:pt x="456" y="1349"/>
                </a:lnTo>
                <a:lnTo>
                  <a:pt x="478" y="1358"/>
                </a:lnTo>
                <a:lnTo>
                  <a:pt x="500" y="1367"/>
                </a:lnTo>
                <a:lnTo>
                  <a:pt x="510" y="1373"/>
                </a:lnTo>
                <a:lnTo>
                  <a:pt x="520" y="1381"/>
                </a:lnTo>
                <a:lnTo>
                  <a:pt x="529" y="1389"/>
                </a:lnTo>
                <a:lnTo>
                  <a:pt x="538" y="1398"/>
                </a:lnTo>
                <a:lnTo>
                  <a:pt x="617" y="1404"/>
                </a:lnTo>
                <a:lnTo>
                  <a:pt x="620" y="1408"/>
                </a:lnTo>
                <a:lnTo>
                  <a:pt x="623" y="1411"/>
                </a:lnTo>
                <a:lnTo>
                  <a:pt x="628" y="1414"/>
                </a:lnTo>
                <a:lnTo>
                  <a:pt x="633" y="1417"/>
                </a:lnTo>
                <a:lnTo>
                  <a:pt x="644" y="1422"/>
                </a:lnTo>
                <a:lnTo>
                  <a:pt x="656" y="1427"/>
                </a:lnTo>
                <a:lnTo>
                  <a:pt x="678" y="1436"/>
                </a:lnTo>
                <a:lnTo>
                  <a:pt x="690" y="1441"/>
                </a:lnTo>
                <a:lnTo>
                  <a:pt x="723" y="1462"/>
                </a:lnTo>
                <a:lnTo>
                  <a:pt x="754" y="1481"/>
                </a:lnTo>
                <a:lnTo>
                  <a:pt x="768" y="1492"/>
                </a:lnTo>
                <a:lnTo>
                  <a:pt x="784" y="1501"/>
                </a:lnTo>
                <a:lnTo>
                  <a:pt x="798" y="1509"/>
                </a:lnTo>
                <a:lnTo>
                  <a:pt x="814" y="1517"/>
                </a:lnTo>
                <a:lnTo>
                  <a:pt x="830" y="1525"/>
                </a:lnTo>
                <a:lnTo>
                  <a:pt x="847" y="1531"/>
                </a:lnTo>
                <a:lnTo>
                  <a:pt x="866" y="1537"/>
                </a:lnTo>
                <a:lnTo>
                  <a:pt x="886" y="1543"/>
                </a:lnTo>
                <a:lnTo>
                  <a:pt x="907" y="1547"/>
                </a:lnTo>
                <a:lnTo>
                  <a:pt x="930" y="1550"/>
                </a:lnTo>
                <a:lnTo>
                  <a:pt x="955" y="1552"/>
                </a:lnTo>
                <a:lnTo>
                  <a:pt x="982" y="1552"/>
                </a:lnTo>
                <a:lnTo>
                  <a:pt x="982" y="1521"/>
                </a:lnTo>
                <a:lnTo>
                  <a:pt x="1015" y="1521"/>
                </a:lnTo>
                <a:lnTo>
                  <a:pt x="1021" y="1532"/>
                </a:lnTo>
                <a:lnTo>
                  <a:pt x="1025" y="1539"/>
                </a:lnTo>
                <a:lnTo>
                  <a:pt x="1031" y="1545"/>
                </a:lnTo>
                <a:lnTo>
                  <a:pt x="1036" y="1552"/>
                </a:lnTo>
                <a:lnTo>
                  <a:pt x="1042" y="1552"/>
                </a:lnTo>
                <a:lnTo>
                  <a:pt x="1046" y="1551"/>
                </a:lnTo>
                <a:lnTo>
                  <a:pt x="1050" y="1548"/>
                </a:lnTo>
                <a:lnTo>
                  <a:pt x="1054" y="1546"/>
                </a:lnTo>
                <a:lnTo>
                  <a:pt x="1058" y="1538"/>
                </a:lnTo>
                <a:lnTo>
                  <a:pt x="1062" y="1530"/>
                </a:lnTo>
                <a:lnTo>
                  <a:pt x="1066" y="1522"/>
                </a:lnTo>
                <a:lnTo>
                  <a:pt x="1071" y="1516"/>
                </a:lnTo>
                <a:lnTo>
                  <a:pt x="1075" y="1513"/>
                </a:lnTo>
                <a:lnTo>
                  <a:pt x="1078" y="1511"/>
                </a:lnTo>
                <a:lnTo>
                  <a:pt x="1083" y="1510"/>
                </a:lnTo>
                <a:lnTo>
                  <a:pt x="1089" y="1509"/>
                </a:lnTo>
                <a:lnTo>
                  <a:pt x="1092" y="1512"/>
                </a:lnTo>
                <a:lnTo>
                  <a:pt x="1096" y="1516"/>
                </a:lnTo>
                <a:lnTo>
                  <a:pt x="1102" y="1519"/>
                </a:lnTo>
                <a:lnTo>
                  <a:pt x="1109" y="1522"/>
                </a:lnTo>
                <a:lnTo>
                  <a:pt x="1124" y="1529"/>
                </a:lnTo>
                <a:lnTo>
                  <a:pt x="1142" y="1534"/>
                </a:lnTo>
                <a:lnTo>
                  <a:pt x="1159" y="1539"/>
                </a:lnTo>
                <a:lnTo>
                  <a:pt x="1178" y="1543"/>
                </a:lnTo>
                <a:lnTo>
                  <a:pt x="1194" y="1546"/>
                </a:lnTo>
                <a:lnTo>
                  <a:pt x="1208" y="1546"/>
                </a:lnTo>
                <a:lnTo>
                  <a:pt x="1217" y="1535"/>
                </a:lnTo>
                <a:lnTo>
                  <a:pt x="1227" y="1526"/>
                </a:lnTo>
                <a:lnTo>
                  <a:pt x="1236" y="1518"/>
                </a:lnTo>
                <a:lnTo>
                  <a:pt x="1247" y="1510"/>
                </a:lnTo>
                <a:lnTo>
                  <a:pt x="1258" y="1502"/>
                </a:lnTo>
                <a:lnTo>
                  <a:pt x="1269" y="1496"/>
                </a:lnTo>
                <a:lnTo>
                  <a:pt x="1280" y="1489"/>
                </a:lnTo>
                <a:lnTo>
                  <a:pt x="1292" y="1482"/>
                </a:lnTo>
                <a:lnTo>
                  <a:pt x="1317" y="1472"/>
                </a:lnTo>
                <a:lnTo>
                  <a:pt x="1344" y="1463"/>
                </a:lnTo>
                <a:lnTo>
                  <a:pt x="1372" y="1455"/>
                </a:lnTo>
                <a:lnTo>
                  <a:pt x="1401" y="1448"/>
                </a:lnTo>
                <a:lnTo>
                  <a:pt x="1408" y="1456"/>
                </a:lnTo>
                <a:lnTo>
                  <a:pt x="1418" y="1465"/>
                </a:lnTo>
                <a:lnTo>
                  <a:pt x="1431" y="1476"/>
                </a:lnTo>
                <a:lnTo>
                  <a:pt x="1446" y="1487"/>
                </a:lnTo>
                <a:lnTo>
                  <a:pt x="1453" y="1492"/>
                </a:lnTo>
                <a:lnTo>
                  <a:pt x="1461" y="1496"/>
                </a:lnTo>
                <a:lnTo>
                  <a:pt x="1469" y="1499"/>
                </a:lnTo>
                <a:lnTo>
                  <a:pt x="1475" y="1502"/>
                </a:lnTo>
                <a:lnTo>
                  <a:pt x="1483" y="1504"/>
                </a:lnTo>
                <a:lnTo>
                  <a:pt x="1490" y="1505"/>
                </a:lnTo>
                <a:lnTo>
                  <a:pt x="1495" y="1505"/>
                </a:lnTo>
                <a:lnTo>
                  <a:pt x="1501" y="1503"/>
                </a:lnTo>
                <a:lnTo>
                  <a:pt x="1512" y="1510"/>
                </a:lnTo>
                <a:lnTo>
                  <a:pt x="1521" y="1518"/>
                </a:lnTo>
                <a:lnTo>
                  <a:pt x="1530" y="1526"/>
                </a:lnTo>
                <a:lnTo>
                  <a:pt x="1538" y="1534"/>
                </a:lnTo>
                <a:lnTo>
                  <a:pt x="1547" y="1542"/>
                </a:lnTo>
                <a:lnTo>
                  <a:pt x="1555" y="1547"/>
                </a:lnTo>
                <a:lnTo>
                  <a:pt x="1561" y="1550"/>
                </a:lnTo>
                <a:lnTo>
                  <a:pt x="1566" y="1551"/>
                </a:lnTo>
                <a:lnTo>
                  <a:pt x="1573" y="1552"/>
                </a:lnTo>
                <a:lnTo>
                  <a:pt x="1581" y="1552"/>
                </a:lnTo>
                <a:lnTo>
                  <a:pt x="1586" y="1578"/>
                </a:lnTo>
                <a:lnTo>
                  <a:pt x="1593" y="1602"/>
                </a:lnTo>
                <a:lnTo>
                  <a:pt x="1596" y="1613"/>
                </a:lnTo>
                <a:lnTo>
                  <a:pt x="1598" y="1625"/>
                </a:lnTo>
                <a:lnTo>
                  <a:pt x="1599" y="1637"/>
                </a:lnTo>
                <a:lnTo>
                  <a:pt x="1600" y="1650"/>
                </a:lnTo>
                <a:lnTo>
                  <a:pt x="1599" y="1658"/>
                </a:lnTo>
                <a:lnTo>
                  <a:pt x="1598" y="1664"/>
                </a:lnTo>
                <a:lnTo>
                  <a:pt x="1596" y="1670"/>
                </a:lnTo>
                <a:lnTo>
                  <a:pt x="1593" y="1676"/>
                </a:lnTo>
                <a:lnTo>
                  <a:pt x="1585" y="1686"/>
                </a:lnTo>
                <a:lnTo>
                  <a:pt x="1577" y="1697"/>
                </a:lnTo>
                <a:lnTo>
                  <a:pt x="1569" y="1707"/>
                </a:lnTo>
                <a:lnTo>
                  <a:pt x="1561" y="1719"/>
                </a:lnTo>
                <a:lnTo>
                  <a:pt x="1558" y="1724"/>
                </a:lnTo>
                <a:lnTo>
                  <a:pt x="1555" y="1730"/>
                </a:lnTo>
                <a:lnTo>
                  <a:pt x="1554" y="1736"/>
                </a:lnTo>
                <a:lnTo>
                  <a:pt x="1553" y="1743"/>
                </a:lnTo>
                <a:lnTo>
                  <a:pt x="1554" y="1748"/>
                </a:lnTo>
                <a:lnTo>
                  <a:pt x="1555" y="1753"/>
                </a:lnTo>
                <a:lnTo>
                  <a:pt x="1558" y="1756"/>
                </a:lnTo>
                <a:lnTo>
                  <a:pt x="1561" y="1759"/>
                </a:lnTo>
                <a:lnTo>
                  <a:pt x="1565" y="1761"/>
                </a:lnTo>
                <a:lnTo>
                  <a:pt x="1570" y="1764"/>
                </a:lnTo>
                <a:lnTo>
                  <a:pt x="1574" y="1765"/>
                </a:lnTo>
                <a:lnTo>
                  <a:pt x="1580" y="1767"/>
                </a:lnTo>
                <a:lnTo>
                  <a:pt x="1591" y="1769"/>
                </a:lnTo>
                <a:lnTo>
                  <a:pt x="1602" y="1771"/>
                </a:lnTo>
                <a:lnTo>
                  <a:pt x="1607" y="1773"/>
                </a:lnTo>
                <a:lnTo>
                  <a:pt x="1611" y="1775"/>
                </a:lnTo>
                <a:lnTo>
                  <a:pt x="1616" y="1777"/>
                </a:lnTo>
                <a:lnTo>
                  <a:pt x="1620" y="1780"/>
                </a:lnTo>
                <a:lnTo>
                  <a:pt x="1627" y="1787"/>
                </a:lnTo>
                <a:lnTo>
                  <a:pt x="1632" y="1794"/>
                </a:lnTo>
                <a:lnTo>
                  <a:pt x="1636" y="1801"/>
                </a:lnTo>
                <a:lnTo>
                  <a:pt x="1639" y="1807"/>
                </a:lnTo>
                <a:lnTo>
                  <a:pt x="1645" y="1822"/>
                </a:lnTo>
                <a:lnTo>
                  <a:pt x="1653" y="1836"/>
                </a:lnTo>
                <a:lnTo>
                  <a:pt x="1659" y="1848"/>
                </a:lnTo>
                <a:lnTo>
                  <a:pt x="1666" y="1862"/>
                </a:lnTo>
                <a:lnTo>
                  <a:pt x="1674" y="1877"/>
                </a:lnTo>
                <a:lnTo>
                  <a:pt x="1683" y="1890"/>
                </a:lnTo>
                <a:lnTo>
                  <a:pt x="1688" y="1897"/>
                </a:lnTo>
                <a:lnTo>
                  <a:pt x="1694" y="1903"/>
                </a:lnTo>
                <a:lnTo>
                  <a:pt x="1699" y="1908"/>
                </a:lnTo>
                <a:lnTo>
                  <a:pt x="1706" y="1912"/>
                </a:lnTo>
                <a:lnTo>
                  <a:pt x="1712" y="1916"/>
                </a:lnTo>
                <a:lnTo>
                  <a:pt x="1719" y="1919"/>
                </a:lnTo>
                <a:lnTo>
                  <a:pt x="1726" y="1921"/>
                </a:lnTo>
                <a:lnTo>
                  <a:pt x="1733" y="1921"/>
                </a:lnTo>
                <a:lnTo>
                  <a:pt x="1741" y="1921"/>
                </a:lnTo>
                <a:lnTo>
                  <a:pt x="1752" y="1918"/>
                </a:lnTo>
                <a:lnTo>
                  <a:pt x="1762" y="1916"/>
                </a:lnTo>
                <a:lnTo>
                  <a:pt x="1766" y="1915"/>
                </a:lnTo>
                <a:lnTo>
                  <a:pt x="1777" y="1910"/>
                </a:lnTo>
                <a:lnTo>
                  <a:pt x="1787" y="1904"/>
                </a:lnTo>
                <a:lnTo>
                  <a:pt x="1795" y="1898"/>
                </a:lnTo>
                <a:lnTo>
                  <a:pt x="1803" y="1891"/>
                </a:lnTo>
                <a:lnTo>
                  <a:pt x="1809" y="1884"/>
                </a:lnTo>
                <a:lnTo>
                  <a:pt x="1816" y="1878"/>
                </a:lnTo>
                <a:lnTo>
                  <a:pt x="1823" y="1871"/>
                </a:lnTo>
                <a:lnTo>
                  <a:pt x="1833" y="1866"/>
                </a:lnTo>
                <a:lnTo>
                  <a:pt x="1842" y="1859"/>
                </a:lnTo>
                <a:lnTo>
                  <a:pt x="1852" y="1853"/>
                </a:lnTo>
                <a:lnTo>
                  <a:pt x="1863" y="1848"/>
                </a:lnTo>
                <a:lnTo>
                  <a:pt x="1874" y="1844"/>
                </a:lnTo>
                <a:lnTo>
                  <a:pt x="1896" y="1838"/>
                </a:lnTo>
                <a:lnTo>
                  <a:pt x="1919" y="1834"/>
                </a:lnTo>
                <a:lnTo>
                  <a:pt x="1941" y="1831"/>
                </a:lnTo>
                <a:lnTo>
                  <a:pt x="1960" y="1827"/>
                </a:lnTo>
                <a:lnTo>
                  <a:pt x="1968" y="1824"/>
                </a:lnTo>
                <a:lnTo>
                  <a:pt x="1975" y="1821"/>
                </a:lnTo>
                <a:lnTo>
                  <a:pt x="1981" y="1816"/>
                </a:lnTo>
                <a:lnTo>
                  <a:pt x="1986" y="1811"/>
                </a:lnTo>
                <a:lnTo>
                  <a:pt x="1996" y="1820"/>
                </a:lnTo>
                <a:lnTo>
                  <a:pt x="2008" y="1827"/>
                </a:lnTo>
                <a:lnTo>
                  <a:pt x="2019" y="1832"/>
                </a:lnTo>
                <a:lnTo>
                  <a:pt x="2031" y="1837"/>
                </a:lnTo>
                <a:lnTo>
                  <a:pt x="2054" y="1846"/>
                </a:lnTo>
                <a:lnTo>
                  <a:pt x="2072" y="1854"/>
                </a:lnTo>
                <a:lnTo>
                  <a:pt x="2091" y="1869"/>
                </a:lnTo>
                <a:lnTo>
                  <a:pt x="2109" y="1887"/>
                </a:lnTo>
                <a:lnTo>
                  <a:pt x="2119" y="1896"/>
                </a:lnTo>
                <a:lnTo>
                  <a:pt x="2129" y="1903"/>
                </a:lnTo>
                <a:lnTo>
                  <a:pt x="2140" y="1910"/>
                </a:lnTo>
                <a:lnTo>
                  <a:pt x="2152" y="1915"/>
                </a:lnTo>
                <a:lnTo>
                  <a:pt x="2245" y="1921"/>
                </a:lnTo>
                <a:lnTo>
                  <a:pt x="2238" y="1935"/>
                </a:lnTo>
                <a:lnTo>
                  <a:pt x="2232" y="1947"/>
                </a:lnTo>
                <a:lnTo>
                  <a:pt x="2232" y="1953"/>
                </a:lnTo>
                <a:lnTo>
                  <a:pt x="2235" y="1957"/>
                </a:lnTo>
                <a:lnTo>
                  <a:pt x="2238" y="1961"/>
                </a:lnTo>
                <a:lnTo>
                  <a:pt x="2243" y="1965"/>
                </a:lnTo>
                <a:lnTo>
                  <a:pt x="2248" y="1968"/>
                </a:lnTo>
                <a:lnTo>
                  <a:pt x="2254" y="1972"/>
                </a:lnTo>
                <a:lnTo>
                  <a:pt x="2259" y="1977"/>
                </a:lnTo>
                <a:lnTo>
                  <a:pt x="2265" y="1983"/>
                </a:lnTo>
                <a:lnTo>
                  <a:pt x="2266" y="1980"/>
                </a:lnTo>
                <a:lnTo>
                  <a:pt x="2267" y="1972"/>
                </a:lnTo>
                <a:lnTo>
                  <a:pt x="2268" y="1968"/>
                </a:lnTo>
                <a:lnTo>
                  <a:pt x="2267" y="1963"/>
                </a:lnTo>
                <a:lnTo>
                  <a:pt x="2267" y="1957"/>
                </a:lnTo>
                <a:lnTo>
                  <a:pt x="2265" y="1953"/>
                </a:lnTo>
                <a:lnTo>
                  <a:pt x="2275" y="1947"/>
                </a:lnTo>
                <a:lnTo>
                  <a:pt x="2293" y="1935"/>
                </a:lnTo>
                <a:lnTo>
                  <a:pt x="2303" y="1927"/>
                </a:lnTo>
                <a:lnTo>
                  <a:pt x="2313" y="1921"/>
                </a:lnTo>
                <a:lnTo>
                  <a:pt x="2319" y="1919"/>
                </a:lnTo>
                <a:lnTo>
                  <a:pt x="2323" y="1917"/>
                </a:lnTo>
                <a:lnTo>
                  <a:pt x="2327" y="1916"/>
                </a:lnTo>
                <a:lnTo>
                  <a:pt x="2331" y="1915"/>
                </a:lnTo>
                <a:lnTo>
                  <a:pt x="2341" y="1915"/>
                </a:lnTo>
                <a:lnTo>
                  <a:pt x="2349" y="1913"/>
                </a:lnTo>
                <a:lnTo>
                  <a:pt x="2357" y="1910"/>
                </a:lnTo>
                <a:lnTo>
                  <a:pt x="2364" y="1906"/>
                </a:lnTo>
                <a:lnTo>
                  <a:pt x="2370" y="1901"/>
                </a:lnTo>
                <a:lnTo>
                  <a:pt x="2376" y="1895"/>
                </a:lnTo>
                <a:lnTo>
                  <a:pt x="2382" y="1889"/>
                </a:lnTo>
                <a:lnTo>
                  <a:pt x="2388" y="1882"/>
                </a:lnTo>
                <a:lnTo>
                  <a:pt x="2399" y="1867"/>
                </a:lnTo>
                <a:lnTo>
                  <a:pt x="2412" y="1853"/>
                </a:lnTo>
                <a:lnTo>
                  <a:pt x="2418" y="1847"/>
                </a:lnTo>
                <a:lnTo>
                  <a:pt x="2426" y="1840"/>
                </a:lnTo>
                <a:lnTo>
                  <a:pt x="2435" y="1835"/>
                </a:lnTo>
                <a:lnTo>
                  <a:pt x="2444" y="1830"/>
                </a:lnTo>
                <a:lnTo>
                  <a:pt x="2449" y="1838"/>
                </a:lnTo>
                <a:lnTo>
                  <a:pt x="2454" y="1846"/>
                </a:lnTo>
                <a:lnTo>
                  <a:pt x="2455" y="1850"/>
                </a:lnTo>
                <a:lnTo>
                  <a:pt x="2456" y="1854"/>
                </a:lnTo>
                <a:lnTo>
                  <a:pt x="2457" y="1860"/>
                </a:lnTo>
                <a:lnTo>
                  <a:pt x="2457" y="1866"/>
                </a:lnTo>
                <a:lnTo>
                  <a:pt x="2462" y="1860"/>
                </a:lnTo>
                <a:lnTo>
                  <a:pt x="2468" y="1857"/>
                </a:lnTo>
                <a:lnTo>
                  <a:pt x="2474" y="1855"/>
                </a:lnTo>
                <a:lnTo>
                  <a:pt x="2481" y="1855"/>
                </a:lnTo>
                <a:lnTo>
                  <a:pt x="2487" y="1856"/>
                </a:lnTo>
                <a:lnTo>
                  <a:pt x="2493" y="1858"/>
                </a:lnTo>
                <a:lnTo>
                  <a:pt x="2499" y="1862"/>
                </a:lnTo>
                <a:lnTo>
                  <a:pt x="2504" y="1866"/>
                </a:lnTo>
                <a:lnTo>
                  <a:pt x="2505" y="1856"/>
                </a:lnTo>
                <a:lnTo>
                  <a:pt x="2507" y="1847"/>
                </a:lnTo>
                <a:lnTo>
                  <a:pt x="2511" y="1841"/>
                </a:lnTo>
                <a:lnTo>
                  <a:pt x="2514" y="1836"/>
                </a:lnTo>
                <a:lnTo>
                  <a:pt x="2517" y="1832"/>
                </a:lnTo>
                <a:lnTo>
                  <a:pt x="2522" y="1829"/>
                </a:lnTo>
                <a:lnTo>
                  <a:pt x="2527" y="1828"/>
                </a:lnTo>
                <a:lnTo>
                  <a:pt x="2533" y="1827"/>
                </a:lnTo>
                <a:lnTo>
                  <a:pt x="2546" y="1826"/>
                </a:lnTo>
                <a:lnTo>
                  <a:pt x="2561" y="1827"/>
                </a:lnTo>
                <a:lnTo>
                  <a:pt x="2569" y="1827"/>
                </a:lnTo>
                <a:lnTo>
                  <a:pt x="2578" y="1826"/>
                </a:lnTo>
                <a:lnTo>
                  <a:pt x="2588" y="1825"/>
                </a:lnTo>
                <a:lnTo>
                  <a:pt x="2596" y="1824"/>
                </a:lnTo>
                <a:lnTo>
                  <a:pt x="2604" y="1821"/>
                </a:lnTo>
                <a:lnTo>
                  <a:pt x="2611" y="1816"/>
                </a:lnTo>
                <a:lnTo>
                  <a:pt x="2616" y="1810"/>
                </a:lnTo>
                <a:lnTo>
                  <a:pt x="2622" y="1804"/>
                </a:lnTo>
                <a:lnTo>
                  <a:pt x="2633" y="1790"/>
                </a:lnTo>
                <a:lnTo>
                  <a:pt x="2642" y="1774"/>
                </a:lnTo>
                <a:lnTo>
                  <a:pt x="2648" y="1766"/>
                </a:lnTo>
                <a:lnTo>
                  <a:pt x="2653" y="1758"/>
                </a:lnTo>
                <a:lnTo>
                  <a:pt x="2660" y="1750"/>
                </a:lnTo>
                <a:lnTo>
                  <a:pt x="2667" y="1743"/>
                </a:lnTo>
                <a:lnTo>
                  <a:pt x="2674" y="1737"/>
                </a:lnTo>
                <a:lnTo>
                  <a:pt x="2683" y="1732"/>
                </a:lnTo>
                <a:lnTo>
                  <a:pt x="2693" y="1728"/>
                </a:lnTo>
                <a:lnTo>
                  <a:pt x="2703" y="1725"/>
                </a:lnTo>
                <a:lnTo>
                  <a:pt x="2704" y="1716"/>
                </a:lnTo>
                <a:lnTo>
                  <a:pt x="2706" y="1707"/>
                </a:lnTo>
                <a:lnTo>
                  <a:pt x="2711" y="1699"/>
                </a:lnTo>
                <a:lnTo>
                  <a:pt x="2715" y="1691"/>
                </a:lnTo>
                <a:lnTo>
                  <a:pt x="2726" y="1677"/>
                </a:lnTo>
                <a:lnTo>
                  <a:pt x="2737" y="1663"/>
                </a:lnTo>
                <a:lnTo>
                  <a:pt x="2733" y="1658"/>
                </a:lnTo>
                <a:lnTo>
                  <a:pt x="2730" y="1651"/>
                </a:lnTo>
                <a:lnTo>
                  <a:pt x="2729" y="1645"/>
                </a:lnTo>
                <a:lnTo>
                  <a:pt x="2729" y="1638"/>
                </a:lnTo>
                <a:lnTo>
                  <a:pt x="2728" y="1631"/>
                </a:lnTo>
                <a:lnTo>
                  <a:pt x="2726" y="1625"/>
                </a:lnTo>
                <a:lnTo>
                  <a:pt x="2725" y="1622"/>
                </a:lnTo>
                <a:lnTo>
                  <a:pt x="2723" y="1619"/>
                </a:lnTo>
                <a:lnTo>
                  <a:pt x="2719" y="1616"/>
                </a:lnTo>
                <a:lnTo>
                  <a:pt x="2716" y="1614"/>
                </a:lnTo>
                <a:lnTo>
                  <a:pt x="2728" y="1602"/>
                </a:lnTo>
                <a:lnTo>
                  <a:pt x="2739" y="1588"/>
                </a:lnTo>
                <a:lnTo>
                  <a:pt x="2750" y="1573"/>
                </a:lnTo>
                <a:lnTo>
                  <a:pt x="2760" y="1558"/>
                </a:lnTo>
                <a:lnTo>
                  <a:pt x="2780" y="1521"/>
                </a:lnTo>
                <a:lnTo>
                  <a:pt x="2803" y="1478"/>
                </a:lnTo>
                <a:lnTo>
                  <a:pt x="2798" y="1475"/>
                </a:lnTo>
                <a:lnTo>
                  <a:pt x="2796" y="1471"/>
                </a:lnTo>
                <a:lnTo>
                  <a:pt x="2795" y="1467"/>
                </a:lnTo>
                <a:lnTo>
                  <a:pt x="2794" y="1462"/>
                </a:lnTo>
                <a:lnTo>
                  <a:pt x="2795" y="1451"/>
                </a:lnTo>
                <a:lnTo>
                  <a:pt x="2796" y="1441"/>
                </a:lnTo>
                <a:lnTo>
                  <a:pt x="2790" y="1428"/>
                </a:lnTo>
                <a:lnTo>
                  <a:pt x="2790" y="1426"/>
                </a:lnTo>
                <a:lnTo>
                  <a:pt x="2792" y="1423"/>
                </a:lnTo>
                <a:lnTo>
                  <a:pt x="2794" y="1420"/>
                </a:lnTo>
                <a:lnTo>
                  <a:pt x="2797" y="1417"/>
                </a:lnTo>
                <a:lnTo>
                  <a:pt x="2801" y="1414"/>
                </a:lnTo>
                <a:lnTo>
                  <a:pt x="2804" y="1412"/>
                </a:lnTo>
                <a:lnTo>
                  <a:pt x="2807" y="1411"/>
                </a:lnTo>
                <a:lnTo>
                  <a:pt x="2809" y="1410"/>
                </a:lnTo>
                <a:lnTo>
                  <a:pt x="2809" y="1386"/>
                </a:lnTo>
                <a:lnTo>
                  <a:pt x="2801" y="1389"/>
                </a:lnTo>
                <a:lnTo>
                  <a:pt x="2793" y="1391"/>
                </a:lnTo>
                <a:lnTo>
                  <a:pt x="2785" y="1393"/>
                </a:lnTo>
                <a:lnTo>
                  <a:pt x="2778" y="1394"/>
                </a:lnTo>
                <a:lnTo>
                  <a:pt x="2763" y="1395"/>
                </a:lnTo>
                <a:lnTo>
                  <a:pt x="2750" y="1394"/>
                </a:lnTo>
                <a:lnTo>
                  <a:pt x="2738" y="1392"/>
                </a:lnTo>
                <a:lnTo>
                  <a:pt x="2725" y="1389"/>
                </a:lnTo>
                <a:lnTo>
                  <a:pt x="2711" y="1384"/>
                </a:lnTo>
                <a:lnTo>
                  <a:pt x="2696" y="1380"/>
                </a:lnTo>
                <a:lnTo>
                  <a:pt x="2705" y="1375"/>
                </a:lnTo>
                <a:lnTo>
                  <a:pt x="2713" y="1369"/>
                </a:lnTo>
                <a:lnTo>
                  <a:pt x="2719" y="1363"/>
                </a:lnTo>
                <a:lnTo>
                  <a:pt x="2726" y="1356"/>
                </a:lnTo>
                <a:lnTo>
                  <a:pt x="2737" y="1342"/>
                </a:lnTo>
                <a:lnTo>
                  <a:pt x="2750" y="1324"/>
                </a:lnTo>
                <a:lnTo>
                  <a:pt x="2730" y="1316"/>
                </a:lnTo>
                <a:lnTo>
                  <a:pt x="2712" y="1310"/>
                </a:lnTo>
                <a:lnTo>
                  <a:pt x="2695" y="1305"/>
                </a:lnTo>
                <a:lnTo>
                  <a:pt x="2679" y="1300"/>
                </a:lnTo>
                <a:lnTo>
                  <a:pt x="2662" y="1294"/>
                </a:lnTo>
                <a:lnTo>
                  <a:pt x="2647" y="1287"/>
                </a:lnTo>
                <a:lnTo>
                  <a:pt x="2639" y="1282"/>
                </a:lnTo>
                <a:lnTo>
                  <a:pt x="2632" y="1277"/>
                </a:lnTo>
                <a:lnTo>
                  <a:pt x="2624" y="1270"/>
                </a:lnTo>
                <a:lnTo>
                  <a:pt x="2617" y="1262"/>
                </a:lnTo>
                <a:lnTo>
                  <a:pt x="2626" y="1268"/>
                </a:lnTo>
                <a:lnTo>
                  <a:pt x="2640" y="1273"/>
                </a:lnTo>
                <a:lnTo>
                  <a:pt x="2657" y="1278"/>
                </a:lnTo>
                <a:lnTo>
                  <a:pt x="2675" y="1283"/>
                </a:lnTo>
                <a:lnTo>
                  <a:pt x="2715" y="1293"/>
                </a:lnTo>
                <a:lnTo>
                  <a:pt x="2750" y="1299"/>
                </a:lnTo>
                <a:lnTo>
                  <a:pt x="2749" y="1293"/>
                </a:lnTo>
                <a:lnTo>
                  <a:pt x="2746" y="1288"/>
                </a:lnTo>
                <a:lnTo>
                  <a:pt x="2742" y="1283"/>
                </a:lnTo>
                <a:lnTo>
                  <a:pt x="2737" y="1279"/>
                </a:lnTo>
                <a:lnTo>
                  <a:pt x="2725" y="1272"/>
                </a:lnTo>
                <a:lnTo>
                  <a:pt x="2709" y="1266"/>
                </a:lnTo>
                <a:lnTo>
                  <a:pt x="2695" y="1259"/>
                </a:lnTo>
                <a:lnTo>
                  <a:pt x="2682" y="1252"/>
                </a:lnTo>
                <a:lnTo>
                  <a:pt x="2678" y="1248"/>
                </a:lnTo>
                <a:lnTo>
                  <a:pt x="2673" y="1244"/>
                </a:lnTo>
                <a:lnTo>
                  <a:pt x="2671" y="1238"/>
                </a:lnTo>
                <a:lnTo>
                  <a:pt x="2670" y="1232"/>
                </a:lnTo>
                <a:lnTo>
                  <a:pt x="2669" y="1227"/>
                </a:lnTo>
                <a:lnTo>
                  <a:pt x="2668" y="1224"/>
                </a:lnTo>
                <a:lnTo>
                  <a:pt x="2666" y="1220"/>
                </a:lnTo>
                <a:lnTo>
                  <a:pt x="2662" y="1217"/>
                </a:lnTo>
                <a:lnTo>
                  <a:pt x="2656" y="1212"/>
                </a:lnTo>
                <a:lnTo>
                  <a:pt x="2650" y="1208"/>
                </a:lnTo>
                <a:lnTo>
                  <a:pt x="2626" y="1186"/>
                </a:lnTo>
                <a:lnTo>
                  <a:pt x="2581" y="1145"/>
                </a:lnTo>
                <a:lnTo>
                  <a:pt x="2557" y="1124"/>
                </a:lnTo>
                <a:lnTo>
                  <a:pt x="2537" y="1105"/>
                </a:lnTo>
                <a:lnTo>
                  <a:pt x="2523" y="1090"/>
                </a:lnTo>
                <a:lnTo>
                  <a:pt x="2517" y="1084"/>
                </a:lnTo>
                <a:lnTo>
                  <a:pt x="2517" y="1078"/>
                </a:lnTo>
                <a:lnTo>
                  <a:pt x="2520" y="1074"/>
                </a:lnTo>
                <a:lnTo>
                  <a:pt x="2522" y="1070"/>
                </a:lnTo>
                <a:lnTo>
                  <a:pt x="2525" y="1068"/>
                </a:lnTo>
                <a:lnTo>
                  <a:pt x="2528" y="1065"/>
                </a:lnTo>
                <a:lnTo>
                  <a:pt x="2532" y="1061"/>
                </a:lnTo>
                <a:lnTo>
                  <a:pt x="2534" y="1055"/>
                </a:lnTo>
                <a:lnTo>
                  <a:pt x="2537" y="1047"/>
                </a:lnTo>
                <a:lnTo>
                  <a:pt x="2535" y="1046"/>
                </a:lnTo>
                <a:lnTo>
                  <a:pt x="2530" y="1043"/>
                </a:lnTo>
                <a:lnTo>
                  <a:pt x="2528" y="1042"/>
                </a:lnTo>
                <a:lnTo>
                  <a:pt x="2526" y="1039"/>
                </a:lnTo>
                <a:lnTo>
                  <a:pt x="2524" y="1036"/>
                </a:lnTo>
                <a:lnTo>
                  <a:pt x="2524" y="1034"/>
                </a:lnTo>
                <a:lnTo>
                  <a:pt x="2557" y="1034"/>
                </a:lnTo>
                <a:lnTo>
                  <a:pt x="2558" y="1028"/>
                </a:lnTo>
                <a:lnTo>
                  <a:pt x="2559" y="1022"/>
                </a:lnTo>
                <a:lnTo>
                  <a:pt x="2561" y="1016"/>
                </a:lnTo>
                <a:lnTo>
                  <a:pt x="2565" y="1011"/>
                </a:lnTo>
                <a:lnTo>
                  <a:pt x="2569" y="1006"/>
                </a:lnTo>
                <a:lnTo>
                  <a:pt x="2573" y="1002"/>
                </a:lnTo>
                <a:lnTo>
                  <a:pt x="2578" y="997"/>
                </a:lnTo>
                <a:lnTo>
                  <a:pt x="2583" y="993"/>
                </a:lnTo>
                <a:lnTo>
                  <a:pt x="2607" y="977"/>
                </a:lnTo>
                <a:lnTo>
                  <a:pt x="2630" y="960"/>
                </a:lnTo>
                <a:lnTo>
                  <a:pt x="2617" y="958"/>
                </a:lnTo>
                <a:lnTo>
                  <a:pt x="2603" y="954"/>
                </a:lnTo>
                <a:lnTo>
                  <a:pt x="2590" y="949"/>
                </a:lnTo>
                <a:lnTo>
                  <a:pt x="2577" y="944"/>
                </a:lnTo>
                <a:lnTo>
                  <a:pt x="2563" y="938"/>
                </a:lnTo>
                <a:lnTo>
                  <a:pt x="2552" y="932"/>
                </a:lnTo>
                <a:lnTo>
                  <a:pt x="2544" y="924"/>
                </a:lnTo>
                <a:lnTo>
                  <a:pt x="2537" y="917"/>
                </a:lnTo>
                <a:lnTo>
                  <a:pt x="2498" y="917"/>
                </a:lnTo>
                <a:lnTo>
                  <a:pt x="2498" y="926"/>
                </a:lnTo>
                <a:lnTo>
                  <a:pt x="2498" y="938"/>
                </a:lnTo>
                <a:lnTo>
                  <a:pt x="2498" y="950"/>
                </a:lnTo>
                <a:lnTo>
                  <a:pt x="2498" y="967"/>
                </a:lnTo>
                <a:lnTo>
                  <a:pt x="2457" y="967"/>
                </a:lnTo>
                <a:lnTo>
                  <a:pt x="2453" y="962"/>
                </a:lnTo>
                <a:lnTo>
                  <a:pt x="2449" y="956"/>
                </a:lnTo>
                <a:lnTo>
                  <a:pt x="2447" y="949"/>
                </a:lnTo>
                <a:lnTo>
                  <a:pt x="2444" y="942"/>
                </a:lnTo>
                <a:lnTo>
                  <a:pt x="2442" y="936"/>
                </a:lnTo>
                <a:lnTo>
                  <a:pt x="2438" y="928"/>
                </a:lnTo>
                <a:lnTo>
                  <a:pt x="2435" y="922"/>
                </a:lnTo>
                <a:lnTo>
                  <a:pt x="2431" y="917"/>
                </a:lnTo>
                <a:lnTo>
                  <a:pt x="2426" y="914"/>
                </a:lnTo>
                <a:lnTo>
                  <a:pt x="2421" y="911"/>
                </a:lnTo>
                <a:lnTo>
                  <a:pt x="2413" y="909"/>
                </a:lnTo>
                <a:lnTo>
                  <a:pt x="2404" y="907"/>
                </a:lnTo>
                <a:lnTo>
                  <a:pt x="2387" y="903"/>
                </a:lnTo>
                <a:lnTo>
                  <a:pt x="2367" y="899"/>
                </a:lnTo>
                <a:lnTo>
                  <a:pt x="2357" y="897"/>
                </a:lnTo>
                <a:lnTo>
                  <a:pt x="2348" y="894"/>
                </a:lnTo>
                <a:lnTo>
                  <a:pt x="2339" y="890"/>
                </a:lnTo>
                <a:lnTo>
                  <a:pt x="2333" y="887"/>
                </a:lnTo>
                <a:lnTo>
                  <a:pt x="2326" y="882"/>
                </a:lnTo>
                <a:lnTo>
                  <a:pt x="2322" y="876"/>
                </a:lnTo>
                <a:lnTo>
                  <a:pt x="2320" y="872"/>
                </a:lnTo>
                <a:lnTo>
                  <a:pt x="2319" y="869"/>
                </a:lnTo>
                <a:lnTo>
                  <a:pt x="2319" y="866"/>
                </a:lnTo>
                <a:lnTo>
                  <a:pt x="2317" y="862"/>
                </a:lnTo>
                <a:lnTo>
                  <a:pt x="2319" y="858"/>
                </a:lnTo>
                <a:lnTo>
                  <a:pt x="2319" y="855"/>
                </a:lnTo>
                <a:lnTo>
                  <a:pt x="2321" y="853"/>
                </a:lnTo>
                <a:lnTo>
                  <a:pt x="2322" y="850"/>
                </a:lnTo>
                <a:lnTo>
                  <a:pt x="2327" y="846"/>
                </a:lnTo>
                <a:lnTo>
                  <a:pt x="2334" y="843"/>
                </a:lnTo>
                <a:lnTo>
                  <a:pt x="2341" y="840"/>
                </a:lnTo>
                <a:lnTo>
                  <a:pt x="2348" y="839"/>
                </a:lnTo>
                <a:lnTo>
                  <a:pt x="2357" y="838"/>
                </a:lnTo>
                <a:lnTo>
                  <a:pt x="2365" y="837"/>
                </a:lnTo>
                <a:lnTo>
                  <a:pt x="2368" y="836"/>
                </a:lnTo>
                <a:lnTo>
                  <a:pt x="2372" y="833"/>
                </a:lnTo>
                <a:lnTo>
                  <a:pt x="2378" y="828"/>
                </a:lnTo>
                <a:lnTo>
                  <a:pt x="2383" y="822"/>
                </a:lnTo>
                <a:lnTo>
                  <a:pt x="2393" y="811"/>
                </a:lnTo>
                <a:lnTo>
                  <a:pt x="2398" y="806"/>
                </a:lnTo>
                <a:lnTo>
                  <a:pt x="2410" y="798"/>
                </a:lnTo>
                <a:lnTo>
                  <a:pt x="2423" y="789"/>
                </a:lnTo>
                <a:lnTo>
                  <a:pt x="2428" y="783"/>
                </a:lnTo>
                <a:lnTo>
                  <a:pt x="2433" y="776"/>
                </a:lnTo>
                <a:lnTo>
                  <a:pt x="2435" y="773"/>
                </a:lnTo>
                <a:lnTo>
                  <a:pt x="2436" y="768"/>
                </a:lnTo>
                <a:lnTo>
                  <a:pt x="2437" y="763"/>
                </a:lnTo>
                <a:lnTo>
                  <a:pt x="2437" y="757"/>
                </a:lnTo>
                <a:lnTo>
                  <a:pt x="2438" y="758"/>
                </a:lnTo>
                <a:lnTo>
                  <a:pt x="2439" y="758"/>
                </a:lnTo>
                <a:lnTo>
                  <a:pt x="2442" y="757"/>
                </a:lnTo>
                <a:lnTo>
                  <a:pt x="2443" y="756"/>
                </a:lnTo>
                <a:lnTo>
                  <a:pt x="2445" y="752"/>
                </a:lnTo>
                <a:lnTo>
                  <a:pt x="2448" y="747"/>
                </a:lnTo>
                <a:lnTo>
                  <a:pt x="2451" y="742"/>
                </a:lnTo>
                <a:lnTo>
                  <a:pt x="2455" y="737"/>
                </a:lnTo>
                <a:lnTo>
                  <a:pt x="2457" y="735"/>
                </a:lnTo>
                <a:lnTo>
                  <a:pt x="2459" y="734"/>
                </a:lnTo>
                <a:lnTo>
                  <a:pt x="2461" y="733"/>
                </a:lnTo>
                <a:lnTo>
                  <a:pt x="2464" y="733"/>
                </a:lnTo>
                <a:lnTo>
                  <a:pt x="2471" y="733"/>
                </a:lnTo>
                <a:lnTo>
                  <a:pt x="2478" y="735"/>
                </a:lnTo>
                <a:lnTo>
                  <a:pt x="2484" y="737"/>
                </a:lnTo>
                <a:lnTo>
                  <a:pt x="2491" y="741"/>
                </a:lnTo>
                <a:lnTo>
                  <a:pt x="2503" y="751"/>
                </a:lnTo>
                <a:lnTo>
                  <a:pt x="2517" y="764"/>
                </a:lnTo>
                <a:lnTo>
                  <a:pt x="2511" y="769"/>
                </a:lnTo>
                <a:lnTo>
                  <a:pt x="2504" y="775"/>
                </a:lnTo>
                <a:lnTo>
                  <a:pt x="2496" y="780"/>
                </a:lnTo>
                <a:lnTo>
                  <a:pt x="2491" y="782"/>
                </a:lnTo>
                <a:lnTo>
                  <a:pt x="2493" y="789"/>
                </a:lnTo>
                <a:lnTo>
                  <a:pt x="2496" y="795"/>
                </a:lnTo>
                <a:lnTo>
                  <a:pt x="2501" y="800"/>
                </a:lnTo>
                <a:lnTo>
                  <a:pt x="2504" y="805"/>
                </a:lnTo>
                <a:lnTo>
                  <a:pt x="2510" y="809"/>
                </a:lnTo>
                <a:lnTo>
                  <a:pt x="2514" y="813"/>
                </a:lnTo>
                <a:lnTo>
                  <a:pt x="2518" y="816"/>
                </a:lnTo>
                <a:lnTo>
                  <a:pt x="2524" y="819"/>
                </a:lnTo>
                <a:lnTo>
                  <a:pt x="2524" y="837"/>
                </a:lnTo>
                <a:lnTo>
                  <a:pt x="2523" y="840"/>
                </a:lnTo>
                <a:lnTo>
                  <a:pt x="2523" y="842"/>
                </a:lnTo>
                <a:lnTo>
                  <a:pt x="2525" y="844"/>
                </a:lnTo>
                <a:lnTo>
                  <a:pt x="2527" y="847"/>
                </a:lnTo>
                <a:lnTo>
                  <a:pt x="2529" y="849"/>
                </a:lnTo>
                <a:lnTo>
                  <a:pt x="2532" y="851"/>
                </a:lnTo>
                <a:lnTo>
                  <a:pt x="2532" y="853"/>
                </a:lnTo>
                <a:lnTo>
                  <a:pt x="2530" y="856"/>
                </a:lnTo>
                <a:lnTo>
                  <a:pt x="2561" y="830"/>
                </a:lnTo>
                <a:lnTo>
                  <a:pt x="2585" y="810"/>
                </a:lnTo>
                <a:lnTo>
                  <a:pt x="2596" y="803"/>
                </a:lnTo>
                <a:lnTo>
                  <a:pt x="2605" y="797"/>
                </a:lnTo>
                <a:lnTo>
                  <a:pt x="2613" y="793"/>
                </a:lnTo>
                <a:lnTo>
                  <a:pt x="2621" y="790"/>
                </a:lnTo>
                <a:lnTo>
                  <a:pt x="2627" y="787"/>
                </a:lnTo>
                <a:lnTo>
                  <a:pt x="2633" y="786"/>
                </a:lnTo>
                <a:lnTo>
                  <a:pt x="2638" y="785"/>
                </a:lnTo>
                <a:lnTo>
                  <a:pt x="2645" y="785"/>
                </a:lnTo>
                <a:lnTo>
                  <a:pt x="2657" y="786"/>
                </a:lnTo>
                <a:lnTo>
                  <a:pt x="2670" y="788"/>
                </a:lnTo>
                <a:lnTo>
                  <a:pt x="2674" y="781"/>
                </a:lnTo>
                <a:lnTo>
                  <a:pt x="2679" y="774"/>
                </a:lnTo>
                <a:lnTo>
                  <a:pt x="2683" y="768"/>
                </a:lnTo>
                <a:lnTo>
                  <a:pt x="2689" y="763"/>
                </a:lnTo>
                <a:lnTo>
                  <a:pt x="2701" y="753"/>
                </a:lnTo>
                <a:lnTo>
                  <a:pt x="2713" y="745"/>
                </a:lnTo>
                <a:lnTo>
                  <a:pt x="2724" y="738"/>
                </a:lnTo>
                <a:lnTo>
                  <a:pt x="2735" y="730"/>
                </a:lnTo>
                <a:lnTo>
                  <a:pt x="2739" y="726"/>
                </a:lnTo>
                <a:lnTo>
                  <a:pt x="2743" y="721"/>
                </a:lnTo>
                <a:lnTo>
                  <a:pt x="2747" y="715"/>
                </a:lnTo>
                <a:lnTo>
                  <a:pt x="2750" y="708"/>
                </a:lnTo>
                <a:lnTo>
                  <a:pt x="2758" y="708"/>
                </a:lnTo>
                <a:lnTo>
                  <a:pt x="2765" y="706"/>
                </a:lnTo>
                <a:lnTo>
                  <a:pt x="2773" y="705"/>
                </a:lnTo>
                <a:lnTo>
                  <a:pt x="2780" y="704"/>
                </a:lnTo>
                <a:lnTo>
                  <a:pt x="2792" y="700"/>
                </a:lnTo>
                <a:lnTo>
                  <a:pt x="2803" y="694"/>
                </a:lnTo>
                <a:lnTo>
                  <a:pt x="2812" y="688"/>
                </a:lnTo>
                <a:lnTo>
                  <a:pt x="2820" y="681"/>
                </a:lnTo>
                <a:lnTo>
                  <a:pt x="2828" y="673"/>
                </a:lnTo>
                <a:lnTo>
                  <a:pt x="2836" y="665"/>
                </a:lnTo>
                <a:lnTo>
                  <a:pt x="2842" y="657"/>
                </a:lnTo>
                <a:lnTo>
                  <a:pt x="2850" y="649"/>
                </a:lnTo>
                <a:lnTo>
                  <a:pt x="2858" y="641"/>
                </a:lnTo>
                <a:lnTo>
                  <a:pt x="2866" y="635"/>
                </a:lnTo>
                <a:lnTo>
                  <a:pt x="2876" y="630"/>
                </a:lnTo>
                <a:lnTo>
                  <a:pt x="2887" y="625"/>
                </a:lnTo>
                <a:lnTo>
                  <a:pt x="2901" y="623"/>
                </a:lnTo>
                <a:lnTo>
                  <a:pt x="2916" y="622"/>
                </a:lnTo>
                <a:lnTo>
                  <a:pt x="2915" y="611"/>
                </a:lnTo>
                <a:lnTo>
                  <a:pt x="2914" y="602"/>
                </a:lnTo>
                <a:lnTo>
                  <a:pt x="2910" y="593"/>
                </a:lnTo>
                <a:lnTo>
                  <a:pt x="2906" y="586"/>
                </a:lnTo>
                <a:lnTo>
                  <a:pt x="2902" y="580"/>
                </a:lnTo>
                <a:lnTo>
                  <a:pt x="2897" y="574"/>
                </a:lnTo>
                <a:lnTo>
                  <a:pt x="2892" y="569"/>
                </a:lnTo>
                <a:lnTo>
                  <a:pt x="2886" y="564"/>
                </a:lnTo>
                <a:lnTo>
                  <a:pt x="2875" y="554"/>
                </a:lnTo>
                <a:lnTo>
                  <a:pt x="2865" y="543"/>
                </a:lnTo>
                <a:lnTo>
                  <a:pt x="2861" y="536"/>
                </a:lnTo>
                <a:lnTo>
                  <a:pt x="2859" y="529"/>
                </a:lnTo>
                <a:lnTo>
                  <a:pt x="2857" y="520"/>
                </a:lnTo>
                <a:lnTo>
                  <a:pt x="2855" y="511"/>
                </a:lnTo>
                <a:lnTo>
                  <a:pt x="2857" y="505"/>
                </a:lnTo>
                <a:lnTo>
                  <a:pt x="2860" y="499"/>
                </a:lnTo>
                <a:lnTo>
                  <a:pt x="2862" y="497"/>
                </a:lnTo>
                <a:lnTo>
                  <a:pt x="2864" y="495"/>
                </a:lnTo>
                <a:lnTo>
                  <a:pt x="2866" y="493"/>
                </a:lnTo>
                <a:lnTo>
                  <a:pt x="2870" y="493"/>
                </a:lnTo>
                <a:lnTo>
                  <a:pt x="2885" y="493"/>
                </a:lnTo>
                <a:lnTo>
                  <a:pt x="2903" y="495"/>
                </a:lnTo>
                <a:lnTo>
                  <a:pt x="2911" y="495"/>
                </a:lnTo>
                <a:lnTo>
                  <a:pt x="2919" y="495"/>
                </a:lnTo>
                <a:lnTo>
                  <a:pt x="2928" y="494"/>
                </a:lnTo>
                <a:lnTo>
                  <a:pt x="2936" y="493"/>
                </a:lnTo>
                <a:lnTo>
                  <a:pt x="2936" y="412"/>
                </a:lnTo>
                <a:lnTo>
                  <a:pt x="2930" y="407"/>
                </a:lnTo>
                <a:lnTo>
                  <a:pt x="2926" y="402"/>
                </a:lnTo>
                <a:lnTo>
                  <a:pt x="2921" y="396"/>
                </a:lnTo>
                <a:lnTo>
                  <a:pt x="2917" y="389"/>
                </a:lnTo>
                <a:lnTo>
                  <a:pt x="2914" y="382"/>
                </a:lnTo>
                <a:lnTo>
                  <a:pt x="2911" y="375"/>
                </a:lnTo>
                <a:lnTo>
                  <a:pt x="2909" y="365"/>
                </a:lnTo>
                <a:lnTo>
                  <a:pt x="2909" y="357"/>
                </a:lnTo>
                <a:lnTo>
                  <a:pt x="2909" y="348"/>
                </a:lnTo>
                <a:lnTo>
                  <a:pt x="2909" y="341"/>
                </a:lnTo>
                <a:lnTo>
                  <a:pt x="2909" y="332"/>
                </a:lnTo>
                <a:lnTo>
                  <a:pt x="2909" y="320"/>
                </a:lnTo>
                <a:lnTo>
                  <a:pt x="2904" y="316"/>
                </a:lnTo>
                <a:lnTo>
                  <a:pt x="2897" y="310"/>
                </a:lnTo>
                <a:lnTo>
                  <a:pt x="2893" y="307"/>
                </a:lnTo>
                <a:lnTo>
                  <a:pt x="2888" y="304"/>
                </a:lnTo>
                <a:lnTo>
                  <a:pt x="2883" y="302"/>
                </a:lnTo>
                <a:lnTo>
                  <a:pt x="2876" y="301"/>
                </a:lnTo>
                <a:lnTo>
                  <a:pt x="2866" y="302"/>
                </a:lnTo>
                <a:lnTo>
                  <a:pt x="2858" y="303"/>
                </a:lnTo>
                <a:lnTo>
                  <a:pt x="2849" y="305"/>
                </a:lnTo>
                <a:lnTo>
                  <a:pt x="2841" y="308"/>
                </a:lnTo>
                <a:lnTo>
                  <a:pt x="2827" y="314"/>
                </a:lnTo>
                <a:lnTo>
                  <a:pt x="2813" y="323"/>
                </a:lnTo>
                <a:lnTo>
                  <a:pt x="2798" y="331"/>
                </a:lnTo>
                <a:lnTo>
                  <a:pt x="2784" y="338"/>
                </a:lnTo>
                <a:lnTo>
                  <a:pt x="2776" y="341"/>
                </a:lnTo>
                <a:lnTo>
                  <a:pt x="2768" y="343"/>
                </a:lnTo>
                <a:lnTo>
                  <a:pt x="2759" y="344"/>
                </a:lnTo>
                <a:lnTo>
                  <a:pt x="2750" y="344"/>
                </a:lnTo>
                <a:lnTo>
                  <a:pt x="2735" y="343"/>
                </a:lnTo>
                <a:lnTo>
                  <a:pt x="2722" y="341"/>
                </a:lnTo>
                <a:lnTo>
                  <a:pt x="2708" y="336"/>
                </a:lnTo>
                <a:lnTo>
                  <a:pt x="2696" y="331"/>
                </a:lnTo>
                <a:lnTo>
                  <a:pt x="2684" y="324"/>
                </a:lnTo>
                <a:lnTo>
                  <a:pt x="2672" y="315"/>
                </a:lnTo>
                <a:lnTo>
                  <a:pt x="2661" y="307"/>
                </a:lnTo>
                <a:lnTo>
                  <a:pt x="2650" y="298"/>
                </a:lnTo>
                <a:lnTo>
                  <a:pt x="2627" y="280"/>
                </a:lnTo>
                <a:lnTo>
                  <a:pt x="2604" y="261"/>
                </a:lnTo>
                <a:lnTo>
                  <a:pt x="2592" y="253"/>
                </a:lnTo>
                <a:lnTo>
                  <a:pt x="2579" y="245"/>
                </a:lnTo>
                <a:lnTo>
                  <a:pt x="2565" y="239"/>
                </a:lnTo>
                <a:lnTo>
                  <a:pt x="2550" y="233"/>
                </a:lnTo>
                <a:lnTo>
                  <a:pt x="2525" y="227"/>
                </a:lnTo>
                <a:lnTo>
                  <a:pt x="2499" y="219"/>
                </a:lnTo>
                <a:lnTo>
                  <a:pt x="2487" y="215"/>
                </a:lnTo>
                <a:lnTo>
                  <a:pt x="2473" y="211"/>
                </a:lnTo>
                <a:lnTo>
                  <a:pt x="2461" y="205"/>
                </a:lnTo>
                <a:lnTo>
                  <a:pt x="2450" y="199"/>
                </a:lnTo>
                <a:lnTo>
                  <a:pt x="2438" y="193"/>
                </a:lnTo>
                <a:lnTo>
                  <a:pt x="2428" y="187"/>
                </a:lnTo>
                <a:lnTo>
                  <a:pt x="2418" y="179"/>
                </a:lnTo>
                <a:lnTo>
                  <a:pt x="2410" y="171"/>
                </a:lnTo>
                <a:lnTo>
                  <a:pt x="2401" y="162"/>
                </a:lnTo>
                <a:lnTo>
                  <a:pt x="2394" y="152"/>
                </a:lnTo>
                <a:lnTo>
                  <a:pt x="2389" y="141"/>
                </a:lnTo>
                <a:lnTo>
                  <a:pt x="2384" y="129"/>
                </a:lnTo>
                <a:lnTo>
                  <a:pt x="2370" y="128"/>
                </a:lnTo>
                <a:lnTo>
                  <a:pt x="2357" y="126"/>
                </a:lnTo>
                <a:lnTo>
                  <a:pt x="2346" y="122"/>
                </a:lnTo>
                <a:lnTo>
                  <a:pt x="2335" y="117"/>
                </a:lnTo>
                <a:lnTo>
                  <a:pt x="2325" y="111"/>
                </a:lnTo>
                <a:lnTo>
                  <a:pt x="2316" y="105"/>
                </a:lnTo>
                <a:lnTo>
                  <a:pt x="2308" y="98"/>
                </a:lnTo>
                <a:lnTo>
                  <a:pt x="2300" y="89"/>
                </a:lnTo>
                <a:lnTo>
                  <a:pt x="2283" y="74"/>
                </a:lnTo>
                <a:lnTo>
                  <a:pt x="2267" y="59"/>
                </a:lnTo>
                <a:lnTo>
                  <a:pt x="2257" y="52"/>
                </a:lnTo>
                <a:lnTo>
                  <a:pt x="2247" y="46"/>
                </a:lnTo>
                <a:lnTo>
                  <a:pt x="2236" y="41"/>
                </a:lnTo>
                <a:lnTo>
                  <a:pt x="2225" y="36"/>
                </a:lnTo>
                <a:lnTo>
                  <a:pt x="2190" y="25"/>
                </a:lnTo>
                <a:lnTo>
                  <a:pt x="2160" y="18"/>
                </a:lnTo>
                <a:lnTo>
                  <a:pt x="2131" y="10"/>
                </a:lnTo>
                <a:lnTo>
                  <a:pt x="2092" y="0"/>
                </a:lnTo>
                <a:lnTo>
                  <a:pt x="1973" y="18"/>
                </a:lnTo>
                <a:lnTo>
                  <a:pt x="1973" y="27"/>
                </a:lnTo>
                <a:lnTo>
                  <a:pt x="1973" y="36"/>
                </a:lnTo>
                <a:lnTo>
                  <a:pt x="1973" y="42"/>
                </a:lnTo>
                <a:lnTo>
                  <a:pt x="1975" y="46"/>
                </a:lnTo>
                <a:lnTo>
                  <a:pt x="1977" y="50"/>
                </a:lnTo>
                <a:lnTo>
                  <a:pt x="1980" y="53"/>
                </a:lnTo>
                <a:lnTo>
                  <a:pt x="1989" y="58"/>
                </a:lnTo>
                <a:lnTo>
                  <a:pt x="1999" y="62"/>
                </a:lnTo>
                <a:lnTo>
                  <a:pt x="2009" y="66"/>
                </a:lnTo>
                <a:lnTo>
                  <a:pt x="2018" y="72"/>
                </a:lnTo>
                <a:lnTo>
                  <a:pt x="2021" y="75"/>
                </a:lnTo>
                <a:lnTo>
                  <a:pt x="2023" y="80"/>
                </a:lnTo>
                <a:lnTo>
                  <a:pt x="2025" y="85"/>
                </a:lnTo>
                <a:lnTo>
                  <a:pt x="2025" y="91"/>
                </a:lnTo>
                <a:lnTo>
                  <a:pt x="2024" y="101"/>
                </a:lnTo>
                <a:lnTo>
                  <a:pt x="2022" y="108"/>
                </a:lnTo>
                <a:lnTo>
                  <a:pt x="2019" y="114"/>
                </a:lnTo>
                <a:lnTo>
                  <a:pt x="2016" y="120"/>
                </a:lnTo>
                <a:lnTo>
                  <a:pt x="2012" y="125"/>
                </a:lnTo>
                <a:lnTo>
                  <a:pt x="2009" y="131"/>
                </a:lnTo>
                <a:lnTo>
                  <a:pt x="2007" y="138"/>
                </a:lnTo>
                <a:lnTo>
                  <a:pt x="2006" y="147"/>
                </a:lnTo>
                <a:lnTo>
                  <a:pt x="2007" y="155"/>
                </a:lnTo>
                <a:lnTo>
                  <a:pt x="2009" y="161"/>
                </a:lnTo>
                <a:lnTo>
                  <a:pt x="2012" y="168"/>
                </a:lnTo>
                <a:lnTo>
                  <a:pt x="2018" y="174"/>
                </a:lnTo>
                <a:lnTo>
                  <a:pt x="2022" y="179"/>
                </a:lnTo>
                <a:lnTo>
                  <a:pt x="2028" y="184"/>
                </a:lnTo>
                <a:lnTo>
                  <a:pt x="2033" y="187"/>
                </a:lnTo>
                <a:lnTo>
                  <a:pt x="2039" y="190"/>
                </a:lnTo>
                <a:lnTo>
                  <a:pt x="2033" y="197"/>
                </a:lnTo>
                <a:lnTo>
                  <a:pt x="2025" y="204"/>
                </a:lnTo>
                <a:lnTo>
                  <a:pt x="2017" y="211"/>
                </a:lnTo>
                <a:lnTo>
                  <a:pt x="2008" y="216"/>
                </a:lnTo>
                <a:lnTo>
                  <a:pt x="1999" y="221"/>
                </a:lnTo>
                <a:lnTo>
                  <a:pt x="1989" y="224"/>
                </a:lnTo>
                <a:lnTo>
                  <a:pt x="1980" y="227"/>
                </a:lnTo>
                <a:lnTo>
                  <a:pt x="1973" y="227"/>
                </a:lnTo>
                <a:lnTo>
                  <a:pt x="1962" y="227"/>
                </a:lnTo>
                <a:lnTo>
                  <a:pt x="1952" y="227"/>
                </a:lnTo>
                <a:lnTo>
                  <a:pt x="1940" y="227"/>
                </a:lnTo>
                <a:lnTo>
                  <a:pt x="1925" y="227"/>
                </a:lnTo>
                <a:lnTo>
                  <a:pt x="1919" y="258"/>
                </a:lnTo>
                <a:lnTo>
                  <a:pt x="1924" y="278"/>
                </a:lnTo>
                <a:lnTo>
                  <a:pt x="1930" y="296"/>
                </a:lnTo>
                <a:lnTo>
                  <a:pt x="1933" y="304"/>
                </a:lnTo>
                <a:lnTo>
                  <a:pt x="1938" y="311"/>
                </a:lnTo>
                <a:lnTo>
                  <a:pt x="1942" y="319"/>
                </a:lnTo>
                <a:lnTo>
                  <a:pt x="1947" y="326"/>
                </a:lnTo>
                <a:lnTo>
                  <a:pt x="1953" y="331"/>
                </a:lnTo>
                <a:lnTo>
                  <a:pt x="1961" y="336"/>
                </a:lnTo>
                <a:lnTo>
                  <a:pt x="1968" y="340"/>
                </a:lnTo>
                <a:lnTo>
                  <a:pt x="1977" y="344"/>
                </a:lnTo>
                <a:lnTo>
                  <a:pt x="1987" y="347"/>
                </a:lnTo>
                <a:lnTo>
                  <a:pt x="1999" y="349"/>
                </a:lnTo>
                <a:lnTo>
                  <a:pt x="2011" y="350"/>
                </a:lnTo>
                <a:lnTo>
                  <a:pt x="2025" y="350"/>
                </a:lnTo>
                <a:lnTo>
                  <a:pt x="2036" y="350"/>
                </a:lnTo>
                <a:lnTo>
                  <a:pt x="2043" y="349"/>
                </a:lnTo>
                <a:lnTo>
                  <a:pt x="2048" y="347"/>
                </a:lnTo>
                <a:lnTo>
                  <a:pt x="2053" y="344"/>
                </a:lnTo>
                <a:lnTo>
                  <a:pt x="2057" y="342"/>
                </a:lnTo>
                <a:lnTo>
                  <a:pt x="2064" y="340"/>
                </a:lnTo>
                <a:lnTo>
                  <a:pt x="2073" y="339"/>
                </a:lnTo>
                <a:lnTo>
                  <a:pt x="2086" y="338"/>
                </a:lnTo>
                <a:lnTo>
                  <a:pt x="2092" y="339"/>
                </a:lnTo>
                <a:lnTo>
                  <a:pt x="2098" y="340"/>
                </a:lnTo>
                <a:lnTo>
                  <a:pt x="2103" y="341"/>
                </a:lnTo>
                <a:lnTo>
                  <a:pt x="2109" y="343"/>
                </a:lnTo>
                <a:lnTo>
                  <a:pt x="2122" y="349"/>
                </a:lnTo>
                <a:lnTo>
                  <a:pt x="2138" y="357"/>
                </a:lnTo>
                <a:lnTo>
                  <a:pt x="2140" y="361"/>
                </a:lnTo>
                <a:lnTo>
                  <a:pt x="2142" y="366"/>
                </a:lnTo>
                <a:lnTo>
                  <a:pt x="2146" y="370"/>
                </a:lnTo>
                <a:lnTo>
                  <a:pt x="2151" y="375"/>
                </a:lnTo>
                <a:lnTo>
                  <a:pt x="2157" y="379"/>
                </a:lnTo>
                <a:lnTo>
                  <a:pt x="2164" y="382"/>
                </a:lnTo>
                <a:lnTo>
                  <a:pt x="2170" y="385"/>
                </a:lnTo>
                <a:lnTo>
                  <a:pt x="2178" y="388"/>
                </a:lnTo>
                <a:lnTo>
                  <a:pt x="2175" y="393"/>
                </a:lnTo>
                <a:lnTo>
                  <a:pt x="2169" y="399"/>
                </a:lnTo>
                <a:lnTo>
                  <a:pt x="2160" y="405"/>
                </a:lnTo>
                <a:lnTo>
                  <a:pt x="2152" y="410"/>
                </a:lnTo>
                <a:lnTo>
                  <a:pt x="2141" y="416"/>
                </a:lnTo>
                <a:lnTo>
                  <a:pt x="2130" y="420"/>
                </a:lnTo>
                <a:lnTo>
                  <a:pt x="2118" y="423"/>
                </a:lnTo>
                <a:lnTo>
                  <a:pt x="2106" y="424"/>
                </a:lnTo>
                <a:lnTo>
                  <a:pt x="2098" y="426"/>
                </a:lnTo>
                <a:lnTo>
                  <a:pt x="2084" y="434"/>
                </a:lnTo>
                <a:lnTo>
                  <a:pt x="2064" y="443"/>
                </a:lnTo>
                <a:lnTo>
                  <a:pt x="2041" y="455"/>
                </a:lnTo>
                <a:lnTo>
                  <a:pt x="2019" y="467"/>
                </a:lnTo>
                <a:lnTo>
                  <a:pt x="1998" y="479"/>
                </a:lnTo>
                <a:lnTo>
                  <a:pt x="1989" y="485"/>
                </a:lnTo>
                <a:lnTo>
                  <a:pt x="1981" y="490"/>
                </a:lnTo>
                <a:lnTo>
                  <a:pt x="1976" y="495"/>
                </a:lnTo>
                <a:lnTo>
                  <a:pt x="1973" y="499"/>
                </a:lnTo>
                <a:lnTo>
                  <a:pt x="1860" y="499"/>
                </a:lnTo>
                <a:lnTo>
                  <a:pt x="1860" y="506"/>
                </a:lnTo>
                <a:lnTo>
                  <a:pt x="1861" y="513"/>
                </a:lnTo>
                <a:lnTo>
                  <a:pt x="1863" y="520"/>
                </a:lnTo>
                <a:lnTo>
                  <a:pt x="1864" y="525"/>
                </a:lnTo>
                <a:lnTo>
                  <a:pt x="1869" y="536"/>
                </a:lnTo>
                <a:lnTo>
                  <a:pt x="1876" y="546"/>
                </a:lnTo>
                <a:lnTo>
                  <a:pt x="1882" y="554"/>
                </a:lnTo>
                <a:lnTo>
                  <a:pt x="1887" y="562"/>
                </a:lnTo>
                <a:lnTo>
                  <a:pt x="1889" y="566"/>
                </a:lnTo>
                <a:lnTo>
                  <a:pt x="1891" y="570"/>
                </a:lnTo>
                <a:lnTo>
                  <a:pt x="1893" y="574"/>
                </a:lnTo>
                <a:lnTo>
                  <a:pt x="1893" y="578"/>
                </a:lnTo>
                <a:lnTo>
                  <a:pt x="1893" y="583"/>
                </a:lnTo>
                <a:lnTo>
                  <a:pt x="1890" y="588"/>
                </a:lnTo>
                <a:lnTo>
                  <a:pt x="1888" y="594"/>
                </a:lnTo>
                <a:lnTo>
                  <a:pt x="1885" y="601"/>
                </a:lnTo>
                <a:lnTo>
                  <a:pt x="1877" y="613"/>
                </a:lnTo>
                <a:lnTo>
                  <a:pt x="1867" y="625"/>
                </a:lnTo>
                <a:lnTo>
                  <a:pt x="1856" y="637"/>
                </a:lnTo>
                <a:lnTo>
                  <a:pt x="1845" y="647"/>
                </a:lnTo>
                <a:lnTo>
                  <a:pt x="1834" y="655"/>
                </a:lnTo>
                <a:lnTo>
                  <a:pt x="1827" y="659"/>
                </a:lnTo>
                <a:lnTo>
                  <a:pt x="1727" y="659"/>
                </a:lnTo>
                <a:lnTo>
                  <a:pt x="1699" y="674"/>
                </a:lnTo>
                <a:lnTo>
                  <a:pt x="1664" y="694"/>
                </a:lnTo>
                <a:lnTo>
                  <a:pt x="1647" y="704"/>
                </a:lnTo>
                <a:lnTo>
                  <a:pt x="1630" y="713"/>
                </a:lnTo>
                <a:lnTo>
                  <a:pt x="1624" y="716"/>
                </a:lnTo>
                <a:lnTo>
                  <a:pt x="1617" y="718"/>
                </a:lnTo>
                <a:lnTo>
                  <a:pt x="1611" y="720"/>
                </a:lnTo>
                <a:lnTo>
                  <a:pt x="1607" y="721"/>
                </a:lnTo>
                <a:lnTo>
                  <a:pt x="1598" y="720"/>
                </a:lnTo>
                <a:lnTo>
                  <a:pt x="1587" y="719"/>
                </a:lnTo>
                <a:lnTo>
                  <a:pt x="1574" y="717"/>
                </a:lnTo>
                <a:lnTo>
                  <a:pt x="1560" y="714"/>
                </a:lnTo>
                <a:lnTo>
                  <a:pt x="1527" y="705"/>
                </a:lnTo>
                <a:lnTo>
                  <a:pt x="1493" y="696"/>
                </a:lnTo>
                <a:lnTo>
                  <a:pt x="1460" y="686"/>
                </a:lnTo>
                <a:lnTo>
                  <a:pt x="1430" y="676"/>
                </a:lnTo>
                <a:lnTo>
                  <a:pt x="1418" y="671"/>
                </a:lnTo>
                <a:lnTo>
                  <a:pt x="1407" y="667"/>
                </a:lnTo>
                <a:lnTo>
                  <a:pt x="1400" y="663"/>
                </a:lnTo>
                <a:lnTo>
                  <a:pt x="1394" y="659"/>
                </a:lnTo>
                <a:lnTo>
                  <a:pt x="1228" y="659"/>
                </a:lnTo>
                <a:lnTo>
                  <a:pt x="1169" y="646"/>
                </a:lnTo>
                <a:lnTo>
                  <a:pt x="1160" y="646"/>
                </a:lnTo>
                <a:lnTo>
                  <a:pt x="1151" y="646"/>
                </a:lnTo>
                <a:lnTo>
                  <a:pt x="1143" y="644"/>
                </a:lnTo>
                <a:lnTo>
                  <a:pt x="1133" y="641"/>
                </a:lnTo>
                <a:lnTo>
                  <a:pt x="1123" y="638"/>
                </a:lnTo>
                <a:lnTo>
                  <a:pt x="1112" y="633"/>
                </a:lnTo>
                <a:lnTo>
                  <a:pt x="1102" y="628"/>
                </a:lnTo>
                <a:lnTo>
                  <a:pt x="1092" y="622"/>
                </a:lnTo>
                <a:lnTo>
                  <a:pt x="1082" y="615"/>
                </a:lnTo>
                <a:lnTo>
                  <a:pt x="1073" y="608"/>
                </a:lnTo>
                <a:lnTo>
                  <a:pt x="1065" y="601"/>
                </a:lnTo>
                <a:lnTo>
                  <a:pt x="1056" y="592"/>
                </a:lnTo>
                <a:lnTo>
                  <a:pt x="1049" y="584"/>
                </a:lnTo>
                <a:lnTo>
                  <a:pt x="1044" y="576"/>
                </a:lnTo>
                <a:lnTo>
                  <a:pt x="1038" y="568"/>
                </a:lnTo>
                <a:lnTo>
                  <a:pt x="1036" y="560"/>
                </a:lnTo>
                <a:lnTo>
                  <a:pt x="1022" y="560"/>
                </a:lnTo>
                <a:lnTo>
                  <a:pt x="1008" y="558"/>
                </a:lnTo>
                <a:lnTo>
                  <a:pt x="994" y="555"/>
                </a:lnTo>
                <a:lnTo>
                  <a:pt x="980" y="552"/>
                </a:lnTo>
                <a:lnTo>
                  <a:pt x="953" y="543"/>
                </a:lnTo>
                <a:lnTo>
                  <a:pt x="923" y="532"/>
                </a:lnTo>
                <a:lnTo>
                  <a:pt x="893" y="522"/>
                </a:lnTo>
                <a:lnTo>
                  <a:pt x="863" y="513"/>
                </a:lnTo>
                <a:lnTo>
                  <a:pt x="846" y="510"/>
                </a:lnTo>
                <a:lnTo>
                  <a:pt x="831" y="507"/>
                </a:lnTo>
                <a:lnTo>
                  <a:pt x="813" y="505"/>
                </a:lnTo>
                <a:lnTo>
                  <a:pt x="797" y="505"/>
                </a:lnTo>
                <a:lnTo>
                  <a:pt x="786" y="504"/>
                </a:lnTo>
                <a:lnTo>
                  <a:pt x="770" y="501"/>
                </a:lnTo>
                <a:lnTo>
                  <a:pt x="763" y="499"/>
                </a:lnTo>
                <a:lnTo>
                  <a:pt x="756" y="497"/>
                </a:lnTo>
                <a:lnTo>
                  <a:pt x="752" y="495"/>
                </a:lnTo>
                <a:lnTo>
                  <a:pt x="750" y="493"/>
                </a:lnTo>
                <a:lnTo>
                  <a:pt x="746" y="485"/>
                </a:lnTo>
                <a:lnTo>
                  <a:pt x="744" y="477"/>
                </a:lnTo>
                <a:lnTo>
                  <a:pt x="743" y="470"/>
                </a:lnTo>
                <a:lnTo>
                  <a:pt x="743" y="461"/>
                </a:lnTo>
                <a:lnTo>
                  <a:pt x="743" y="456"/>
                </a:lnTo>
                <a:lnTo>
                  <a:pt x="743" y="449"/>
                </a:lnTo>
                <a:lnTo>
                  <a:pt x="743" y="440"/>
                </a:lnTo>
                <a:lnTo>
                  <a:pt x="743" y="431"/>
                </a:lnTo>
                <a:lnTo>
                  <a:pt x="741" y="431"/>
                </a:lnTo>
                <a:lnTo>
                  <a:pt x="736" y="428"/>
                </a:lnTo>
                <a:lnTo>
                  <a:pt x="732" y="426"/>
                </a:lnTo>
                <a:lnTo>
                  <a:pt x="728" y="422"/>
                </a:lnTo>
                <a:lnTo>
                  <a:pt x="717" y="414"/>
                </a:lnTo>
                <a:lnTo>
                  <a:pt x="705" y="403"/>
                </a:lnTo>
                <a:lnTo>
                  <a:pt x="695" y="391"/>
                </a:lnTo>
                <a:lnTo>
                  <a:pt x="686" y="379"/>
                </a:lnTo>
                <a:lnTo>
                  <a:pt x="681" y="372"/>
                </a:lnTo>
                <a:lnTo>
                  <a:pt x="679" y="367"/>
                </a:lnTo>
                <a:lnTo>
                  <a:pt x="677" y="361"/>
                </a:lnTo>
                <a:lnTo>
                  <a:pt x="677" y="357"/>
                </a:lnTo>
                <a:lnTo>
                  <a:pt x="661" y="356"/>
                </a:lnTo>
                <a:lnTo>
                  <a:pt x="645" y="355"/>
                </a:lnTo>
                <a:lnTo>
                  <a:pt x="630" y="353"/>
                </a:lnTo>
                <a:lnTo>
                  <a:pt x="616" y="351"/>
                </a:lnTo>
                <a:lnTo>
                  <a:pt x="602" y="348"/>
                </a:lnTo>
                <a:lnTo>
                  <a:pt x="589" y="344"/>
                </a:lnTo>
                <a:lnTo>
                  <a:pt x="576" y="340"/>
                </a:lnTo>
                <a:lnTo>
                  <a:pt x="564" y="335"/>
                </a:lnTo>
                <a:lnTo>
                  <a:pt x="552" y="329"/>
                </a:lnTo>
                <a:lnTo>
                  <a:pt x="541" y="323"/>
                </a:lnTo>
                <a:lnTo>
                  <a:pt x="531" y="315"/>
                </a:lnTo>
                <a:lnTo>
                  <a:pt x="522" y="307"/>
                </a:lnTo>
                <a:lnTo>
                  <a:pt x="512" y="299"/>
                </a:lnTo>
                <a:lnTo>
                  <a:pt x="505" y="290"/>
                </a:lnTo>
                <a:lnTo>
                  <a:pt x="497" y="281"/>
                </a:lnTo>
                <a:lnTo>
                  <a:pt x="490" y="271"/>
                </a:lnTo>
                <a:lnTo>
                  <a:pt x="475" y="268"/>
                </a:lnTo>
                <a:lnTo>
                  <a:pt x="463" y="267"/>
                </a:lnTo>
                <a:lnTo>
                  <a:pt x="454" y="267"/>
                </a:lnTo>
                <a:lnTo>
                  <a:pt x="449" y="268"/>
                </a:lnTo>
                <a:lnTo>
                  <a:pt x="444" y="270"/>
                </a:lnTo>
                <a:lnTo>
                  <a:pt x="442" y="273"/>
                </a:lnTo>
                <a:lnTo>
                  <a:pt x="441" y="277"/>
                </a:lnTo>
                <a:lnTo>
                  <a:pt x="441" y="281"/>
                </a:lnTo>
                <a:lnTo>
                  <a:pt x="441" y="286"/>
                </a:lnTo>
                <a:lnTo>
                  <a:pt x="441" y="291"/>
                </a:lnTo>
                <a:lnTo>
                  <a:pt x="440" y="296"/>
                </a:lnTo>
                <a:lnTo>
                  <a:pt x="439" y="301"/>
                </a:lnTo>
                <a:lnTo>
                  <a:pt x="436" y="307"/>
                </a:lnTo>
                <a:lnTo>
                  <a:pt x="430" y="311"/>
                </a:lnTo>
                <a:lnTo>
                  <a:pt x="422" y="316"/>
                </a:lnTo>
                <a:lnTo>
                  <a:pt x="411" y="320"/>
                </a:lnTo>
                <a:lnTo>
                  <a:pt x="407" y="320"/>
                </a:lnTo>
                <a:lnTo>
                  <a:pt x="403" y="321"/>
                </a:lnTo>
                <a:lnTo>
                  <a:pt x="400" y="322"/>
                </a:lnTo>
                <a:lnTo>
                  <a:pt x="398" y="323"/>
                </a:lnTo>
                <a:lnTo>
                  <a:pt x="397" y="325"/>
                </a:lnTo>
                <a:lnTo>
                  <a:pt x="396" y="327"/>
                </a:lnTo>
                <a:lnTo>
                  <a:pt x="396" y="329"/>
                </a:lnTo>
                <a:lnTo>
                  <a:pt x="396" y="332"/>
                </a:lnTo>
                <a:lnTo>
                  <a:pt x="401" y="344"/>
                </a:lnTo>
                <a:lnTo>
                  <a:pt x="410" y="357"/>
                </a:lnTo>
                <a:lnTo>
                  <a:pt x="415" y="364"/>
                </a:lnTo>
                <a:lnTo>
                  <a:pt x="419" y="371"/>
                </a:lnTo>
                <a:lnTo>
                  <a:pt x="421" y="379"/>
                </a:lnTo>
                <a:lnTo>
                  <a:pt x="423" y="385"/>
                </a:lnTo>
                <a:lnTo>
                  <a:pt x="423" y="388"/>
                </a:lnTo>
                <a:lnTo>
                  <a:pt x="422" y="390"/>
                </a:lnTo>
                <a:lnTo>
                  <a:pt x="421" y="393"/>
                </a:lnTo>
                <a:lnTo>
                  <a:pt x="420" y="395"/>
                </a:lnTo>
                <a:lnTo>
                  <a:pt x="417" y="397"/>
                </a:lnTo>
                <a:lnTo>
                  <a:pt x="414" y="398"/>
                </a:lnTo>
                <a:lnTo>
                  <a:pt x="409" y="399"/>
                </a:lnTo>
                <a:lnTo>
                  <a:pt x="405" y="400"/>
                </a:lnTo>
                <a:lnTo>
                  <a:pt x="392" y="400"/>
                </a:lnTo>
                <a:lnTo>
                  <a:pt x="377" y="400"/>
                </a:lnTo>
                <a:lnTo>
                  <a:pt x="370" y="400"/>
                </a:lnTo>
                <a:lnTo>
                  <a:pt x="361" y="399"/>
                </a:lnTo>
                <a:lnTo>
                  <a:pt x="351" y="397"/>
                </a:lnTo>
                <a:lnTo>
                  <a:pt x="341" y="395"/>
                </a:lnTo>
                <a:lnTo>
                  <a:pt x="331" y="393"/>
                </a:lnTo>
                <a:lnTo>
                  <a:pt x="321" y="390"/>
                </a:lnTo>
                <a:lnTo>
                  <a:pt x="313" y="386"/>
                </a:lnTo>
                <a:lnTo>
                  <a:pt x="305" y="382"/>
                </a:lnTo>
                <a:lnTo>
                  <a:pt x="303" y="387"/>
                </a:lnTo>
                <a:lnTo>
                  <a:pt x="302" y="393"/>
                </a:lnTo>
                <a:lnTo>
                  <a:pt x="303" y="401"/>
                </a:lnTo>
                <a:lnTo>
                  <a:pt x="303" y="409"/>
                </a:lnTo>
                <a:lnTo>
                  <a:pt x="307" y="427"/>
                </a:lnTo>
                <a:lnTo>
                  <a:pt x="311" y="448"/>
                </a:lnTo>
                <a:lnTo>
                  <a:pt x="316" y="467"/>
                </a:lnTo>
                <a:lnTo>
                  <a:pt x="320" y="483"/>
                </a:lnTo>
                <a:lnTo>
                  <a:pt x="320" y="491"/>
                </a:lnTo>
                <a:lnTo>
                  <a:pt x="320" y="497"/>
                </a:lnTo>
                <a:lnTo>
                  <a:pt x="320" y="502"/>
                </a:lnTo>
                <a:lnTo>
                  <a:pt x="318" y="505"/>
                </a:lnTo>
                <a:lnTo>
                  <a:pt x="292" y="503"/>
                </a:lnTo>
                <a:lnTo>
                  <a:pt x="254" y="503"/>
                </a:lnTo>
                <a:lnTo>
                  <a:pt x="244" y="504"/>
                </a:lnTo>
                <a:lnTo>
                  <a:pt x="236" y="505"/>
                </a:lnTo>
                <a:lnTo>
                  <a:pt x="227" y="507"/>
                </a:lnTo>
                <a:lnTo>
                  <a:pt x="220" y="510"/>
                </a:lnTo>
                <a:lnTo>
                  <a:pt x="214" y="513"/>
                </a:lnTo>
                <a:lnTo>
                  <a:pt x="209" y="517"/>
                </a:lnTo>
                <a:lnTo>
                  <a:pt x="207" y="520"/>
                </a:lnTo>
                <a:lnTo>
                  <a:pt x="206" y="523"/>
                </a:lnTo>
                <a:lnTo>
                  <a:pt x="205" y="526"/>
                </a:lnTo>
                <a:lnTo>
                  <a:pt x="205" y="529"/>
                </a:lnTo>
                <a:lnTo>
                  <a:pt x="216" y="531"/>
                </a:lnTo>
                <a:lnTo>
                  <a:pt x="226" y="534"/>
                </a:lnTo>
                <a:lnTo>
                  <a:pt x="233" y="538"/>
                </a:lnTo>
                <a:lnTo>
                  <a:pt x="239" y="544"/>
                </a:lnTo>
                <a:lnTo>
                  <a:pt x="243" y="550"/>
                </a:lnTo>
                <a:lnTo>
                  <a:pt x="247" y="556"/>
                </a:lnTo>
                <a:lnTo>
                  <a:pt x="250" y="563"/>
                </a:lnTo>
                <a:lnTo>
                  <a:pt x="252" y="569"/>
                </a:lnTo>
                <a:lnTo>
                  <a:pt x="255" y="583"/>
                </a:lnTo>
                <a:lnTo>
                  <a:pt x="260" y="595"/>
                </a:lnTo>
                <a:lnTo>
                  <a:pt x="262" y="601"/>
                </a:lnTo>
                <a:lnTo>
                  <a:pt x="266" y="605"/>
                </a:lnTo>
                <a:lnTo>
                  <a:pt x="272" y="608"/>
                </a:lnTo>
                <a:lnTo>
                  <a:pt x="278" y="610"/>
                </a:lnTo>
                <a:lnTo>
                  <a:pt x="276" y="614"/>
                </a:lnTo>
                <a:lnTo>
                  <a:pt x="275" y="618"/>
                </a:lnTo>
                <a:lnTo>
                  <a:pt x="275" y="621"/>
                </a:lnTo>
                <a:lnTo>
                  <a:pt x="275" y="625"/>
                </a:lnTo>
                <a:lnTo>
                  <a:pt x="277" y="632"/>
                </a:lnTo>
                <a:lnTo>
                  <a:pt x="278" y="640"/>
                </a:lnTo>
                <a:lnTo>
                  <a:pt x="277" y="658"/>
                </a:lnTo>
                <a:lnTo>
                  <a:pt x="274" y="674"/>
                </a:lnTo>
                <a:lnTo>
                  <a:pt x="270" y="688"/>
                </a:lnTo>
                <a:lnTo>
                  <a:pt x="264" y="700"/>
                </a:lnTo>
                <a:lnTo>
                  <a:pt x="261" y="705"/>
                </a:lnTo>
                <a:lnTo>
                  <a:pt x="257" y="711"/>
                </a:lnTo>
                <a:lnTo>
                  <a:pt x="252" y="716"/>
                </a:lnTo>
                <a:lnTo>
                  <a:pt x="248" y="720"/>
                </a:lnTo>
                <a:lnTo>
                  <a:pt x="242" y="724"/>
                </a:lnTo>
                <a:lnTo>
                  <a:pt x="237" y="727"/>
                </a:lnTo>
                <a:lnTo>
                  <a:pt x="231" y="730"/>
                </a:lnTo>
                <a:lnTo>
                  <a:pt x="225" y="733"/>
                </a:lnTo>
                <a:lnTo>
                  <a:pt x="206" y="735"/>
                </a:lnTo>
                <a:lnTo>
                  <a:pt x="182" y="737"/>
                </a:lnTo>
                <a:lnTo>
                  <a:pt x="170" y="739"/>
                </a:lnTo>
                <a:lnTo>
                  <a:pt x="158" y="741"/>
                </a:lnTo>
                <a:lnTo>
                  <a:pt x="152" y="743"/>
                </a:lnTo>
                <a:lnTo>
                  <a:pt x="147" y="745"/>
                </a:lnTo>
                <a:lnTo>
                  <a:pt x="142" y="748"/>
                </a:lnTo>
                <a:lnTo>
                  <a:pt x="139" y="751"/>
                </a:lnTo>
                <a:lnTo>
                  <a:pt x="134" y="758"/>
                </a:lnTo>
                <a:lnTo>
                  <a:pt x="127" y="770"/>
                </a:lnTo>
                <a:lnTo>
                  <a:pt x="123" y="776"/>
                </a:lnTo>
                <a:lnTo>
                  <a:pt x="118" y="781"/>
                </a:lnTo>
                <a:lnTo>
                  <a:pt x="113" y="785"/>
                </a:lnTo>
                <a:lnTo>
                  <a:pt x="105" y="788"/>
                </a:lnTo>
                <a:lnTo>
                  <a:pt x="81" y="794"/>
                </a:lnTo>
                <a:lnTo>
                  <a:pt x="45" y="800"/>
                </a:lnTo>
                <a:lnTo>
                  <a:pt x="27" y="804"/>
                </a:lnTo>
                <a:lnTo>
                  <a:pt x="13" y="807"/>
                </a:lnTo>
                <a:lnTo>
                  <a:pt x="3" y="810"/>
                </a:lnTo>
                <a:lnTo>
                  <a:pt x="0" y="812"/>
                </a:lnTo>
                <a:lnTo>
                  <a:pt x="0" y="824"/>
                </a:lnTo>
                <a:lnTo>
                  <a:pt x="3" y="833"/>
                </a:lnTo>
                <a:lnTo>
                  <a:pt x="6" y="842"/>
                </a:lnTo>
                <a:lnTo>
                  <a:pt x="9" y="850"/>
                </a:lnTo>
                <a:lnTo>
                  <a:pt x="14" y="859"/>
                </a:lnTo>
                <a:lnTo>
                  <a:pt x="18" y="869"/>
                </a:lnTo>
                <a:lnTo>
                  <a:pt x="23" y="880"/>
                </a:lnTo>
                <a:lnTo>
                  <a:pt x="26" y="893"/>
                </a:lnTo>
                <a:lnTo>
                  <a:pt x="40" y="894"/>
                </a:lnTo>
                <a:lnTo>
                  <a:pt x="53" y="896"/>
                </a:lnTo>
                <a:lnTo>
                  <a:pt x="59" y="897"/>
                </a:lnTo>
                <a:lnTo>
                  <a:pt x="64" y="899"/>
                </a:lnTo>
                <a:lnTo>
                  <a:pt x="70" y="902"/>
                </a:lnTo>
                <a:lnTo>
                  <a:pt x="74" y="905"/>
                </a:lnTo>
                <a:lnTo>
                  <a:pt x="79" y="909"/>
                </a:lnTo>
                <a:lnTo>
                  <a:pt x="83" y="913"/>
                </a:lnTo>
                <a:lnTo>
                  <a:pt x="87" y="918"/>
                </a:lnTo>
                <a:lnTo>
                  <a:pt x="90" y="924"/>
                </a:lnTo>
                <a:lnTo>
                  <a:pt x="93" y="931"/>
                </a:lnTo>
                <a:lnTo>
                  <a:pt x="95" y="938"/>
                </a:lnTo>
                <a:lnTo>
                  <a:pt x="97" y="946"/>
                </a:lnTo>
                <a:lnTo>
                  <a:pt x="98" y="954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 dirty="0"/>
          </a:p>
        </p:txBody>
      </p:sp>
      <p:sp>
        <p:nvSpPr>
          <p:cNvPr id="23" name="Freeform 15"/>
          <p:cNvSpPr>
            <a:spLocks/>
          </p:cNvSpPr>
          <p:nvPr>
            <p:custDataLst>
              <p:tags r:id="rId7"/>
            </p:custDataLst>
          </p:nvPr>
        </p:nvSpPr>
        <p:spPr bwMode="auto">
          <a:xfrm>
            <a:off x="1529837" y="3022344"/>
            <a:ext cx="273621" cy="372440"/>
          </a:xfrm>
          <a:custGeom>
            <a:avLst/>
            <a:gdLst>
              <a:gd name="T0" fmla="*/ 66132051 w 504"/>
              <a:gd name="T1" fmla="*/ 133865368 h 524"/>
              <a:gd name="T2" fmla="*/ 49071901 w 504"/>
              <a:gd name="T3" fmla="*/ 137123730 h 524"/>
              <a:gd name="T4" fmla="*/ 45046571 w 504"/>
              <a:gd name="T5" fmla="*/ 140382092 h 524"/>
              <a:gd name="T6" fmla="*/ 40254616 w 504"/>
              <a:gd name="T7" fmla="*/ 141740047 h 524"/>
              <a:gd name="T8" fmla="*/ 29711438 w 504"/>
              <a:gd name="T9" fmla="*/ 142283020 h 524"/>
              <a:gd name="T10" fmla="*/ 20318855 w 504"/>
              <a:gd name="T11" fmla="*/ 141740047 h 524"/>
              <a:gd name="T12" fmla="*/ 18018541 w 504"/>
              <a:gd name="T13" fmla="*/ 140110605 h 524"/>
              <a:gd name="T14" fmla="*/ 13609679 w 504"/>
              <a:gd name="T15" fmla="*/ 138210198 h 524"/>
              <a:gd name="T16" fmla="*/ 6900941 w 504"/>
              <a:gd name="T17" fmla="*/ 134680349 h 524"/>
              <a:gd name="T18" fmla="*/ 4217096 w 504"/>
              <a:gd name="T19" fmla="*/ 131964961 h 524"/>
              <a:gd name="T20" fmla="*/ 3833564 w 504"/>
              <a:gd name="T21" fmla="*/ 129521059 h 524"/>
              <a:gd name="T22" fmla="*/ 5175487 w 504"/>
              <a:gd name="T23" fmla="*/ 125719724 h 524"/>
              <a:gd name="T24" fmla="*/ 6133878 w 504"/>
              <a:gd name="T25" fmla="*/ 120831920 h 524"/>
              <a:gd name="T26" fmla="*/ 5367253 w 504"/>
              <a:gd name="T27" fmla="*/ 117302072 h 524"/>
              <a:gd name="T28" fmla="*/ 1916782 w 504"/>
              <a:gd name="T29" fmla="*/ 113229249 h 524"/>
              <a:gd name="T30" fmla="*/ 191766 w 504"/>
              <a:gd name="T31" fmla="*/ 110513861 h 524"/>
              <a:gd name="T32" fmla="*/ 191766 w 504"/>
              <a:gd name="T33" fmla="*/ 106169031 h 524"/>
              <a:gd name="T34" fmla="*/ 3258705 w 504"/>
              <a:gd name="T35" fmla="*/ 97751900 h 524"/>
              <a:gd name="T36" fmla="*/ 9200817 w 504"/>
              <a:gd name="T37" fmla="*/ 89062761 h 524"/>
              <a:gd name="T38" fmla="*/ 16485290 w 504"/>
              <a:gd name="T39" fmla="*/ 81188083 h 524"/>
              <a:gd name="T40" fmla="*/ 23769325 w 504"/>
              <a:gd name="T41" fmla="*/ 75757306 h 524"/>
              <a:gd name="T42" fmla="*/ 30669829 w 504"/>
              <a:gd name="T43" fmla="*/ 73856898 h 524"/>
              <a:gd name="T44" fmla="*/ 29711438 w 504"/>
              <a:gd name="T45" fmla="*/ 71684483 h 524"/>
              <a:gd name="T46" fmla="*/ 27219796 w 504"/>
              <a:gd name="T47" fmla="*/ 70327050 h 524"/>
              <a:gd name="T48" fmla="*/ 25494342 w 504"/>
              <a:gd name="T49" fmla="*/ 68154635 h 524"/>
              <a:gd name="T50" fmla="*/ 24344185 w 504"/>
              <a:gd name="T51" fmla="*/ 62180884 h 524"/>
              <a:gd name="T52" fmla="*/ 23769325 w 504"/>
              <a:gd name="T53" fmla="*/ 52948772 h 524"/>
              <a:gd name="T54" fmla="*/ 22043871 w 504"/>
              <a:gd name="T55" fmla="*/ 43716660 h 524"/>
              <a:gd name="T56" fmla="*/ 19168698 w 504"/>
              <a:gd name="T57" fmla="*/ 36385476 h 524"/>
              <a:gd name="T58" fmla="*/ 13034820 w 504"/>
              <a:gd name="T59" fmla="*/ 24437975 h 524"/>
              <a:gd name="T60" fmla="*/ 16485290 w 504"/>
              <a:gd name="T61" fmla="*/ 16291810 h 524"/>
              <a:gd name="T62" fmla="*/ 20318855 w 504"/>
              <a:gd name="T63" fmla="*/ 15205863 h 524"/>
              <a:gd name="T64" fmla="*/ 24919482 w 504"/>
              <a:gd name="T65" fmla="*/ 15748836 h 524"/>
              <a:gd name="T66" fmla="*/ 26644499 w 504"/>
              <a:gd name="T67" fmla="*/ 16563296 h 524"/>
              <a:gd name="T68" fmla="*/ 30669829 w 504"/>
              <a:gd name="T69" fmla="*/ 15205863 h 524"/>
              <a:gd name="T70" fmla="*/ 31436892 w 504"/>
              <a:gd name="T71" fmla="*/ 8960626 h 524"/>
              <a:gd name="T72" fmla="*/ 32778377 w 504"/>
              <a:gd name="T73" fmla="*/ 3529849 h 524"/>
              <a:gd name="T74" fmla="*/ 35845754 w 504"/>
              <a:gd name="T75" fmla="*/ 0 h 524"/>
              <a:gd name="T76" fmla="*/ 43129789 w 504"/>
              <a:gd name="T77" fmla="*/ 0 h 524"/>
              <a:gd name="T78" fmla="*/ 48688808 w 504"/>
              <a:gd name="T79" fmla="*/ 2172415 h 524"/>
              <a:gd name="T80" fmla="*/ 53672529 w 504"/>
              <a:gd name="T81" fmla="*/ 5702264 h 524"/>
              <a:gd name="T82" fmla="*/ 53480763 w 504"/>
              <a:gd name="T83" fmla="*/ 16834783 h 524"/>
              <a:gd name="T84" fmla="*/ 55972843 w 504"/>
              <a:gd name="T85" fmla="*/ 20908126 h 524"/>
              <a:gd name="T86" fmla="*/ 61148330 w 504"/>
              <a:gd name="T87" fmla="*/ 25523922 h 524"/>
              <a:gd name="T88" fmla="*/ 68240599 w 504"/>
              <a:gd name="T89" fmla="*/ 32312133 h 524"/>
              <a:gd name="T90" fmla="*/ 66323817 w 504"/>
              <a:gd name="T91" fmla="*/ 36656963 h 524"/>
              <a:gd name="T92" fmla="*/ 65173660 w 504"/>
              <a:gd name="T93" fmla="*/ 41544245 h 524"/>
              <a:gd name="T94" fmla="*/ 65940723 w 504"/>
              <a:gd name="T95" fmla="*/ 47789482 h 524"/>
              <a:gd name="T96" fmla="*/ 69582522 w 504"/>
              <a:gd name="T97" fmla="*/ 54306727 h 524"/>
              <a:gd name="T98" fmla="*/ 72458133 w 504"/>
              <a:gd name="T99" fmla="*/ 57021594 h 524"/>
              <a:gd name="T100" fmla="*/ 73991384 w 504"/>
              <a:gd name="T101" fmla="*/ 69512069 h 524"/>
              <a:gd name="T102" fmla="*/ 77441854 w 504"/>
              <a:gd name="T103" fmla="*/ 78472694 h 524"/>
              <a:gd name="T104" fmla="*/ 82809107 w 504"/>
              <a:gd name="T105" fmla="*/ 85532913 h 524"/>
              <a:gd name="T106" fmla="*/ 88751220 w 504"/>
              <a:gd name="T107" fmla="*/ 90963168 h 524"/>
              <a:gd name="T108" fmla="*/ 89326517 w 504"/>
              <a:gd name="T109" fmla="*/ 105897544 h 524"/>
              <a:gd name="T110" fmla="*/ 76099932 w 504"/>
              <a:gd name="T111" fmla="*/ 124090282 h 524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504" h="524">
                <a:moveTo>
                  <a:pt x="365" y="493"/>
                </a:moveTo>
                <a:lnTo>
                  <a:pt x="355" y="493"/>
                </a:lnTo>
                <a:lnTo>
                  <a:pt x="345" y="493"/>
                </a:lnTo>
                <a:lnTo>
                  <a:pt x="266" y="493"/>
                </a:lnTo>
                <a:lnTo>
                  <a:pt x="262" y="500"/>
                </a:lnTo>
                <a:lnTo>
                  <a:pt x="256" y="505"/>
                </a:lnTo>
                <a:lnTo>
                  <a:pt x="250" y="510"/>
                </a:lnTo>
                <a:lnTo>
                  <a:pt x="243" y="513"/>
                </a:lnTo>
                <a:lnTo>
                  <a:pt x="235" y="517"/>
                </a:lnTo>
                <a:lnTo>
                  <a:pt x="228" y="519"/>
                </a:lnTo>
                <a:lnTo>
                  <a:pt x="219" y="521"/>
                </a:lnTo>
                <a:lnTo>
                  <a:pt x="210" y="522"/>
                </a:lnTo>
                <a:lnTo>
                  <a:pt x="191" y="524"/>
                </a:lnTo>
                <a:lnTo>
                  <a:pt x="173" y="524"/>
                </a:lnTo>
                <a:lnTo>
                  <a:pt x="155" y="524"/>
                </a:lnTo>
                <a:lnTo>
                  <a:pt x="140" y="524"/>
                </a:lnTo>
                <a:lnTo>
                  <a:pt x="121" y="523"/>
                </a:lnTo>
                <a:lnTo>
                  <a:pt x="106" y="522"/>
                </a:lnTo>
                <a:lnTo>
                  <a:pt x="100" y="521"/>
                </a:lnTo>
                <a:lnTo>
                  <a:pt x="96" y="519"/>
                </a:lnTo>
                <a:lnTo>
                  <a:pt x="94" y="516"/>
                </a:lnTo>
                <a:lnTo>
                  <a:pt x="93" y="512"/>
                </a:lnTo>
                <a:lnTo>
                  <a:pt x="82" y="511"/>
                </a:lnTo>
                <a:lnTo>
                  <a:pt x="71" y="509"/>
                </a:lnTo>
                <a:lnTo>
                  <a:pt x="59" y="505"/>
                </a:lnTo>
                <a:lnTo>
                  <a:pt x="47" y="501"/>
                </a:lnTo>
                <a:lnTo>
                  <a:pt x="36" y="496"/>
                </a:lnTo>
                <a:lnTo>
                  <a:pt x="28" y="491"/>
                </a:lnTo>
                <a:lnTo>
                  <a:pt x="25" y="489"/>
                </a:lnTo>
                <a:lnTo>
                  <a:pt x="22" y="486"/>
                </a:lnTo>
                <a:lnTo>
                  <a:pt x="20" y="484"/>
                </a:lnTo>
                <a:lnTo>
                  <a:pt x="20" y="481"/>
                </a:lnTo>
                <a:lnTo>
                  <a:pt x="20" y="477"/>
                </a:lnTo>
                <a:lnTo>
                  <a:pt x="22" y="472"/>
                </a:lnTo>
                <a:lnTo>
                  <a:pt x="25" y="467"/>
                </a:lnTo>
                <a:lnTo>
                  <a:pt x="27" y="463"/>
                </a:lnTo>
                <a:lnTo>
                  <a:pt x="31" y="456"/>
                </a:lnTo>
                <a:lnTo>
                  <a:pt x="33" y="450"/>
                </a:lnTo>
                <a:lnTo>
                  <a:pt x="32" y="445"/>
                </a:lnTo>
                <a:lnTo>
                  <a:pt x="31" y="440"/>
                </a:lnTo>
                <a:lnTo>
                  <a:pt x="30" y="436"/>
                </a:lnTo>
                <a:lnTo>
                  <a:pt x="28" y="432"/>
                </a:lnTo>
                <a:lnTo>
                  <a:pt x="22" y="426"/>
                </a:lnTo>
                <a:lnTo>
                  <a:pt x="17" y="421"/>
                </a:lnTo>
                <a:lnTo>
                  <a:pt x="10" y="417"/>
                </a:lnTo>
                <a:lnTo>
                  <a:pt x="5" y="412"/>
                </a:lnTo>
                <a:lnTo>
                  <a:pt x="3" y="409"/>
                </a:lnTo>
                <a:lnTo>
                  <a:pt x="1" y="407"/>
                </a:lnTo>
                <a:lnTo>
                  <a:pt x="0" y="404"/>
                </a:lnTo>
                <a:lnTo>
                  <a:pt x="0" y="401"/>
                </a:lnTo>
                <a:lnTo>
                  <a:pt x="1" y="391"/>
                </a:lnTo>
                <a:lnTo>
                  <a:pt x="5" y="381"/>
                </a:lnTo>
                <a:lnTo>
                  <a:pt x="10" y="371"/>
                </a:lnTo>
                <a:lnTo>
                  <a:pt x="17" y="360"/>
                </a:lnTo>
                <a:lnTo>
                  <a:pt x="26" y="349"/>
                </a:lnTo>
                <a:lnTo>
                  <a:pt x="37" y="338"/>
                </a:lnTo>
                <a:lnTo>
                  <a:pt x="48" y="328"/>
                </a:lnTo>
                <a:lnTo>
                  <a:pt x="60" y="318"/>
                </a:lnTo>
                <a:lnTo>
                  <a:pt x="73" y="309"/>
                </a:lnTo>
                <a:lnTo>
                  <a:pt x="86" y="299"/>
                </a:lnTo>
                <a:lnTo>
                  <a:pt x="99" y="291"/>
                </a:lnTo>
                <a:lnTo>
                  <a:pt x="112" y="285"/>
                </a:lnTo>
                <a:lnTo>
                  <a:pt x="124" y="279"/>
                </a:lnTo>
                <a:lnTo>
                  <a:pt x="138" y="275"/>
                </a:lnTo>
                <a:lnTo>
                  <a:pt x="149" y="272"/>
                </a:lnTo>
                <a:lnTo>
                  <a:pt x="160" y="272"/>
                </a:lnTo>
                <a:lnTo>
                  <a:pt x="166" y="266"/>
                </a:lnTo>
                <a:lnTo>
                  <a:pt x="160" y="265"/>
                </a:lnTo>
                <a:lnTo>
                  <a:pt x="155" y="264"/>
                </a:lnTo>
                <a:lnTo>
                  <a:pt x="150" y="263"/>
                </a:lnTo>
                <a:lnTo>
                  <a:pt x="145" y="261"/>
                </a:lnTo>
                <a:lnTo>
                  <a:pt x="142" y="259"/>
                </a:lnTo>
                <a:lnTo>
                  <a:pt x="139" y="257"/>
                </a:lnTo>
                <a:lnTo>
                  <a:pt x="135" y="254"/>
                </a:lnTo>
                <a:lnTo>
                  <a:pt x="133" y="251"/>
                </a:lnTo>
                <a:lnTo>
                  <a:pt x="130" y="244"/>
                </a:lnTo>
                <a:lnTo>
                  <a:pt x="128" y="236"/>
                </a:lnTo>
                <a:lnTo>
                  <a:pt x="127" y="229"/>
                </a:lnTo>
                <a:lnTo>
                  <a:pt x="127" y="222"/>
                </a:lnTo>
                <a:lnTo>
                  <a:pt x="126" y="208"/>
                </a:lnTo>
                <a:lnTo>
                  <a:pt x="124" y="195"/>
                </a:lnTo>
                <a:lnTo>
                  <a:pt x="121" y="182"/>
                </a:lnTo>
                <a:lnTo>
                  <a:pt x="119" y="171"/>
                </a:lnTo>
                <a:lnTo>
                  <a:pt x="115" y="161"/>
                </a:lnTo>
                <a:lnTo>
                  <a:pt x="110" y="152"/>
                </a:lnTo>
                <a:lnTo>
                  <a:pt x="106" y="143"/>
                </a:lnTo>
                <a:lnTo>
                  <a:pt x="100" y="134"/>
                </a:lnTo>
                <a:lnTo>
                  <a:pt x="89" y="119"/>
                </a:lnTo>
                <a:lnTo>
                  <a:pt x="78" y="104"/>
                </a:lnTo>
                <a:lnTo>
                  <a:pt x="68" y="90"/>
                </a:lnTo>
                <a:lnTo>
                  <a:pt x="60" y="74"/>
                </a:lnTo>
                <a:lnTo>
                  <a:pt x="74" y="66"/>
                </a:lnTo>
                <a:lnTo>
                  <a:pt x="86" y="60"/>
                </a:lnTo>
                <a:lnTo>
                  <a:pt x="93" y="58"/>
                </a:lnTo>
                <a:lnTo>
                  <a:pt x="99" y="57"/>
                </a:lnTo>
                <a:lnTo>
                  <a:pt x="106" y="56"/>
                </a:lnTo>
                <a:lnTo>
                  <a:pt x="112" y="56"/>
                </a:lnTo>
                <a:lnTo>
                  <a:pt x="123" y="56"/>
                </a:lnTo>
                <a:lnTo>
                  <a:pt x="130" y="58"/>
                </a:lnTo>
                <a:lnTo>
                  <a:pt x="133" y="59"/>
                </a:lnTo>
                <a:lnTo>
                  <a:pt x="137" y="60"/>
                </a:lnTo>
                <a:lnTo>
                  <a:pt x="139" y="61"/>
                </a:lnTo>
                <a:lnTo>
                  <a:pt x="143" y="61"/>
                </a:lnTo>
                <a:lnTo>
                  <a:pt x="149" y="59"/>
                </a:lnTo>
                <a:lnTo>
                  <a:pt x="160" y="56"/>
                </a:lnTo>
                <a:lnTo>
                  <a:pt x="160" y="47"/>
                </a:lnTo>
                <a:lnTo>
                  <a:pt x="162" y="40"/>
                </a:lnTo>
                <a:lnTo>
                  <a:pt x="164" y="33"/>
                </a:lnTo>
                <a:lnTo>
                  <a:pt x="166" y="25"/>
                </a:lnTo>
                <a:lnTo>
                  <a:pt x="168" y="19"/>
                </a:lnTo>
                <a:lnTo>
                  <a:pt x="171" y="13"/>
                </a:lnTo>
                <a:lnTo>
                  <a:pt x="172" y="7"/>
                </a:lnTo>
                <a:lnTo>
                  <a:pt x="173" y="0"/>
                </a:lnTo>
                <a:lnTo>
                  <a:pt x="187" y="0"/>
                </a:lnTo>
                <a:lnTo>
                  <a:pt x="201" y="0"/>
                </a:lnTo>
                <a:lnTo>
                  <a:pt x="214" y="0"/>
                </a:lnTo>
                <a:lnTo>
                  <a:pt x="225" y="0"/>
                </a:lnTo>
                <a:lnTo>
                  <a:pt x="235" y="1"/>
                </a:lnTo>
                <a:lnTo>
                  <a:pt x="244" y="4"/>
                </a:lnTo>
                <a:lnTo>
                  <a:pt x="254" y="8"/>
                </a:lnTo>
                <a:lnTo>
                  <a:pt x="263" y="12"/>
                </a:lnTo>
                <a:lnTo>
                  <a:pt x="270" y="17"/>
                </a:lnTo>
                <a:lnTo>
                  <a:pt x="280" y="21"/>
                </a:lnTo>
                <a:lnTo>
                  <a:pt x="289" y="24"/>
                </a:lnTo>
                <a:lnTo>
                  <a:pt x="299" y="25"/>
                </a:lnTo>
                <a:lnTo>
                  <a:pt x="279" y="62"/>
                </a:lnTo>
                <a:lnTo>
                  <a:pt x="283" y="67"/>
                </a:lnTo>
                <a:lnTo>
                  <a:pt x="287" y="72"/>
                </a:lnTo>
                <a:lnTo>
                  <a:pt x="292" y="77"/>
                </a:lnTo>
                <a:lnTo>
                  <a:pt x="297" y="82"/>
                </a:lnTo>
                <a:lnTo>
                  <a:pt x="308" y="88"/>
                </a:lnTo>
                <a:lnTo>
                  <a:pt x="319" y="94"/>
                </a:lnTo>
                <a:lnTo>
                  <a:pt x="341" y="103"/>
                </a:lnTo>
                <a:lnTo>
                  <a:pt x="358" y="111"/>
                </a:lnTo>
                <a:lnTo>
                  <a:pt x="356" y="119"/>
                </a:lnTo>
                <a:lnTo>
                  <a:pt x="353" y="126"/>
                </a:lnTo>
                <a:lnTo>
                  <a:pt x="350" y="131"/>
                </a:lnTo>
                <a:lnTo>
                  <a:pt x="346" y="135"/>
                </a:lnTo>
                <a:lnTo>
                  <a:pt x="343" y="141"/>
                </a:lnTo>
                <a:lnTo>
                  <a:pt x="341" y="146"/>
                </a:lnTo>
                <a:lnTo>
                  <a:pt x="340" y="153"/>
                </a:lnTo>
                <a:lnTo>
                  <a:pt x="339" y="161"/>
                </a:lnTo>
                <a:lnTo>
                  <a:pt x="340" y="168"/>
                </a:lnTo>
                <a:lnTo>
                  <a:pt x="344" y="176"/>
                </a:lnTo>
                <a:lnTo>
                  <a:pt x="350" y="184"/>
                </a:lnTo>
                <a:lnTo>
                  <a:pt x="356" y="193"/>
                </a:lnTo>
                <a:lnTo>
                  <a:pt x="363" y="200"/>
                </a:lnTo>
                <a:lnTo>
                  <a:pt x="369" y="205"/>
                </a:lnTo>
                <a:lnTo>
                  <a:pt x="375" y="209"/>
                </a:lnTo>
                <a:lnTo>
                  <a:pt x="378" y="210"/>
                </a:lnTo>
                <a:lnTo>
                  <a:pt x="379" y="226"/>
                </a:lnTo>
                <a:lnTo>
                  <a:pt x="381" y="241"/>
                </a:lnTo>
                <a:lnTo>
                  <a:pt x="386" y="256"/>
                </a:lnTo>
                <a:lnTo>
                  <a:pt x="391" y="268"/>
                </a:lnTo>
                <a:lnTo>
                  <a:pt x="397" y="279"/>
                </a:lnTo>
                <a:lnTo>
                  <a:pt x="404" y="289"/>
                </a:lnTo>
                <a:lnTo>
                  <a:pt x="413" y="298"/>
                </a:lnTo>
                <a:lnTo>
                  <a:pt x="422" y="307"/>
                </a:lnTo>
                <a:lnTo>
                  <a:pt x="432" y="315"/>
                </a:lnTo>
                <a:lnTo>
                  <a:pt x="442" y="322"/>
                </a:lnTo>
                <a:lnTo>
                  <a:pt x="452" y="329"/>
                </a:lnTo>
                <a:lnTo>
                  <a:pt x="463" y="335"/>
                </a:lnTo>
                <a:lnTo>
                  <a:pt x="485" y="346"/>
                </a:lnTo>
                <a:lnTo>
                  <a:pt x="504" y="357"/>
                </a:lnTo>
                <a:lnTo>
                  <a:pt x="466" y="390"/>
                </a:lnTo>
                <a:lnTo>
                  <a:pt x="430" y="424"/>
                </a:lnTo>
                <a:lnTo>
                  <a:pt x="413" y="440"/>
                </a:lnTo>
                <a:lnTo>
                  <a:pt x="397" y="457"/>
                </a:lnTo>
                <a:lnTo>
                  <a:pt x="380" y="476"/>
                </a:lnTo>
                <a:lnTo>
                  <a:pt x="365" y="493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fr-FR" dirty="0"/>
          </a:p>
        </p:txBody>
      </p:sp>
      <p:sp>
        <p:nvSpPr>
          <p:cNvPr id="24" name="Freeform 16"/>
          <p:cNvSpPr>
            <a:spLocks/>
          </p:cNvSpPr>
          <p:nvPr>
            <p:custDataLst>
              <p:tags r:id="rId8"/>
            </p:custDataLst>
          </p:nvPr>
        </p:nvSpPr>
        <p:spPr bwMode="auto">
          <a:xfrm>
            <a:off x="1203065" y="3591832"/>
            <a:ext cx="226377" cy="324802"/>
          </a:xfrm>
          <a:custGeom>
            <a:avLst/>
            <a:gdLst>
              <a:gd name="T0" fmla="*/ 74008467 w 438"/>
              <a:gd name="T1" fmla="*/ 52967765 h 451"/>
              <a:gd name="T2" fmla="*/ 70881572 w 438"/>
              <a:gd name="T3" fmla="*/ 35683374 h 451"/>
              <a:gd name="T4" fmla="*/ 67233250 w 438"/>
              <a:gd name="T5" fmla="*/ 23695813 h 451"/>
              <a:gd name="T6" fmla="*/ 63758736 w 438"/>
              <a:gd name="T7" fmla="*/ 17284390 h 451"/>
              <a:gd name="T8" fmla="*/ 61847671 w 438"/>
              <a:gd name="T9" fmla="*/ 16169268 h 451"/>
              <a:gd name="T10" fmla="*/ 58199348 w 438"/>
              <a:gd name="T11" fmla="*/ 12545122 h 451"/>
              <a:gd name="T12" fmla="*/ 54551026 w 438"/>
              <a:gd name="T13" fmla="*/ 10593659 h 451"/>
              <a:gd name="T14" fmla="*/ 50902704 w 438"/>
              <a:gd name="T15" fmla="*/ 10593659 h 451"/>
              <a:gd name="T16" fmla="*/ 47949201 w 438"/>
              <a:gd name="T17" fmla="*/ 11708780 h 451"/>
              <a:gd name="T18" fmla="*/ 43606059 w 438"/>
              <a:gd name="T19" fmla="*/ 16169268 h 451"/>
              <a:gd name="T20" fmla="*/ 40826365 w 438"/>
              <a:gd name="T21" fmla="*/ 18678293 h 451"/>
              <a:gd name="T22" fmla="*/ 37699053 w 438"/>
              <a:gd name="T23" fmla="*/ 18399512 h 451"/>
              <a:gd name="T24" fmla="*/ 30229016 w 438"/>
              <a:gd name="T25" fmla="*/ 10314878 h 451"/>
              <a:gd name="T26" fmla="*/ 19631250 w 438"/>
              <a:gd name="T27" fmla="*/ 0 h 451"/>
              <a:gd name="T28" fmla="*/ 16504355 w 438"/>
              <a:gd name="T29" fmla="*/ 6411951 h 451"/>
              <a:gd name="T30" fmla="*/ 16156737 w 438"/>
              <a:gd name="T31" fmla="*/ 11987561 h 451"/>
              <a:gd name="T32" fmla="*/ 17025365 w 438"/>
              <a:gd name="T33" fmla="*/ 14496585 h 451"/>
              <a:gd name="T34" fmla="*/ 20673688 w 438"/>
              <a:gd name="T35" fmla="*/ 19235854 h 451"/>
              <a:gd name="T36" fmla="*/ 17199174 w 438"/>
              <a:gd name="T37" fmla="*/ 20350976 h 451"/>
              <a:gd name="T38" fmla="*/ 11465977 w 438"/>
              <a:gd name="T39" fmla="*/ 25926057 h 451"/>
              <a:gd name="T40" fmla="*/ 10076339 w 438"/>
              <a:gd name="T41" fmla="*/ 33174350 h 451"/>
              <a:gd name="T42" fmla="*/ 7817655 w 438"/>
              <a:gd name="T43" fmla="*/ 38471179 h 451"/>
              <a:gd name="T44" fmla="*/ 6080398 w 438"/>
              <a:gd name="T45" fmla="*/ 43489228 h 451"/>
              <a:gd name="T46" fmla="*/ 5733197 w 438"/>
              <a:gd name="T47" fmla="*/ 49901179 h 451"/>
              <a:gd name="T48" fmla="*/ 1216246 w 438"/>
              <a:gd name="T49" fmla="*/ 66348700 h 451"/>
              <a:gd name="T50" fmla="*/ 2605885 w 438"/>
              <a:gd name="T51" fmla="*/ 68578944 h 451"/>
              <a:gd name="T52" fmla="*/ 4516951 w 438"/>
              <a:gd name="T53" fmla="*/ 68857725 h 451"/>
              <a:gd name="T54" fmla="*/ 5733197 w 438"/>
              <a:gd name="T55" fmla="*/ 96456993 h 451"/>
              <a:gd name="T56" fmla="*/ 16156737 w 438"/>
              <a:gd name="T57" fmla="*/ 98408456 h 451"/>
              <a:gd name="T58" fmla="*/ 18067803 w 438"/>
              <a:gd name="T59" fmla="*/ 104819879 h 451"/>
              <a:gd name="T60" fmla="*/ 15461918 w 438"/>
              <a:gd name="T61" fmla="*/ 118480123 h 451"/>
              <a:gd name="T62" fmla="*/ 18936431 w 438"/>
              <a:gd name="T63" fmla="*/ 124613294 h 451"/>
              <a:gd name="T64" fmla="*/ 26406885 w 438"/>
              <a:gd name="T65" fmla="*/ 124613294 h 451"/>
              <a:gd name="T66" fmla="*/ 35614595 w 438"/>
              <a:gd name="T67" fmla="*/ 123776953 h 451"/>
              <a:gd name="T68" fmla="*/ 47949201 w 438"/>
              <a:gd name="T69" fmla="*/ 124334514 h 451"/>
              <a:gd name="T70" fmla="*/ 59588987 w 438"/>
              <a:gd name="T71" fmla="*/ 123219392 h 451"/>
              <a:gd name="T72" fmla="*/ 64627365 w 438"/>
              <a:gd name="T73" fmla="*/ 120431587 h 451"/>
              <a:gd name="T74" fmla="*/ 62368681 w 438"/>
              <a:gd name="T75" fmla="*/ 115134757 h 451"/>
              <a:gd name="T76" fmla="*/ 64105938 w 438"/>
              <a:gd name="T77" fmla="*/ 112346953 h 451"/>
              <a:gd name="T78" fmla="*/ 64627365 w 438"/>
              <a:gd name="T79" fmla="*/ 106492562 h 451"/>
              <a:gd name="T80" fmla="*/ 66017003 w 438"/>
              <a:gd name="T81" fmla="*/ 102311383 h 451"/>
              <a:gd name="T82" fmla="*/ 59588987 w 438"/>
              <a:gd name="T83" fmla="*/ 95899432 h 451"/>
              <a:gd name="T84" fmla="*/ 56462092 w 438"/>
              <a:gd name="T85" fmla="*/ 90045042 h 451"/>
              <a:gd name="T86" fmla="*/ 54029599 w 438"/>
              <a:gd name="T87" fmla="*/ 81960407 h 451"/>
              <a:gd name="T88" fmla="*/ 51076513 w 438"/>
              <a:gd name="T89" fmla="*/ 77221139 h 451"/>
              <a:gd name="T90" fmla="*/ 54551026 w 438"/>
              <a:gd name="T91" fmla="*/ 76663578 h 451"/>
              <a:gd name="T92" fmla="*/ 60110414 w 438"/>
              <a:gd name="T93" fmla="*/ 75548456 h 451"/>
              <a:gd name="T94" fmla="*/ 64105938 w 438"/>
              <a:gd name="T95" fmla="*/ 72481871 h 451"/>
              <a:gd name="T96" fmla="*/ 70707763 w 438"/>
              <a:gd name="T97" fmla="*/ 66906261 h 451"/>
              <a:gd name="T98" fmla="*/ 76093342 w 438"/>
              <a:gd name="T99" fmla="*/ 65512359 h 451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</a:gdLst>
            <a:ahLst/>
            <a:cxnLst>
              <a:cxn ang="T100">
                <a:pos x="T0" y="T1"/>
              </a:cxn>
              <a:cxn ang="T101">
                <a:pos x="T2" y="T3"/>
              </a:cxn>
              <a:cxn ang="T102">
                <a:pos x="T4" y="T5"/>
              </a:cxn>
              <a:cxn ang="T103">
                <a:pos x="T6" y="T7"/>
              </a:cxn>
              <a:cxn ang="T104">
                <a:pos x="T8" y="T9"/>
              </a:cxn>
              <a:cxn ang="T105">
                <a:pos x="T10" y="T11"/>
              </a:cxn>
              <a:cxn ang="T106">
                <a:pos x="T12" y="T13"/>
              </a:cxn>
              <a:cxn ang="T107">
                <a:pos x="T14" y="T15"/>
              </a:cxn>
              <a:cxn ang="T108">
                <a:pos x="T16" y="T17"/>
              </a:cxn>
              <a:cxn ang="T109">
                <a:pos x="T18" y="T19"/>
              </a:cxn>
              <a:cxn ang="T110">
                <a:pos x="T20" y="T21"/>
              </a:cxn>
              <a:cxn ang="T111">
                <a:pos x="T22" y="T23"/>
              </a:cxn>
              <a:cxn ang="T112">
                <a:pos x="T24" y="T25"/>
              </a:cxn>
              <a:cxn ang="T113">
                <a:pos x="T26" y="T27"/>
              </a:cxn>
              <a:cxn ang="T114">
                <a:pos x="T28" y="T29"/>
              </a:cxn>
              <a:cxn ang="T115">
                <a:pos x="T30" y="T31"/>
              </a:cxn>
              <a:cxn ang="T116">
                <a:pos x="T32" y="T33"/>
              </a:cxn>
              <a:cxn ang="T117">
                <a:pos x="T34" y="T35"/>
              </a:cxn>
              <a:cxn ang="T118">
                <a:pos x="T36" y="T37"/>
              </a:cxn>
              <a:cxn ang="T119">
                <a:pos x="T38" y="T39"/>
              </a:cxn>
              <a:cxn ang="T120">
                <a:pos x="T40" y="T41"/>
              </a:cxn>
              <a:cxn ang="T121">
                <a:pos x="T42" y="T43"/>
              </a:cxn>
              <a:cxn ang="T122">
                <a:pos x="T44" y="T45"/>
              </a:cxn>
              <a:cxn ang="T123">
                <a:pos x="T46" y="T47"/>
              </a:cxn>
              <a:cxn ang="T124">
                <a:pos x="T48" y="T49"/>
              </a:cxn>
              <a:cxn ang="T125">
                <a:pos x="T50" y="T51"/>
              </a:cxn>
              <a:cxn ang="T126">
                <a:pos x="T52" y="T53"/>
              </a:cxn>
              <a:cxn ang="T127">
                <a:pos x="T54" y="T55"/>
              </a:cxn>
              <a:cxn ang="T128">
                <a:pos x="T56" y="T57"/>
              </a:cxn>
              <a:cxn ang="T129">
                <a:pos x="T58" y="T59"/>
              </a:cxn>
              <a:cxn ang="T130">
                <a:pos x="T60" y="T61"/>
              </a:cxn>
              <a:cxn ang="T131">
                <a:pos x="T62" y="T63"/>
              </a:cxn>
              <a:cxn ang="T132">
                <a:pos x="T64" y="T65"/>
              </a:cxn>
              <a:cxn ang="T133">
                <a:pos x="T66" y="T67"/>
              </a:cxn>
              <a:cxn ang="T134">
                <a:pos x="T68" y="T69"/>
              </a:cxn>
              <a:cxn ang="T135">
                <a:pos x="T70" y="T71"/>
              </a:cxn>
              <a:cxn ang="T136">
                <a:pos x="T72" y="T73"/>
              </a:cxn>
              <a:cxn ang="T137">
                <a:pos x="T74" y="T75"/>
              </a:cxn>
              <a:cxn ang="T138">
                <a:pos x="T76" y="T77"/>
              </a:cxn>
              <a:cxn ang="T139">
                <a:pos x="T78" y="T79"/>
              </a:cxn>
              <a:cxn ang="T140">
                <a:pos x="T80" y="T81"/>
              </a:cxn>
              <a:cxn ang="T141">
                <a:pos x="T82" y="T83"/>
              </a:cxn>
              <a:cxn ang="T142">
                <a:pos x="T84" y="T85"/>
              </a:cxn>
              <a:cxn ang="T143">
                <a:pos x="T86" y="T87"/>
              </a:cxn>
              <a:cxn ang="T144">
                <a:pos x="T88" y="T89"/>
              </a:cxn>
              <a:cxn ang="T145">
                <a:pos x="T90" y="T91"/>
              </a:cxn>
              <a:cxn ang="T146">
                <a:pos x="T92" y="T93"/>
              </a:cxn>
              <a:cxn ang="T147">
                <a:pos x="T94" y="T95"/>
              </a:cxn>
              <a:cxn ang="T148">
                <a:pos x="T96" y="T97"/>
              </a:cxn>
              <a:cxn ang="T149">
                <a:pos x="T98" y="T99"/>
              </a:cxn>
            </a:cxnLst>
            <a:rect l="0" t="0" r="r" b="b"/>
            <a:pathLst>
              <a:path w="438" h="451">
                <a:moveTo>
                  <a:pt x="438" y="235"/>
                </a:moveTo>
                <a:lnTo>
                  <a:pt x="431" y="212"/>
                </a:lnTo>
                <a:lnTo>
                  <a:pt x="426" y="190"/>
                </a:lnTo>
                <a:lnTo>
                  <a:pt x="420" y="169"/>
                </a:lnTo>
                <a:lnTo>
                  <a:pt x="415" y="148"/>
                </a:lnTo>
                <a:lnTo>
                  <a:pt x="408" y="128"/>
                </a:lnTo>
                <a:lnTo>
                  <a:pt x="398" y="106"/>
                </a:lnTo>
                <a:lnTo>
                  <a:pt x="393" y="95"/>
                </a:lnTo>
                <a:lnTo>
                  <a:pt x="387" y="85"/>
                </a:lnTo>
                <a:lnTo>
                  <a:pt x="380" y="74"/>
                </a:lnTo>
                <a:lnTo>
                  <a:pt x="372" y="62"/>
                </a:lnTo>
                <a:lnTo>
                  <a:pt x="367" y="62"/>
                </a:lnTo>
                <a:lnTo>
                  <a:pt x="363" y="61"/>
                </a:lnTo>
                <a:lnTo>
                  <a:pt x="359" y="60"/>
                </a:lnTo>
                <a:lnTo>
                  <a:pt x="356" y="58"/>
                </a:lnTo>
                <a:lnTo>
                  <a:pt x="349" y="54"/>
                </a:lnTo>
                <a:lnTo>
                  <a:pt x="342" y="49"/>
                </a:lnTo>
                <a:lnTo>
                  <a:pt x="335" y="45"/>
                </a:lnTo>
                <a:lnTo>
                  <a:pt x="326" y="41"/>
                </a:lnTo>
                <a:lnTo>
                  <a:pt x="320" y="40"/>
                </a:lnTo>
                <a:lnTo>
                  <a:pt x="314" y="38"/>
                </a:lnTo>
                <a:lnTo>
                  <a:pt x="307" y="38"/>
                </a:lnTo>
                <a:lnTo>
                  <a:pt x="298" y="37"/>
                </a:lnTo>
                <a:lnTo>
                  <a:pt x="293" y="38"/>
                </a:lnTo>
                <a:lnTo>
                  <a:pt x="287" y="39"/>
                </a:lnTo>
                <a:lnTo>
                  <a:pt x="282" y="40"/>
                </a:lnTo>
                <a:lnTo>
                  <a:pt x="276" y="42"/>
                </a:lnTo>
                <a:lnTo>
                  <a:pt x="268" y="47"/>
                </a:lnTo>
                <a:lnTo>
                  <a:pt x="260" y="52"/>
                </a:lnTo>
                <a:lnTo>
                  <a:pt x="251" y="58"/>
                </a:lnTo>
                <a:lnTo>
                  <a:pt x="244" y="64"/>
                </a:lnTo>
                <a:lnTo>
                  <a:pt x="239" y="66"/>
                </a:lnTo>
                <a:lnTo>
                  <a:pt x="235" y="67"/>
                </a:lnTo>
                <a:lnTo>
                  <a:pt x="230" y="68"/>
                </a:lnTo>
                <a:lnTo>
                  <a:pt x="226" y="69"/>
                </a:lnTo>
                <a:lnTo>
                  <a:pt x="217" y="66"/>
                </a:lnTo>
                <a:lnTo>
                  <a:pt x="205" y="58"/>
                </a:lnTo>
                <a:lnTo>
                  <a:pt x="190" y="48"/>
                </a:lnTo>
                <a:lnTo>
                  <a:pt x="174" y="37"/>
                </a:lnTo>
                <a:lnTo>
                  <a:pt x="145" y="16"/>
                </a:lnTo>
                <a:lnTo>
                  <a:pt x="133" y="7"/>
                </a:lnTo>
                <a:lnTo>
                  <a:pt x="113" y="0"/>
                </a:lnTo>
                <a:lnTo>
                  <a:pt x="104" y="9"/>
                </a:lnTo>
                <a:lnTo>
                  <a:pt x="98" y="18"/>
                </a:lnTo>
                <a:lnTo>
                  <a:pt x="95" y="23"/>
                </a:lnTo>
                <a:lnTo>
                  <a:pt x="94" y="28"/>
                </a:lnTo>
                <a:lnTo>
                  <a:pt x="93" y="35"/>
                </a:lnTo>
                <a:lnTo>
                  <a:pt x="93" y="43"/>
                </a:lnTo>
                <a:lnTo>
                  <a:pt x="93" y="46"/>
                </a:lnTo>
                <a:lnTo>
                  <a:pt x="95" y="49"/>
                </a:lnTo>
                <a:lnTo>
                  <a:pt x="98" y="52"/>
                </a:lnTo>
                <a:lnTo>
                  <a:pt x="101" y="55"/>
                </a:lnTo>
                <a:lnTo>
                  <a:pt x="110" y="63"/>
                </a:lnTo>
                <a:lnTo>
                  <a:pt x="119" y="69"/>
                </a:lnTo>
                <a:lnTo>
                  <a:pt x="112" y="69"/>
                </a:lnTo>
                <a:lnTo>
                  <a:pt x="105" y="71"/>
                </a:lnTo>
                <a:lnTo>
                  <a:pt x="99" y="73"/>
                </a:lnTo>
                <a:lnTo>
                  <a:pt x="93" y="76"/>
                </a:lnTo>
                <a:lnTo>
                  <a:pt x="80" y="84"/>
                </a:lnTo>
                <a:lnTo>
                  <a:pt x="66" y="93"/>
                </a:lnTo>
                <a:lnTo>
                  <a:pt x="63" y="103"/>
                </a:lnTo>
                <a:lnTo>
                  <a:pt x="61" y="112"/>
                </a:lnTo>
                <a:lnTo>
                  <a:pt x="58" y="119"/>
                </a:lnTo>
                <a:lnTo>
                  <a:pt x="56" y="125"/>
                </a:lnTo>
                <a:lnTo>
                  <a:pt x="49" y="133"/>
                </a:lnTo>
                <a:lnTo>
                  <a:pt x="45" y="138"/>
                </a:lnTo>
                <a:lnTo>
                  <a:pt x="39" y="144"/>
                </a:lnTo>
                <a:lnTo>
                  <a:pt x="36" y="151"/>
                </a:lnTo>
                <a:lnTo>
                  <a:pt x="35" y="156"/>
                </a:lnTo>
                <a:lnTo>
                  <a:pt x="34" y="162"/>
                </a:lnTo>
                <a:lnTo>
                  <a:pt x="33" y="169"/>
                </a:lnTo>
                <a:lnTo>
                  <a:pt x="33" y="179"/>
                </a:lnTo>
                <a:lnTo>
                  <a:pt x="0" y="235"/>
                </a:lnTo>
                <a:lnTo>
                  <a:pt x="4" y="236"/>
                </a:lnTo>
                <a:lnTo>
                  <a:pt x="7" y="238"/>
                </a:lnTo>
                <a:lnTo>
                  <a:pt x="11" y="240"/>
                </a:lnTo>
                <a:lnTo>
                  <a:pt x="13" y="243"/>
                </a:lnTo>
                <a:lnTo>
                  <a:pt x="15" y="246"/>
                </a:lnTo>
                <a:lnTo>
                  <a:pt x="18" y="248"/>
                </a:lnTo>
                <a:lnTo>
                  <a:pt x="22" y="248"/>
                </a:lnTo>
                <a:lnTo>
                  <a:pt x="26" y="247"/>
                </a:lnTo>
                <a:lnTo>
                  <a:pt x="39" y="277"/>
                </a:lnTo>
                <a:lnTo>
                  <a:pt x="33" y="308"/>
                </a:lnTo>
                <a:lnTo>
                  <a:pt x="33" y="346"/>
                </a:lnTo>
                <a:lnTo>
                  <a:pt x="53" y="347"/>
                </a:lnTo>
                <a:lnTo>
                  <a:pt x="72" y="350"/>
                </a:lnTo>
                <a:lnTo>
                  <a:pt x="93" y="353"/>
                </a:lnTo>
                <a:lnTo>
                  <a:pt x="113" y="358"/>
                </a:lnTo>
                <a:lnTo>
                  <a:pt x="107" y="366"/>
                </a:lnTo>
                <a:lnTo>
                  <a:pt x="104" y="376"/>
                </a:lnTo>
                <a:lnTo>
                  <a:pt x="100" y="387"/>
                </a:lnTo>
                <a:lnTo>
                  <a:pt x="96" y="400"/>
                </a:lnTo>
                <a:lnTo>
                  <a:pt x="89" y="425"/>
                </a:lnTo>
                <a:lnTo>
                  <a:pt x="79" y="451"/>
                </a:lnTo>
                <a:lnTo>
                  <a:pt x="94" y="449"/>
                </a:lnTo>
                <a:lnTo>
                  <a:pt x="109" y="447"/>
                </a:lnTo>
                <a:lnTo>
                  <a:pt x="123" y="447"/>
                </a:lnTo>
                <a:lnTo>
                  <a:pt x="137" y="447"/>
                </a:lnTo>
                <a:lnTo>
                  <a:pt x="152" y="447"/>
                </a:lnTo>
                <a:lnTo>
                  <a:pt x="169" y="446"/>
                </a:lnTo>
                <a:lnTo>
                  <a:pt x="186" y="445"/>
                </a:lnTo>
                <a:lnTo>
                  <a:pt x="205" y="444"/>
                </a:lnTo>
                <a:lnTo>
                  <a:pt x="228" y="445"/>
                </a:lnTo>
                <a:lnTo>
                  <a:pt x="252" y="446"/>
                </a:lnTo>
                <a:lnTo>
                  <a:pt x="276" y="446"/>
                </a:lnTo>
                <a:lnTo>
                  <a:pt x="300" y="445"/>
                </a:lnTo>
                <a:lnTo>
                  <a:pt x="322" y="444"/>
                </a:lnTo>
                <a:lnTo>
                  <a:pt x="343" y="442"/>
                </a:lnTo>
                <a:lnTo>
                  <a:pt x="362" y="440"/>
                </a:lnTo>
                <a:lnTo>
                  <a:pt x="379" y="438"/>
                </a:lnTo>
                <a:lnTo>
                  <a:pt x="372" y="432"/>
                </a:lnTo>
                <a:lnTo>
                  <a:pt x="365" y="425"/>
                </a:lnTo>
                <a:lnTo>
                  <a:pt x="361" y="419"/>
                </a:lnTo>
                <a:lnTo>
                  <a:pt x="359" y="413"/>
                </a:lnTo>
                <a:lnTo>
                  <a:pt x="363" y="411"/>
                </a:lnTo>
                <a:lnTo>
                  <a:pt x="367" y="407"/>
                </a:lnTo>
                <a:lnTo>
                  <a:pt x="369" y="403"/>
                </a:lnTo>
                <a:lnTo>
                  <a:pt x="370" y="398"/>
                </a:lnTo>
                <a:lnTo>
                  <a:pt x="372" y="389"/>
                </a:lnTo>
                <a:lnTo>
                  <a:pt x="372" y="382"/>
                </a:lnTo>
                <a:lnTo>
                  <a:pt x="385" y="379"/>
                </a:lnTo>
                <a:lnTo>
                  <a:pt x="398" y="376"/>
                </a:lnTo>
                <a:lnTo>
                  <a:pt x="380" y="367"/>
                </a:lnTo>
                <a:lnTo>
                  <a:pt x="365" y="359"/>
                </a:lnTo>
                <a:lnTo>
                  <a:pt x="353" y="351"/>
                </a:lnTo>
                <a:lnTo>
                  <a:pt x="343" y="344"/>
                </a:lnTo>
                <a:lnTo>
                  <a:pt x="336" y="336"/>
                </a:lnTo>
                <a:lnTo>
                  <a:pt x="330" y="329"/>
                </a:lnTo>
                <a:lnTo>
                  <a:pt x="325" y="323"/>
                </a:lnTo>
                <a:lnTo>
                  <a:pt x="322" y="317"/>
                </a:lnTo>
                <a:lnTo>
                  <a:pt x="316" y="305"/>
                </a:lnTo>
                <a:lnTo>
                  <a:pt x="311" y="294"/>
                </a:lnTo>
                <a:lnTo>
                  <a:pt x="306" y="289"/>
                </a:lnTo>
                <a:lnTo>
                  <a:pt x="301" y="283"/>
                </a:lnTo>
                <a:lnTo>
                  <a:pt x="294" y="277"/>
                </a:lnTo>
                <a:lnTo>
                  <a:pt x="285" y="271"/>
                </a:lnTo>
                <a:lnTo>
                  <a:pt x="301" y="274"/>
                </a:lnTo>
                <a:lnTo>
                  <a:pt x="314" y="275"/>
                </a:lnTo>
                <a:lnTo>
                  <a:pt x="326" y="275"/>
                </a:lnTo>
                <a:lnTo>
                  <a:pt x="336" y="273"/>
                </a:lnTo>
                <a:lnTo>
                  <a:pt x="346" y="271"/>
                </a:lnTo>
                <a:lnTo>
                  <a:pt x="354" y="268"/>
                </a:lnTo>
                <a:lnTo>
                  <a:pt x="362" y="264"/>
                </a:lnTo>
                <a:lnTo>
                  <a:pt x="369" y="260"/>
                </a:lnTo>
                <a:lnTo>
                  <a:pt x="383" y="251"/>
                </a:lnTo>
                <a:lnTo>
                  <a:pt x="398" y="243"/>
                </a:lnTo>
                <a:lnTo>
                  <a:pt x="407" y="240"/>
                </a:lnTo>
                <a:lnTo>
                  <a:pt x="416" y="237"/>
                </a:lnTo>
                <a:lnTo>
                  <a:pt x="427" y="236"/>
                </a:lnTo>
                <a:lnTo>
                  <a:pt x="438" y="235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fr-FR" dirty="0"/>
          </a:p>
        </p:txBody>
      </p:sp>
      <p:sp>
        <p:nvSpPr>
          <p:cNvPr id="25" name="Freeform 17"/>
          <p:cNvSpPr>
            <a:spLocks/>
          </p:cNvSpPr>
          <p:nvPr>
            <p:custDataLst>
              <p:tags r:id="rId9"/>
            </p:custDataLst>
          </p:nvPr>
        </p:nvSpPr>
        <p:spPr bwMode="auto">
          <a:xfrm>
            <a:off x="1234562" y="3942619"/>
            <a:ext cx="311023" cy="374605"/>
          </a:xfrm>
          <a:custGeom>
            <a:avLst/>
            <a:gdLst>
              <a:gd name="T0" fmla="*/ 61579273 w 578"/>
              <a:gd name="T1" fmla="*/ 24173297 h 524"/>
              <a:gd name="T2" fmla="*/ 58754237 w 578"/>
              <a:gd name="T3" fmla="*/ 23349386 h 524"/>
              <a:gd name="T4" fmla="*/ 56682978 w 578"/>
              <a:gd name="T5" fmla="*/ 21701040 h 524"/>
              <a:gd name="T6" fmla="*/ 51786683 w 578"/>
              <a:gd name="T7" fmla="*/ 18130235 h 524"/>
              <a:gd name="T8" fmla="*/ 47267060 w 578"/>
              <a:gd name="T9" fmla="*/ 21426403 h 524"/>
              <a:gd name="T10" fmla="*/ 46325815 w 578"/>
              <a:gd name="T11" fmla="*/ 28843174 h 524"/>
              <a:gd name="T12" fmla="*/ 47643731 w 578"/>
              <a:gd name="T13" fmla="*/ 42028895 h 524"/>
              <a:gd name="T14" fmla="*/ 50845005 w 578"/>
              <a:gd name="T15" fmla="*/ 47248046 h 524"/>
              <a:gd name="T16" fmla="*/ 54046712 w 578"/>
              <a:gd name="T17" fmla="*/ 48896392 h 524"/>
              <a:gd name="T18" fmla="*/ 56117971 w 578"/>
              <a:gd name="T19" fmla="*/ 52467198 h 524"/>
              <a:gd name="T20" fmla="*/ 66098897 w 578"/>
              <a:gd name="T21" fmla="*/ 61806952 h 524"/>
              <a:gd name="T22" fmla="*/ 84553628 w 578"/>
              <a:gd name="T23" fmla="*/ 84881701 h 524"/>
              <a:gd name="T24" fmla="*/ 89826595 w 578"/>
              <a:gd name="T25" fmla="*/ 88452506 h 524"/>
              <a:gd name="T26" fmla="*/ 94910791 w 578"/>
              <a:gd name="T27" fmla="*/ 90100852 h 524"/>
              <a:gd name="T28" fmla="*/ 100937101 w 578"/>
              <a:gd name="T29" fmla="*/ 97792261 h 524"/>
              <a:gd name="T30" fmla="*/ 108846333 w 578"/>
              <a:gd name="T31" fmla="*/ 103286573 h 524"/>
              <a:gd name="T32" fmla="*/ 106398403 w 578"/>
              <a:gd name="T33" fmla="*/ 111801892 h 524"/>
              <a:gd name="T34" fmla="*/ 99053743 w 578"/>
              <a:gd name="T35" fmla="*/ 105209556 h 524"/>
              <a:gd name="T36" fmla="*/ 95664134 w 578"/>
              <a:gd name="T37" fmla="*/ 103286573 h 524"/>
              <a:gd name="T38" fmla="*/ 93781211 w 578"/>
              <a:gd name="T39" fmla="*/ 109054998 h 524"/>
              <a:gd name="T40" fmla="*/ 95287463 w 578"/>
              <a:gd name="T41" fmla="*/ 117021568 h 524"/>
              <a:gd name="T42" fmla="*/ 96794149 w 578"/>
              <a:gd name="T43" fmla="*/ 121416284 h 524"/>
              <a:gd name="T44" fmla="*/ 94157882 w 578"/>
              <a:gd name="T45" fmla="*/ 128558418 h 524"/>
              <a:gd name="T46" fmla="*/ 90956175 w 578"/>
              <a:gd name="T47" fmla="*/ 138722608 h 524"/>
              <a:gd name="T48" fmla="*/ 87566566 w 578"/>
              <a:gd name="T49" fmla="*/ 143392485 h 524"/>
              <a:gd name="T50" fmla="*/ 82105698 w 578"/>
              <a:gd name="T51" fmla="*/ 138722608 h 524"/>
              <a:gd name="T52" fmla="*/ 85871978 w 578"/>
              <a:gd name="T53" fmla="*/ 132953659 h 524"/>
              <a:gd name="T54" fmla="*/ 87566566 w 578"/>
              <a:gd name="T55" fmla="*/ 128283781 h 524"/>
              <a:gd name="T56" fmla="*/ 86813223 w 578"/>
              <a:gd name="T57" fmla="*/ 121141647 h 524"/>
              <a:gd name="T58" fmla="*/ 80410676 w 578"/>
              <a:gd name="T59" fmla="*/ 108505724 h 524"/>
              <a:gd name="T60" fmla="*/ 72501444 w 578"/>
              <a:gd name="T61" fmla="*/ 101363590 h 524"/>
              <a:gd name="T62" fmla="*/ 66851806 w 578"/>
              <a:gd name="T63" fmla="*/ 97792261 h 524"/>
              <a:gd name="T64" fmla="*/ 59884252 w 578"/>
              <a:gd name="T65" fmla="*/ 90650126 h 524"/>
              <a:gd name="T66" fmla="*/ 50468333 w 578"/>
              <a:gd name="T67" fmla="*/ 86530047 h 524"/>
              <a:gd name="T68" fmla="*/ 41052849 w 578"/>
              <a:gd name="T69" fmla="*/ 78288841 h 524"/>
              <a:gd name="T70" fmla="*/ 30506916 w 578"/>
              <a:gd name="T71" fmla="*/ 62906024 h 524"/>
              <a:gd name="T72" fmla="*/ 23727698 w 578"/>
              <a:gd name="T73" fmla="*/ 46149498 h 524"/>
              <a:gd name="T74" fmla="*/ 14500115 w 578"/>
              <a:gd name="T75" fmla="*/ 42303532 h 524"/>
              <a:gd name="T76" fmla="*/ 9604254 w 578"/>
              <a:gd name="T77" fmla="*/ 43127443 h 524"/>
              <a:gd name="T78" fmla="*/ 2824602 w 578"/>
              <a:gd name="T79" fmla="*/ 45325063 h 524"/>
              <a:gd name="T80" fmla="*/ 565007 w 578"/>
              <a:gd name="T81" fmla="*/ 36534583 h 524"/>
              <a:gd name="T82" fmla="*/ 188336 w 578"/>
              <a:gd name="T83" fmla="*/ 25547006 h 524"/>
              <a:gd name="T84" fmla="*/ 1130014 w 578"/>
              <a:gd name="T85" fmla="*/ 13460358 h 524"/>
              <a:gd name="T86" fmla="*/ 8474240 w 578"/>
              <a:gd name="T87" fmla="*/ 11262738 h 524"/>
              <a:gd name="T88" fmla="*/ 12805528 w 578"/>
              <a:gd name="T89" fmla="*/ 9065117 h 524"/>
              <a:gd name="T90" fmla="*/ 15630129 w 578"/>
              <a:gd name="T91" fmla="*/ 13185721 h 524"/>
              <a:gd name="T92" fmla="*/ 19584746 w 578"/>
              <a:gd name="T93" fmla="*/ 12086649 h 524"/>
              <a:gd name="T94" fmla="*/ 28058986 w 578"/>
              <a:gd name="T95" fmla="*/ 4395240 h 524"/>
              <a:gd name="T96" fmla="*/ 45007465 w 578"/>
              <a:gd name="T97" fmla="*/ 0 h 524"/>
              <a:gd name="T98" fmla="*/ 48397074 w 578"/>
              <a:gd name="T99" fmla="*/ 3571329 h 524"/>
              <a:gd name="T100" fmla="*/ 62520518 w 578"/>
              <a:gd name="T101" fmla="*/ 5219151 h 524"/>
              <a:gd name="T102" fmla="*/ 60637595 w 578"/>
              <a:gd name="T103" fmla="*/ 17855598 h 524"/>
              <a:gd name="T104" fmla="*/ 61202602 w 578"/>
              <a:gd name="T105" fmla="*/ 24722571 h 524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578" h="524">
                <a:moveTo>
                  <a:pt x="332" y="99"/>
                </a:moveTo>
                <a:lnTo>
                  <a:pt x="331" y="94"/>
                </a:lnTo>
                <a:lnTo>
                  <a:pt x="329" y="90"/>
                </a:lnTo>
                <a:lnTo>
                  <a:pt x="327" y="88"/>
                </a:lnTo>
                <a:lnTo>
                  <a:pt x="325" y="86"/>
                </a:lnTo>
                <a:lnTo>
                  <a:pt x="320" y="85"/>
                </a:lnTo>
                <a:lnTo>
                  <a:pt x="315" y="85"/>
                </a:lnTo>
                <a:lnTo>
                  <a:pt x="312" y="85"/>
                </a:lnTo>
                <a:lnTo>
                  <a:pt x="309" y="85"/>
                </a:lnTo>
                <a:lnTo>
                  <a:pt x="306" y="84"/>
                </a:lnTo>
                <a:lnTo>
                  <a:pt x="304" y="82"/>
                </a:lnTo>
                <a:lnTo>
                  <a:pt x="301" y="79"/>
                </a:lnTo>
                <a:lnTo>
                  <a:pt x="297" y="75"/>
                </a:lnTo>
                <a:lnTo>
                  <a:pt x="295" y="69"/>
                </a:lnTo>
                <a:lnTo>
                  <a:pt x="293" y="61"/>
                </a:lnTo>
                <a:lnTo>
                  <a:pt x="275" y="66"/>
                </a:lnTo>
                <a:lnTo>
                  <a:pt x="263" y="70"/>
                </a:lnTo>
                <a:lnTo>
                  <a:pt x="258" y="73"/>
                </a:lnTo>
                <a:lnTo>
                  <a:pt x="254" y="76"/>
                </a:lnTo>
                <a:lnTo>
                  <a:pt x="251" y="78"/>
                </a:lnTo>
                <a:lnTo>
                  <a:pt x="249" y="81"/>
                </a:lnTo>
                <a:lnTo>
                  <a:pt x="247" y="87"/>
                </a:lnTo>
                <a:lnTo>
                  <a:pt x="246" y="95"/>
                </a:lnTo>
                <a:lnTo>
                  <a:pt x="246" y="105"/>
                </a:lnTo>
                <a:lnTo>
                  <a:pt x="246" y="117"/>
                </a:lnTo>
                <a:lnTo>
                  <a:pt x="247" y="131"/>
                </a:lnTo>
                <a:lnTo>
                  <a:pt x="249" y="143"/>
                </a:lnTo>
                <a:lnTo>
                  <a:pt x="253" y="153"/>
                </a:lnTo>
                <a:lnTo>
                  <a:pt x="259" y="162"/>
                </a:lnTo>
                <a:lnTo>
                  <a:pt x="262" y="166"/>
                </a:lnTo>
                <a:lnTo>
                  <a:pt x="266" y="169"/>
                </a:lnTo>
                <a:lnTo>
                  <a:pt x="270" y="172"/>
                </a:lnTo>
                <a:lnTo>
                  <a:pt x="274" y="174"/>
                </a:lnTo>
                <a:lnTo>
                  <a:pt x="279" y="176"/>
                </a:lnTo>
                <a:lnTo>
                  <a:pt x="283" y="177"/>
                </a:lnTo>
                <a:lnTo>
                  <a:pt x="287" y="178"/>
                </a:lnTo>
                <a:lnTo>
                  <a:pt x="293" y="178"/>
                </a:lnTo>
                <a:lnTo>
                  <a:pt x="293" y="182"/>
                </a:lnTo>
                <a:lnTo>
                  <a:pt x="295" y="187"/>
                </a:lnTo>
                <a:lnTo>
                  <a:pt x="298" y="191"/>
                </a:lnTo>
                <a:lnTo>
                  <a:pt x="303" y="195"/>
                </a:lnTo>
                <a:lnTo>
                  <a:pt x="314" y="203"/>
                </a:lnTo>
                <a:lnTo>
                  <a:pt x="327" y="211"/>
                </a:lnTo>
                <a:lnTo>
                  <a:pt x="351" y="225"/>
                </a:lnTo>
                <a:lnTo>
                  <a:pt x="365" y="234"/>
                </a:lnTo>
                <a:lnTo>
                  <a:pt x="439" y="296"/>
                </a:lnTo>
                <a:lnTo>
                  <a:pt x="443" y="303"/>
                </a:lnTo>
                <a:lnTo>
                  <a:pt x="449" y="309"/>
                </a:lnTo>
                <a:lnTo>
                  <a:pt x="454" y="314"/>
                </a:lnTo>
                <a:lnTo>
                  <a:pt x="461" y="318"/>
                </a:lnTo>
                <a:lnTo>
                  <a:pt x="469" y="320"/>
                </a:lnTo>
                <a:lnTo>
                  <a:pt x="477" y="322"/>
                </a:lnTo>
                <a:lnTo>
                  <a:pt x="487" y="322"/>
                </a:lnTo>
                <a:lnTo>
                  <a:pt x="498" y="321"/>
                </a:lnTo>
                <a:lnTo>
                  <a:pt x="500" y="324"/>
                </a:lnTo>
                <a:lnTo>
                  <a:pt x="504" y="328"/>
                </a:lnTo>
                <a:lnTo>
                  <a:pt x="507" y="332"/>
                </a:lnTo>
                <a:lnTo>
                  <a:pt x="511" y="337"/>
                </a:lnTo>
                <a:lnTo>
                  <a:pt x="523" y="346"/>
                </a:lnTo>
                <a:lnTo>
                  <a:pt x="536" y="356"/>
                </a:lnTo>
                <a:lnTo>
                  <a:pt x="549" y="364"/>
                </a:lnTo>
                <a:lnTo>
                  <a:pt x="561" y="370"/>
                </a:lnTo>
                <a:lnTo>
                  <a:pt x="571" y="374"/>
                </a:lnTo>
                <a:lnTo>
                  <a:pt x="578" y="376"/>
                </a:lnTo>
                <a:lnTo>
                  <a:pt x="577" y="383"/>
                </a:lnTo>
                <a:lnTo>
                  <a:pt x="574" y="391"/>
                </a:lnTo>
                <a:lnTo>
                  <a:pt x="570" y="400"/>
                </a:lnTo>
                <a:lnTo>
                  <a:pt x="565" y="407"/>
                </a:lnTo>
                <a:lnTo>
                  <a:pt x="552" y="388"/>
                </a:lnTo>
                <a:lnTo>
                  <a:pt x="541" y="387"/>
                </a:lnTo>
                <a:lnTo>
                  <a:pt x="530" y="384"/>
                </a:lnTo>
                <a:lnTo>
                  <a:pt x="526" y="383"/>
                </a:lnTo>
                <a:lnTo>
                  <a:pt x="521" y="381"/>
                </a:lnTo>
                <a:lnTo>
                  <a:pt x="519" y="378"/>
                </a:lnTo>
                <a:lnTo>
                  <a:pt x="518" y="376"/>
                </a:lnTo>
                <a:lnTo>
                  <a:pt x="508" y="376"/>
                </a:lnTo>
                <a:lnTo>
                  <a:pt x="498" y="376"/>
                </a:lnTo>
                <a:lnTo>
                  <a:pt x="498" y="382"/>
                </a:lnTo>
                <a:lnTo>
                  <a:pt x="498" y="389"/>
                </a:lnTo>
                <a:lnTo>
                  <a:pt x="498" y="397"/>
                </a:lnTo>
                <a:lnTo>
                  <a:pt x="498" y="407"/>
                </a:lnTo>
                <a:lnTo>
                  <a:pt x="499" y="414"/>
                </a:lnTo>
                <a:lnTo>
                  <a:pt x="504" y="422"/>
                </a:lnTo>
                <a:lnTo>
                  <a:pt x="506" y="426"/>
                </a:lnTo>
                <a:lnTo>
                  <a:pt x="509" y="429"/>
                </a:lnTo>
                <a:lnTo>
                  <a:pt x="514" y="431"/>
                </a:lnTo>
                <a:lnTo>
                  <a:pt x="518" y="432"/>
                </a:lnTo>
                <a:lnTo>
                  <a:pt x="514" y="442"/>
                </a:lnTo>
                <a:lnTo>
                  <a:pt x="508" y="454"/>
                </a:lnTo>
                <a:lnTo>
                  <a:pt x="506" y="460"/>
                </a:lnTo>
                <a:lnTo>
                  <a:pt x="504" y="465"/>
                </a:lnTo>
                <a:lnTo>
                  <a:pt x="500" y="468"/>
                </a:lnTo>
                <a:lnTo>
                  <a:pt x="498" y="469"/>
                </a:lnTo>
                <a:lnTo>
                  <a:pt x="493" y="485"/>
                </a:lnTo>
                <a:lnTo>
                  <a:pt x="486" y="498"/>
                </a:lnTo>
                <a:lnTo>
                  <a:pt x="483" y="505"/>
                </a:lnTo>
                <a:lnTo>
                  <a:pt x="481" y="511"/>
                </a:lnTo>
                <a:lnTo>
                  <a:pt x="480" y="518"/>
                </a:lnTo>
                <a:lnTo>
                  <a:pt x="478" y="524"/>
                </a:lnTo>
                <a:lnTo>
                  <a:pt x="465" y="522"/>
                </a:lnTo>
                <a:lnTo>
                  <a:pt x="450" y="518"/>
                </a:lnTo>
                <a:lnTo>
                  <a:pt x="438" y="513"/>
                </a:lnTo>
                <a:lnTo>
                  <a:pt x="432" y="511"/>
                </a:lnTo>
                <a:lnTo>
                  <a:pt x="436" y="505"/>
                </a:lnTo>
                <a:lnTo>
                  <a:pt x="440" y="499"/>
                </a:lnTo>
                <a:lnTo>
                  <a:pt x="445" y="494"/>
                </a:lnTo>
                <a:lnTo>
                  <a:pt x="451" y="489"/>
                </a:lnTo>
                <a:lnTo>
                  <a:pt x="456" y="484"/>
                </a:lnTo>
                <a:lnTo>
                  <a:pt x="461" y="478"/>
                </a:lnTo>
                <a:lnTo>
                  <a:pt x="463" y="475"/>
                </a:lnTo>
                <a:lnTo>
                  <a:pt x="464" y="471"/>
                </a:lnTo>
                <a:lnTo>
                  <a:pt x="465" y="467"/>
                </a:lnTo>
                <a:lnTo>
                  <a:pt x="465" y="463"/>
                </a:lnTo>
                <a:lnTo>
                  <a:pt x="464" y="455"/>
                </a:lnTo>
                <a:lnTo>
                  <a:pt x="463" y="448"/>
                </a:lnTo>
                <a:lnTo>
                  <a:pt x="461" y="441"/>
                </a:lnTo>
                <a:lnTo>
                  <a:pt x="458" y="434"/>
                </a:lnTo>
                <a:lnTo>
                  <a:pt x="449" y="420"/>
                </a:lnTo>
                <a:lnTo>
                  <a:pt x="439" y="407"/>
                </a:lnTo>
                <a:lnTo>
                  <a:pt x="427" y="395"/>
                </a:lnTo>
                <a:lnTo>
                  <a:pt x="415" y="384"/>
                </a:lnTo>
                <a:lnTo>
                  <a:pt x="403" y="376"/>
                </a:lnTo>
                <a:lnTo>
                  <a:pt x="392" y="370"/>
                </a:lnTo>
                <a:lnTo>
                  <a:pt x="385" y="369"/>
                </a:lnTo>
                <a:lnTo>
                  <a:pt x="378" y="367"/>
                </a:lnTo>
                <a:lnTo>
                  <a:pt x="372" y="364"/>
                </a:lnTo>
                <a:lnTo>
                  <a:pt x="366" y="362"/>
                </a:lnTo>
                <a:lnTo>
                  <a:pt x="355" y="356"/>
                </a:lnTo>
                <a:lnTo>
                  <a:pt x="348" y="349"/>
                </a:lnTo>
                <a:lnTo>
                  <a:pt x="336" y="338"/>
                </a:lnTo>
                <a:lnTo>
                  <a:pt x="332" y="333"/>
                </a:lnTo>
                <a:lnTo>
                  <a:pt x="318" y="330"/>
                </a:lnTo>
                <a:lnTo>
                  <a:pt x="305" y="327"/>
                </a:lnTo>
                <a:lnTo>
                  <a:pt x="292" y="323"/>
                </a:lnTo>
                <a:lnTo>
                  <a:pt x="280" y="319"/>
                </a:lnTo>
                <a:lnTo>
                  <a:pt x="268" y="315"/>
                </a:lnTo>
                <a:lnTo>
                  <a:pt x="257" y="310"/>
                </a:lnTo>
                <a:lnTo>
                  <a:pt x="247" y="304"/>
                </a:lnTo>
                <a:lnTo>
                  <a:pt x="237" y="299"/>
                </a:lnTo>
                <a:lnTo>
                  <a:pt x="218" y="285"/>
                </a:lnTo>
                <a:lnTo>
                  <a:pt x="202" y="272"/>
                </a:lnTo>
                <a:lnTo>
                  <a:pt x="186" y="258"/>
                </a:lnTo>
                <a:lnTo>
                  <a:pt x="173" y="244"/>
                </a:lnTo>
                <a:lnTo>
                  <a:pt x="162" y="229"/>
                </a:lnTo>
                <a:lnTo>
                  <a:pt x="152" y="215"/>
                </a:lnTo>
                <a:lnTo>
                  <a:pt x="144" y="202"/>
                </a:lnTo>
                <a:lnTo>
                  <a:pt x="137" y="189"/>
                </a:lnTo>
                <a:lnTo>
                  <a:pt x="126" y="168"/>
                </a:lnTo>
                <a:lnTo>
                  <a:pt x="119" y="154"/>
                </a:lnTo>
                <a:lnTo>
                  <a:pt x="102" y="154"/>
                </a:lnTo>
                <a:lnTo>
                  <a:pt x="89" y="154"/>
                </a:lnTo>
                <a:lnTo>
                  <a:pt x="77" y="154"/>
                </a:lnTo>
                <a:lnTo>
                  <a:pt x="67" y="154"/>
                </a:lnTo>
                <a:lnTo>
                  <a:pt x="61" y="155"/>
                </a:lnTo>
                <a:lnTo>
                  <a:pt x="57" y="155"/>
                </a:lnTo>
                <a:lnTo>
                  <a:pt x="51" y="157"/>
                </a:lnTo>
                <a:lnTo>
                  <a:pt x="46" y="159"/>
                </a:lnTo>
                <a:lnTo>
                  <a:pt x="34" y="164"/>
                </a:lnTo>
                <a:lnTo>
                  <a:pt x="21" y="172"/>
                </a:lnTo>
                <a:lnTo>
                  <a:pt x="15" y="165"/>
                </a:lnTo>
                <a:lnTo>
                  <a:pt x="12" y="158"/>
                </a:lnTo>
                <a:lnTo>
                  <a:pt x="7" y="150"/>
                </a:lnTo>
                <a:lnTo>
                  <a:pt x="5" y="141"/>
                </a:lnTo>
                <a:lnTo>
                  <a:pt x="3" y="133"/>
                </a:lnTo>
                <a:lnTo>
                  <a:pt x="1" y="123"/>
                </a:lnTo>
                <a:lnTo>
                  <a:pt x="1" y="114"/>
                </a:lnTo>
                <a:lnTo>
                  <a:pt x="0" y="105"/>
                </a:lnTo>
                <a:lnTo>
                  <a:pt x="1" y="93"/>
                </a:lnTo>
                <a:lnTo>
                  <a:pt x="3" y="83"/>
                </a:lnTo>
                <a:lnTo>
                  <a:pt x="5" y="71"/>
                </a:lnTo>
                <a:lnTo>
                  <a:pt x="6" y="55"/>
                </a:lnTo>
                <a:lnTo>
                  <a:pt x="6" y="49"/>
                </a:lnTo>
                <a:lnTo>
                  <a:pt x="27" y="49"/>
                </a:lnTo>
                <a:lnTo>
                  <a:pt x="34" y="47"/>
                </a:lnTo>
                <a:lnTo>
                  <a:pt x="39" y="44"/>
                </a:lnTo>
                <a:lnTo>
                  <a:pt x="45" y="41"/>
                </a:lnTo>
                <a:lnTo>
                  <a:pt x="49" y="37"/>
                </a:lnTo>
                <a:lnTo>
                  <a:pt x="58" y="31"/>
                </a:lnTo>
                <a:lnTo>
                  <a:pt x="67" y="25"/>
                </a:lnTo>
                <a:lnTo>
                  <a:pt x="68" y="33"/>
                </a:lnTo>
                <a:lnTo>
                  <a:pt x="70" y="39"/>
                </a:lnTo>
                <a:lnTo>
                  <a:pt x="73" y="44"/>
                </a:lnTo>
                <a:lnTo>
                  <a:pt x="78" y="46"/>
                </a:lnTo>
                <a:lnTo>
                  <a:pt x="83" y="48"/>
                </a:lnTo>
                <a:lnTo>
                  <a:pt x="89" y="49"/>
                </a:lnTo>
                <a:lnTo>
                  <a:pt x="94" y="49"/>
                </a:lnTo>
                <a:lnTo>
                  <a:pt x="100" y="49"/>
                </a:lnTo>
                <a:lnTo>
                  <a:pt x="104" y="44"/>
                </a:lnTo>
                <a:lnTo>
                  <a:pt x="113" y="38"/>
                </a:lnTo>
                <a:lnTo>
                  <a:pt x="124" y="31"/>
                </a:lnTo>
                <a:lnTo>
                  <a:pt x="136" y="24"/>
                </a:lnTo>
                <a:lnTo>
                  <a:pt x="149" y="16"/>
                </a:lnTo>
                <a:lnTo>
                  <a:pt x="160" y="11"/>
                </a:lnTo>
                <a:lnTo>
                  <a:pt x="168" y="7"/>
                </a:lnTo>
                <a:lnTo>
                  <a:pt x="173" y="6"/>
                </a:lnTo>
                <a:lnTo>
                  <a:pt x="239" y="0"/>
                </a:lnTo>
                <a:lnTo>
                  <a:pt x="243" y="4"/>
                </a:lnTo>
                <a:lnTo>
                  <a:pt x="248" y="8"/>
                </a:lnTo>
                <a:lnTo>
                  <a:pt x="252" y="11"/>
                </a:lnTo>
                <a:lnTo>
                  <a:pt x="257" y="13"/>
                </a:lnTo>
                <a:lnTo>
                  <a:pt x="266" y="16"/>
                </a:lnTo>
                <a:lnTo>
                  <a:pt x="279" y="19"/>
                </a:lnTo>
                <a:lnTo>
                  <a:pt x="304" y="20"/>
                </a:lnTo>
                <a:lnTo>
                  <a:pt x="332" y="19"/>
                </a:lnTo>
                <a:lnTo>
                  <a:pt x="331" y="34"/>
                </a:lnTo>
                <a:lnTo>
                  <a:pt x="329" y="46"/>
                </a:lnTo>
                <a:lnTo>
                  <a:pt x="325" y="56"/>
                </a:lnTo>
                <a:lnTo>
                  <a:pt x="322" y="65"/>
                </a:lnTo>
                <a:lnTo>
                  <a:pt x="320" y="74"/>
                </a:lnTo>
                <a:lnTo>
                  <a:pt x="321" y="82"/>
                </a:lnTo>
                <a:lnTo>
                  <a:pt x="322" y="86"/>
                </a:lnTo>
                <a:lnTo>
                  <a:pt x="325" y="90"/>
                </a:lnTo>
                <a:lnTo>
                  <a:pt x="328" y="94"/>
                </a:lnTo>
                <a:lnTo>
                  <a:pt x="332" y="9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fr-FR" dirty="0"/>
          </a:p>
        </p:txBody>
      </p:sp>
      <p:sp>
        <p:nvSpPr>
          <p:cNvPr id="26" name="Freeform 18"/>
          <p:cNvSpPr>
            <a:spLocks/>
          </p:cNvSpPr>
          <p:nvPr>
            <p:custDataLst>
              <p:tags r:id="rId10"/>
            </p:custDataLst>
          </p:nvPr>
        </p:nvSpPr>
        <p:spPr bwMode="auto">
          <a:xfrm>
            <a:off x="1256214" y="4172146"/>
            <a:ext cx="41339" cy="112598"/>
          </a:xfrm>
          <a:custGeom>
            <a:avLst/>
            <a:gdLst>
              <a:gd name="T0" fmla="*/ 0 w 79"/>
              <a:gd name="T1" fmla="*/ 9849247 h 160"/>
              <a:gd name="T2" fmla="*/ 1068504 w 79"/>
              <a:gd name="T3" fmla="*/ 9849247 h 160"/>
              <a:gd name="T4" fmla="*/ 1958924 w 79"/>
              <a:gd name="T5" fmla="*/ 9583023 h 160"/>
              <a:gd name="T6" fmla="*/ 2849344 w 79"/>
              <a:gd name="T7" fmla="*/ 9316799 h 160"/>
              <a:gd name="T8" fmla="*/ 3383596 w 79"/>
              <a:gd name="T9" fmla="*/ 8784352 h 160"/>
              <a:gd name="T10" fmla="*/ 4630184 w 79"/>
              <a:gd name="T11" fmla="*/ 7453233 h 160"/>
              <a:gd name="T12" fmla="*/ 5520604 w 79"/>
              <a:gd name="T13" fmla="*/ 5856407 h 160"/>
              <a:gd name="T14" fmla="*/ 6589108 w 79"/>
              <a:gd name="T15" fmla="*/ 4259064 h 160"/>
              <a:gd name="T16" fmla="*/ 7301444 w 79"/>
              <a:gd name="T17" fmla="*/ 2661722 h 160"/>
              <a:gd name="T18" fmla="*/ 8191864 w 79"/>
              <a:gd name="T19" fmla="*/ 1331119 h 160"/>
              <a:gd name="T20" fmla="*/ 9438452 w 79"/>
              <a:gd name="T21" fmla="*/ 0 h 160"/>
              <a:gd name="T22" fmla="*/ 10150788 w 79"/>
              <a:gd name="T23" fmla="*/ 798671 h 160"/>
              <a:gd name="T24" fmla="*/ 11041208 w 79"/>
              <a:gd name="T25" fmla="*/ 1863566 h 160"/>
              <a:gd name="T26" fmla="*/ 11397376 w 79"/>
              <a:gd name="T27" fmla="*/ 2661722 h 160"/>
              <a:gd name="T28" fmla="*/ 11753544 w 79"/>
              <a:gd name="T29" fmla="*/ 3726617 h 160"/>
              <a:gd name="T30" fmla="*/ 12287796 w 79"/>
              <a:gd name="T31" fmla="*/ 5856407 h 160"/>
              <a:gd name="T32" fmla="*/ 12822048 w 79"/>
              <a:gd name="T33" fmla="*/ 8518128 h 160"/>
              <a:gd name="T34" fmla="*/ 13000132 w 79"/>
              <a:gd name="T35" fmla="*/ 10647918 h 160"/>
              <a:gd name="T36" fmla="*/ 13178216 w 79"/>
              <a:gd name="T37" fmla="*/ 13043416 h 160"/>
              <a:gd name="T38" fmla="*/ 13534384 w 79"/>
              <a:gd name="T39" fmla="*/ 15438914 h 160"/>
              <a:gd name="T40" fmla="*/ 14068636 w 79"/>
              <a:gd name="T41" fmla="*/ 17834928 h 160"/>
              <a:gd name="T42" fmla="*/ 14068636 w 79"/>
              <a:gd name="T43" fmla="*/ 26086832 h 160"/>
              <a:gd name="T44" fmla="*/ 12109712 w 79"/>
              <a:gd name="T45" fmla="*/ 30612120 h 160"/>
              <a:gd name="T46" fmla="*/ 10506956 w 79"/>
              <a:gd name="T47" fmla="*/ 34338736 h 160"/>
              <a:gd name="T48" fmla="*/ 9438452 w 79"/>
              <a:gd name="T49" fmla="*/ 36202303 h 160"/>
              <a:gd name="T50" fmla="*/ 8904200 w 79"/>
              <a:gd name="T51" fmla="*/ 38331577 h 160"/>
              <a:gd name="T52" fmla="*/ 8548032 w 79"/>
              <a:gd name="T53" fmla="*/ 40195143 h 160"/>
              <a:gd name="T54" fmla="*/ 8191864 w 79"/>
              <a:gd name="T55" fmla="*/ 42590641 h 160"/>
              <a:gd name="T56" fmla="*/ 7123360 w 79"/>
              <a:gd name="T57" fmla="*/ 41259522 h 160"/>
              <a:gd name="T58" fmla="*/ 5876772 w 79"/>
              <a:gd name="T59" fmla="*/ 39928919 h 160"/>
              <a:gd name="T60" fmla="*/ 4986352 w 79"/>
              <a:gd name="T61" fmla="*/ 38331577 h 160"/>
              <a:gd name="T62" fmla="*/ 3917848 w 79"/>
              <a:gd name="T63" fmla="*/ 36468010 h 160"/>
              <a:gd name="T64" fmla="*/ 3205512 w 79"/>
              <a:gd name="T65" fmla="*/ 34604960 h 160"/>
              <a:gd name="T66" fmla="*/ 2671260 w 79"/>
              <a:gd name="T67" fmla="*/ 32741394 h 160"/>
              <a:gd name="T68" fmla="*/ 1958924 w 79"/>
              <a:gd name="T69" fmla="*/ 30612120 h 160"/>
              <a:gd name="T70" fmla="*/ 1424672 w 79"/>
              <a:gd name="T71" fmla="*/ 28748553 h 160"/>
              <a:gd name="T72" fmla="*/ 712336 w 79"/>
              <a:gd name="T73" fmla="*/ 24223266 h 160"/>
              <a:gd name="T74" fmla="*/ 178084 w 79"/>
              <a:gd name="T75" fmla="*/ 19431754 h 160"/>
              <a:gd name="T76" fmla="*/ 0 w 79"/>
              <a:gd name="T77" fmla="*/ 14640758 h 160"/>
              <a:gd name="T78" fmla="*/ 0 w 79"/>
              <a:gd name="T79" fmla="*/ 9849247 h 160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</a:gdLst>
            <a:ahLst/>
            <a:cxnLst>
              <a:cxn ang="T80">
                <a:pos x="T0" y="T1"/>
              </a:cxn>
              <a:cxn ang="T81">
                <a:pos x="T2" y="T3"/>
              </a:cxn>
              <a:cxn ang="T82">
                <a:pos x="T4" y="T5"/>
              </a:cxn>
              <a:cxn ang="T83">
                <a:pos x="T6" y="T7"/>
              </a:cxn>
              <a:cxn ang="T84">
                <a:pos x="T8" y="T9"/>
              </a:cxn>
              <a:cxn ang="T85">
                <a:pos x="T10" y="T11"/>
              </a:cxn>
              <a:cxn ang="T86">
                <a:pos x="T12" y="T13"/>
              </a:cxn>
              <a:cxn ang="T87">
                <a:pos x="T14" y="T15"/>
              </a:cxn>
              <a:cxn ang="T88">
                <a:pos x="T16" y="T17"/>
              </a:cxn>
              <a:cxn ang="T89">
                <a:pos x="T18" y="T19"/>
              </a:cxn>
              <a:cxn ang="T90">
                <a:pos x="T20" y="T21"/>
              </a:cxn>
              <a:cxn ang="T91">
                <a:pos x="T22" y="T23"/>
              </a:cxn>
              <a:cxn ang="T92">
                <a:pos x="T24" y="T25"/>
              </a:cxn>
              <a:cxn ang="T93">
                <a:pos x="T26" y="T27"/>
              </a:cxn>
              <a:cxn ang="T94">
                <a:pos x="T28" y="T29"/>
              </a:cxn>
              <a:cxn ang="T95">
                <a:pos x="T30" y="T31"/>
              </a:cxn>
              <a:cxn ang="T96">
                <a:pos x="T32" y="T33"/>
              </a:cxn>
              <a:cxn ang="T97">
                <a:pos x="T34" y="T35"/>
              </a:cxn>
              <a:cxn ang="T98">
                <a:pos x="T36" y="T37"/>
              </a:cxn>
              <a:cxn ang="T99">
                <a:pos x="T38" y="T39"/>
              </a:cxn>
              <a:cxn ang="T100">
                <a:pos x="T40" y="T41"/>
              </a:cxn>
              <a:cxn ang="T101">
                <a:pos x="T42" y="T43"/>
              </a:cxn>
              <a:cxn ang="T102">
                <a:pos x="T44" y="T45"/>
              </a:cxn>
              <a:cxn ang="T103">
                <a:pos x="T46" y="T47"/>
              </a:cxn>
              <a:cxn ang="T104">
                <a:pos x="T48" y="T49"/>
              </a:cxn>
              <a:cxn ang="T105">
                <a:pos x="T50" y="T51"/>
              </a:cxn>
              <a:cxn ang="T106">
                <a:pos x="T52" y="T53"/>
              </a:cxn>
              <a:cxn ang="T107">
                <a:pos x="T54" y="T55"/>
              </a:cxn>
              <a:cxn ang="T108">
                <a:pos x="T56" y="T57"/>
              </a:cxn>
              <a:cxn ang="T109">
                <a:pos x="T58" y="T59"/>
              </a:cxn>
              <a:cxn ang="T110">
                <a:pos x="T60" y="T61"/>
              </a:cxn>
              <a:cxn ang="T111">
                <a:pos x="T62" y="T63"/>
              </a:cxn>
              <a:cxn ang="T112">
                <a:pos x="T64" y="T65"/>
              </a:cxn>
              <a:cxn ang="T113">
                <a:pos x="T66" y="T67"/>
              </a:cxn>
              <a:cxn ang="T114">
                <a:pos x="T68" y="T69"/>
              </a:cxn>
              <a:cxn ang="T115">
                <a:pos x="T70" y="T71"/>
              </a:cxn>
              <a:cxn ang="T116">
                <a:pos x="T72" y="T73"/>
              </a:cxn>
              <a:cxn ang="T117">
                <a:pos x="T74" y="T75"/>
              </a:cxn>
              <a:cxn ang="T118">
                <a:pos x="T76" y="T77"/>
              </a:cxn>
              <a:cxn ang="T119">
                <a:pos x="T78" y="T79"/>
              </a:cxn>
            </a:cxnLst>
            <a:rect l="0" t="0" r="r" b="b"/>
            <a:pathLst>
              <a:path w="79" h="160">
                <a:moveTo>
                  <a:pt x="0" y="37"/>
                </a:moveTo>
                <a:lnTo>
                  <a:pt x="6" y="37"/>
                </a:lnTo>
                <a:lnTo>
                  <a:pt x="11" y="36"/>
                </a:lnTo>
                <a:lnTo>
                  <a:pt x="16" y="35"/>
                </a:lnTo>
                <a:lnTo>
                  <a:pt x="19" y="33"/>
                </a:lnTo>
                <a:lnTo>
                  <a:pt x="26" y="28"/>
                </a:lnTo>
                <a:lnTo>
                  <a:pt x="31" y="22"/>
                </a:lnTo>
                <a:lnTo>
                  <a:pt x="37" y="16"/>
                </a:lnTo>
                <a:lnTo>
                  <a:pt x="41" y="10"/>
                </a:lnTo>
                <a:lnTo>
                  <a:pt x="46" y="5"/>
                </a:lnTo>
                <a:lnTo>
                  <a:pt x="53" y="0"/>
                </a:lnTo>
                <a:lnTo>
                  <a:pt x="57" y="3"/>
                </a:lnTo>
                <a:lnTo>
                  <a:pt x="62" y="7"/>
                </a:lnTo>
                <a:lnTo>
                  <a:pt x="64" y="10"/>
                </a:lnTo>
                <a:lnTo>
                  <a:pt x="66" y="14"/>
                </a:lnTo>
                <a:lnTo>
                  <a:pt x="69" y="22"/>
                </a:lnTo>
                <a:lnTo>
                  <a:pt x="72" y="32"/>
                </a:lnTo>
                <a:lnTo>
                  <a:pt x="73" y="40"/>
                </a:lnTo>
                <a:lnTo>
                  <a:pt x="74" y="49"/>
                </a:lnTo>
                <a:lnTo>
                  <a:pt x="76" y="58"/>
                </a:lnTo>
                <a:lnTo>
                  <a:pt x="79" y="67"/>
                </a:lnTo>
                <a:lnTo>
                  <a:pt x="79" y="98"/>
                </a:lnTo>
                <a:lnTo>
                  <a:pt x="68" y="115"/>
                </a:lnTo>
                <a:lnTo>
                  <a:pt x="59" y="129"/>
                </a:lnTo>
                <a:lnTo>
                  <a:pt x="53" y="136"/>
                </a:lnTo>
                <a:lnTo>
                  <a:pt x="50" y="144"/>
                </a:lnTo>
                <a:lnTo>
                  <a:pt x="48" y="151"/>
                </a:lnTo>
                <a:lnTo>
                  <a:pt x="46" y="160"/>
                </a:lnTo>
                <a:lnTo>
                  <a:pt x="40" y="155"/>
                </a:lnTo>
                <a:lnTo>
                  <a:pt x="33" y="150"/>
                </a:lnTo>
                <a:lnTo>
                  <a:pt x="28" y="144"/>
                </a:lnTo>
                <a:lnTo>
                  <a:pt x="22" y="137"/>
                </a:lnTo>
                <a:lnTo>
                  <a:pt x="18" y="130"/>
                </a:lnTo>
                <a:lnTo>
                  <a:pt x="15" y="123"/>
                </a:lnTo>
                <a:lnTo>
                  <a:pt x="11" y="115"/>
                </a:lnTo>
                <a:lnTo>
                  <a:pt x="8" y="108"/>
                </a:lnTo>
                <a:lnTo>
                  <a:pt x="4" y="91"/>
                </a:lnTo>
                <a:lnTo>
                  <a:pt x="1" y="73"/>
                </a:lnTo>
                <a:lnTo>
                  <a:pt x="0" y="55"/>
                </a:lnTo>
                <a:lnTo>
                  <a:pt x="0" y="37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fr-FR" dirty="0"/>
          </a:p>
        </p:txBody>
      </p:sp>
      <p:sp>
        <p:nvSpPr>
          <p:cNvPr id="27" name="Freeform 23"/>
          <p:cNvSpPr>
            <a:spLocks/>
          </p:cNvSpPr>
          <p:nvPr>
            <p:custDataLst>
              <p:tags r:id="rId11"/>
            </p:custDataLst>
          </p:nvPr>
        </p:nvSpPr>
        <p:spPr bwMode="auto">
          <a:xfrm>
            <a:off x="766058" y="4068209"/>
            <a:ext cx="348424" cy="337795"/>
          </a:xfrm>
          <a:custGeom>
            <a:avLst/>
            <a:gdLst>
              <a:gd name="T0" fmla="*/ 76575689 w 647"/>
              <a:gd name="T1" fmla="*/ 7496418 h 470"/>
              <a:gd name="T2" fmla="*/ 80724916 w 647"/>
              <a:gd name="T3" fmla="*/ 12493679 h 470"/>
              <a:gd name="T4" fmla="*/ 86383308 w 647"/>
              <a:gd name="T5" fmla="*/ 16658414 h 470"/>
              <a:gd name="T6" fmla="*/ 96568327 w 647"/>
              <a:gd name="T7" fmla="*/ 21655675 h 470"/>
              <a:gd name="T8" fmla="*/ 101471919 w 647"/>
              <a:gd name="T9" fmla="*/ 22488728 h 470"/>
              <a:gd name="T10" fmla="*/ 105998546 w 647"/>
              <a:gd name="T11" fmla="*/ 27486515 h 470"/>
              <a:gd name="T12" fmla="*/ 106941828 w 647"/>
              <a:gd name="T13" fmla="*/ 26931147 h 470"/>
              <a:gd name="T14" fmla="*/ 108450559 w 647"/>
              <a:gd name="T15" fmla="*/ 23599464 h 470"/>
              <a:gd name="T16" fmla="*/ 109959290 w 647"/>
              <a:gd name="T17" fmla="*/ 21655675 h 470"/>
              <a:gd name="T18" fmla="*/ 113731551 w 647"/>
              <a:gd name="T19" fmla="*/ 22211044 h 470"/>
              <a:gd name="T20" fmla="*/ 117692295 w 647"/>
              <a:gd name="T21" fmla="*/ 21933359 h 470"/>
              <a:gd name="T22" fmla="*/ 120710191 w 647"/>
              <a:gd name="T23" fmla="*/ 23321780 h 470"/>
              <a:gd name="T24" fmla="*/ 121841956 w 647"/>
              <a:gd name="T25" fmla="*/ 28596725 h 470"/>
              <a:gd name="T26" fmla="*/ 121841956 w 647"/>
              <a:gd name="T27" fmla="*/ 34149881 h 470"/>
              <a:gd name="T28" fmla="*/ 116560964 w 647"/>
              <a:gd name="T29" fmla="*/ 36370827 h 470"/>
              <a:gd name="T30" fmla="*/ 110525172 w 647"/>
              <a:gd name="T31" fmla="*/ 40535563 h 470"/>
              <a:gd name="T32" fmla="*/ 105621580 w 647"/>
              <a:gd name="T33" fmla="*/ 45810508 h 470"/>
              <a:gd name="T34" fmla="*/ 95059162 w 647"/>
              <a:gd name="T35" fmla="*/ 59414923 h 470"/>
              <a:gd name="T36" fmla="*/ 92230183 w 647"/>
              <a:gd name="T37" fmla="*/ 63024290 h 470"/>
              <a:gd name="T38" fmla="*/ 89400770 w 647"/>
              <a:gd name="T39" fmla="*/ 70520182 h 470"/>
              <a:gd name="T40" fmla="*/ 89212287 w 647"/>
              <a:gd name="T41" fmla="*/ 78294284 h 470"/>
              <a:gd name="T42" fmla="*/ 89212287 w 647"/>
              <a:gd name="T43" fmla="*/ 86346071 h 470"/>
              <a:gd name="T44" fmla="*/ 87326156 w 647"/>
              <a:gd name="T45" fmla="*/ 94397330 h 470"/>
              <a:gd name="T46" fmla="*/ 84874143 w 647"/>
              <a:gd name="T47" fmla="*/ 98284381 h 470"/>
              <a:gd name="T48" fmla="*/ 77518537 w 647"/>
              <a:gd name="T49" fmla="*/ 106613325 h 470"/>
              <a:gd name="T50" fmla="*/ 72237545 w 647"/>
              <a:gd name="T51" fmla="*/ 114109743 h 470"/>
              <a:gd name="T52" fmla="*/ 70539897 w 647"/>
              <a:gd name="T53" fmla="*/ 117996794 h 470"/>
              <a:gd name="T54" fmla="*/ 69597049 w 647"/>
              <a:gd name="T55" fmla="*/ 119940056 h 470"/>
              <a:gd name="T56" fmla="*/ 58469182 w 647"/>
              <a:gd name="T57" fmla="*/ 119107004 h 470"/>
              <a:gd name="T58" fmla="*/ 48472646 w 647"/>
              <a:gd name="T59" fmla="*/ 120495425 h 470"/>
              <a:gd name="T60" fmla="*/ 42248371 w 647"/>
              <a:gd name="T61" fmla="*/ 123827108 h 470"/>
              <a:gd name="T62" fmla="*/ 36401497 w 647"/>
              <a:gd name="T63" fmla="*/ 129657421 h 470"/>
              <a:gd name="T64" fmla="*/ 33761001 w 647"/>
              <a:gd name="T65" fmla="*/ 130212789 h 470"/>
              <a:gd name="T66" fmla="*/ 31874870 w 647"/>
              <a:gd name="T67" fmla="*/ 127991843 h 470"/>
              <a:gd name="T68" fmla="*/ 28857408 w 647"/>
              <a:gd name="T69" fmla="*/ 119940056 h 470"/>
              <a:gd name="T70" fmla="*/ 26405395 w 647"/>
              <a:gd name="T71" fmla="*/ 114942796 h 470"/>
              <a:gd name="T72" fmla="*/ 23010534 w 647"/>
              <a:gd name="T73" fmla="*/ 111055744 h 470"/>
              <a:gd name="T74" fmla="*/ 21501368 w 647"/>
              <a:gd name="T75" fmla="*/ 105225431 h 470"/>
              <a:gd name="T76" fmla="*/ 23764899 w 647"/>
              <a:gd name="T77" fmla="*/ 93286594 h 470"/>
              <a:gd name="T78" fmla="*/ 23953382 w 647"/>
              <a:gd name="T79" fmla="*/ 74129549 h 470"/>
              <a:gd name="T80" fmla="*/ 27725643 w 647"/>
              <a:gd name="T81" fmla="*/ 57193450 h 470"/>
              <a:gd name="T82" fmla="*/ 31686387 w 647"/>
              <a:gd name="T83" fmla="*/ 41368088 h 470"/>
              <a:gd name="T84" fmla="*/ 32440753 w 647"/>
              <a:gd name="T85" fmla="*/ 36370827 h 470"/>
              <a:gd name="T86" fmla="*/ 21878768 w 647"/>
              <a:gd name="T87" fmla="*/ 34149881 h 470"/>
              <a:gd name="T88" fmla="*/ 11693750 w 647"/>
              <a:gd name="T89" fmla="*/ 30262830 h 470"/>
              <a:gd name="T90" fmla="*/ 3206379 w 647"/>
              <a:gd name="T91" fmla="*/ 25820411 h 470"/>
              <a:gd name="T92" fmla="*/ 0 w 647"/>
              <a:gd name="T93" fmla="*/ 10550417 h 470"/>
              <a:gd name="T94" fmla="*/ 4338144 w 647"/>
              <a:gd name="T95" fmla="*/ 9439680 h 470"/>
              <a:gd name="T96" fmla="*/ 9619136 w 647"/>
              <a:gd name="T97" fmla="*/ 5552629 h 470"/>
              <a:gd name="T98" fmla="*/ 13768363 w 647"/>
              <a:gd name="T99" fmla="*/ 1110737 h 470"/>
              <a:gd name="T100" fmla="*/ 16220376 w 647"/>
              <a:gd name="T101" fmla="*/ 0 h 470"/>
              <a:gd name="T102" fmla="*/ 24896664 w 647"/>
              <a:gd name="T103" fmla="*/ 1943262 h 470"/>
              <a:gd name="T104" fmla="*/ 32252270 w 647"/>
              <a:gd name="T105" fmla="*/ 4720104 h 470"/>
              <a:gd name="T106" fmla="*/ 39419393 w 647"/>
              <a:gd name="T107" fmla="*/ 5552629 h 470"/>
              <a:gd name="T108" fmla="*/ 44323419 w 647"/>
              <a:gd name="T109" fmla="*/ 8051786 h 470"/>
              <a:gd name="T110" fmla="*/ 48661129 w 647"/>
              <a:gd name="T111" fmla="*/ 10272733 h 470"/>
              <a:gd name="T112" fmla="*/ 72614511 w 647"/>
              <a:gd name="T113" fmla="*/ 7218734 h 470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0" t="0" r="r" b="b"/>
            <a:pathLst>
              <a:path w="647" h="470">
                <a:moveTo>
                  <a:pt x="399" y="14"/>
                </a:moveTo>
                <a:lnTo>
                  <a:pt x="402" y="20"/>
                </a:lnTo>
                <a:lnTo>
                  <a:pt x="406" y="27"/>
                </a:lnTo>
                <a:lnTo>
                  <a:pt x="413" y="33"/>
                </a:lnTo>
                <a:lnTo>
                  <a:pt x="421" y="39"/>
                </a:lnTo>
                <a:lnTo>
                  <a:pt x="428" y="45"/>
                </a:lnTo>
                <a:lnTo>
                  <a:pt x="438" y="51"/>
                </a:lnTo>
                <a:lnTo>
                  <a:pt x="448" y="56"/>
                </a:lnTo>
                <a:lnTo>
                  <a:pt x="458" y="60"/>
                </a:lnTo>
                <a:lnTo>
                  <a:pt x="480" y="70"/>
                </a:lnTo>
                <a:lnTo>
                  <a:pt x="501" y="76"/>
                </a:lnTo>
                <a:lnTo>
                  <a:pt x="512" y="78"/>
                </a:lnTo>
                <a:lnTo>
                  <a:pt x="521" y="80"/>
                </a:lnTo>
                <a:lnTo>
                  <a:pt x="530" y="81"/>
                </a:lnTo>
                <a:lnTo>
                  <a:pt x="538" y="81"/>
                </a:lnTo>
                <a:lnTo>
                  <a:pt x="548" y="88"/>
                </a:lnTo>
                <a:lnTo>
                  <a:pt x="561" y="99"/>
                </a:lnTo>
                <a:lnTo>
                  <a:pt x="562" y="99"/>
                </a:lnTo>
                <a:lnTo>
                  <a:pt x="564" y="99"/>
                </a:lnTo>
                <a:lnTo>
                  <a:pt x="566" y="98"/>
                </a:lnTo>
                <a:lnTo>
                  <a:pt x="567" y="97"/>
                </a:lnTo>
                <a:lnTo>
                  <a:pt x="570" y="93"/>
                </a:lnTo>
                <a:lnTo>
                  <a:pt x="572" y="89"/>
                </a:lnTo>
                <a:lnTo>
                  <a:pt x="575" y="85"/>
                </a:lnTo>
                <a:lnTo>
                  <a:pt x="578" y="81"/>
                </a:lnTo>
                <a:lnTo>
                  <a:pt x="580" y="79"/>
                </a:lnTo>
                <a:lnTo>
                  <a:pt x="583" y="78"/>
                </a:lnTo>
                <a:lnTo>
                  <a:pt x="590" y="80"/>
                </a:lnTo>
                <a:lnTo>
                  <a:pt x="596" y="80"/>
                </a:lnTo>
                <a:lnTo>
                  <a:pt x="603" y="80"/>
                </a:lnTo>
                <a:lnTo>
                  <a:pt x="609" y="80"/>
                </a:lnTo>
                <a:lnTo>
                  <a:pt x="617" y="79"/>
                </a:lnTo>
                <a:lnTo>
                  <a:pt x="624" y="79"/>
                </a:lnTo>
                <a:lnTo>
                  <a:pt x="631" y="80"/>
                </a:lnTo>
                <a:lnTo>
                  <a:pt x="638" y="81"/>
                </a:lnTo>
                <a:lnTo>
                  <a:pt x="640" y="84"/>
                </a:lnTo>
                <a:lnTo>
                  <a:pt x="642" y="89"/>
                </a:lnTo>
                <a:lnTo>
                  <a:pt x="645" y="95"/>
                </a:lnTo>
                <a:lnTo>
                  <a:pt x="646" y="103"/>
                </a:lnTo>
                <a:lnTo>
                  <a:pt x="647" y="111"/>
                </a:lnTo>
                <a:lnTo>
                  <a:pt x="647" y="118"/>
                </a:lnTo>
                <a:lnTo>
                  <a:pt x="646" y="123"/>
                </a:lnTo>
                <a:lnTo>
                  <a:pt x="645" y="124"/>
                </a:lnTo>
                <a:lnTo>
                  <a:pt x="631" y="127"/>
                </a:lnTo>
                <a:lnTo>
                  <a:pt x="618" y="131"/>
                </a:lnTo>
                <a:lnTo>
                  <a:pt x="607" y="135"/>
                </a:lnTo>
                <a:lnTo>
                  <a:pt x="596" y="140"/>
                </a:lnTo>
                <a:lnTo>
                  <a:pt x="586" y="146"/>
                </a:lnTo>
                <a:lnTo>
                  <a:pt x="577" y="152"/>
                </a:lnTo>
                <a:lnTo>
                  <a:pt x="569" y="158"/>
                </a:lnTo>
                <a:lnTo>
                  <a:pt x="560" y="165"/>
                </a:lnTo>
                <a:lnTo>
                  <a:pt x="533" y="191"/>
                </a:lnTo>
                <a:lnTo>
                  <a:pt x="512" y="210"/>
                </a:lnTo>
                <a:lnTo>
                  <a:pt x="504" y="214"/>
                </a:lnTo>
                <a:lnTo>
                  <a:pt x="499" y="218"/>
                </a:lnTo>
                <a:lnTo>
                  <a:pt x="493" y="222"/>
                </a:lnTo>
                <a:lnTo>
                  <a:pt x="489" y="227"/>
                </a:lnTo>
                <a:lnTo>
                  <a:pt x="481" y="236"/>
                </a:lnTo>
                <a:lnTo>
                  <a:pt x="477" y="245"/>
                </a:lnTo>
                <a:lnTo>
                  <a:pt x="474" y="254"/>
                </a:lnTo>
                <a:lnTo>
                  <a:pt x="473" y="263"/>
                </a:lnTo>
                <a:lnTo>
                  <a:pt x="472" y="272"/>
                </a:lnTo>
                <a:lnTo>
                  <a:pt x="473" y="282"/>
                </a:lnTo>
                <a:lnTo>
                  <a:pt x="473" y="292"/>
                </a:lnTo>
                <a:lnTo>
                  <a:pt x="474" y="301"/>
                </a:lnTo>
                <a:lnTo>
                  <a:pt x="473" y="311"/>
                </a:lnTo>
                <a:lnTo>
                  <a:pt x="472" y="320"/>
                </a:lnTo>
                <a:lnTo>
                  <a:pt x="469" y="330"/>
                </a:lnTo>
                <a:lnTo>
                  <a:pt x="463" y="340"/>
                </a:lnTo>
                <a:lnTo>
                  <a:pt x="460" y="345"/>
                </a:lnTo>
                <a:lnTo>
                  <a:pt x="456" y="349"/>
                </a:lnTo>
                <a:lnTo>
                  <a:pt x="450" y="354"/>
                </a:lnTo>
                <a:lnTo>
                  <a:pt x="445" y="358"/>
                </a:lnTo>
                <a:lnTo>
                  <a:pt x="426" y="372"/>
                </a:lnTo>
                <a:lnTo>
                  <a:pt x="411" y="384"/>
                </a:lnTo>
                <a:lnTo>
                  <a:pt x="399" y="394"/>
                </a:lnTo>
                <a:lnTo>
                  <a:pt x="390" y="404"/>
                </a:lnTo>
                <a:lnTo>
                  <a:pt x="383" y="411"/>
                </a:lnTo>
                <a:lnTo>
                  <a:pt x="379" y="417"/>
                </a:lnTo>
                <a:lnTo>
                  <a:pt x="376" y="422"/>
                </a:lnTo>
                <a:lnTo>
                  <a:pt x="374" y="425"/>
                </a:lnTo>
                <a:lnTo>
                  <a:pt x="373" y="430"/>
                </a:lnTo>
                <a:lnTo>
                  <a:pt x="373" y="432"/>
                </a:lnTo>
                <a:lnTo>
                  <a:pt x="369" y="432"/>
                </a:lnTo>
                <a:lnTo>
                  <a:pt x="358" y="432"/>
                </a:lnTo>
                <a:lnTo>
                  <a:pt x="333" y="430"/>
                </a:lnTo>
                <a:lnTo>
                  <a:pt x="310" y="429"/>
                </a:lnTo>
                <a:lnTo>
                  <a:pt x="290" y="429"/>
                </a:lnTo>
                <a:lnTo>
                  <a:pt x="272" y="431"/>
                </a:lnTo>
                <a:lnTo>
                  <a:pt x="257" y="434"/>
                </a:lnTo>
                <a:lnTo>
                  <a:pt x="245" y="437"/>
                </a:lnTo>
                <a:lnTo>
                  <a:pt x="234" y="441"/>
                </a:lnTo>
                <a:lnTo>
                  <a:pt x="224" y="446"/>
                </a:lnTo>
                <a:lnTo>
                  <a:pt x="209" y="456"/>
                </a:lnTo>
                <a:lnTo>
                  <a:pt x="198" y="464"/>
                </a:lnTo>
                <a:lnTo>
                  <a:pt x="193" y="467"/>
                </a:lnTo>
                <a:lnTo>
                  <a:pt x="189" y="469"/>
                </a:lnTo>
                <a:lnTo>
                  <a:pt x="183" y="470"/>
                </a:lnTo>
                <a:lnTo>
                  <a:pt x="179" y="469"/>
                </a:lnTo>
                <a:lnTo>
                  <a:pt x="176" y="468"/>
                </a:lnTo>
                <a:lnTo>
                  <a:pt x="172" y="465"/>
                </a:lnTo>
                <a:lnTo>
                  <a:pt x="169" y="461"/>
                </a:lnTo>
                <a:lnTo>
                  <a:pt x="166" y="456"/>
                </a:lnTo>
                <a:lnTo>
                  <a:pt x="159" y="444"/>
                </a:lnTo>
                <a:lnTo>
                  <a:pt x="153" y="432"/>
                </a:lnTo>
                <a:lnTo>
                  <a:pt x="148" y="426"/>
                </a:lnTo>
                <a:lnTo>
                  <a:pt x="144" y="420"/>
                </a:lnTo>
                <a:lnTo>
                  <a:pt x="140" y="414"/>
                </a:lnTo>
                <a:lnTo>
                  <a:pt x="134" y="409"/>
                </a:lnTo>
                <a:lnTo>
                  <a:pt x="129" y="404"/>
                </a:lnTo>
                <a:lnTo>
                  <a:pt x="122" y="400"/>
                </a:lnTo>
                <a:lnTo>
                  <a:pt x="114" y="397"/>
                </a:lnTo>
                <a:lnTo>
                  <a:pt x="107" y="396"/>
                </a:lnTo>
                <a:lnTo>
                  <a:pt x="114" y="379"/>
                </a:lnTo>
                <a:lnTo>
                  <a:pt x="121" y="365"/>
                </a:lnTo>
                <a:lnTo>
                  <a:pt x="124" y="351"/>
                </a:lnTo>
                <a:lnTo>
                  <a:pt x="126" y="336"/>
                </a:lnTo>
                <a:lnTo>
                  <a:pt x="126" y="309"/>
                </a:lnTo>
                <a:lnTo>
                  <a:pt x="126" y="278"/>
                </a:lnTo>
                <a:lnTo>
                  <a:pt x="127" y="267"/>
                </a:lnTo>
                <a:lnTo>
                  <a:pt x="132" y="250"/>
                </a:lnTo>
                <a:lnTo>
                  <a:pt x="138" y="229"/>
                </a:lnTo>
                <a:lnTo>
                  <a:pt x="147" y="206"/>
                </a:lnTo>
                <a:lnTo>
                  <a:pt x="155" y="184"/>
                </a:lnTo>
                <a:lnTo>
                  <a:pt x="163" y="163"/>
                </a:lnTo>
                <a:lnTo>
                  <a:pt x="168" y="149"/>
                </a:lnTo>
                <a:lnTo>
                  <a:pt x="172" y="143"/>
                </a:lnTo>
                <a:lnTo>
                  <a:pt x="172" y="137"/>
                </a:lnTo>
                <a:lnTo>
                  <a:pt x="172" y="131"/>
                </a:lnTo>
                <a:lnTo>
                  <a:pt x="153" y="130"/>
                </a:lnTo>
                <a:lnTo>
                  <a:pt x="135" y="127"/>
                </a:lnTo>
                <a:lnTo>
                  <a:pt x="116" y="123"/>
                </a:lnTo>
                <a:lnTo>
                  <a:pt x="99" y="118"/>
                </a:lnTo>
                <a:lnTo>
                  <a:pt x="80" y="113"/>
                </a:lnTo>
                <a:lnTo>
                  <a:pt x="62" y="109"/>
                </a:lnTo>
                <a:lnTo>
                  <a:pt x="42" y="106"/>
                </a:lnTo>
                <a:lnTo>
                  <a:pt x="20" y="105"/>
                </a:lnTo>
                <a:lnTo>
                  <a:pt x="17" y="93"/>
                </a:lnTo>
                <a:lnTo>
                  <a:pt x="10" y="72"/>
                </a:lnTo>
                <a:lnTo>
                  <a:pt x="3" y="50"/>
                </a:lnTo>
                <a:lnTo>
                  <a:pt x="0" y="38"/>
                </a:lnTo>
                <a:lnTo>
                  <a:pt x="8" y="37"/>
                </a:lnTo>
                <a:lnTo>
                  <a:pt x="15" y="36"/>
                </a:lnTo>
                <a:lnTo>
                  <a:pt x="23" y="34"/>
                </a:lnTo>
                <a:lnTo>
                  <a:pt x="29" y="32"/>
                </a:lnTo>
                <a:lnTo>
                  <a:pt x="41" y="26"/>
                </a:lnTo>
                <a:lnTo>
                  <a:pt x="51" y="20"/>
                </a:lnTo>
                <a:lnTo>
                  <a:pt x="59" y="13"/>
                </a:lnTo>
                <a:lnTo>
                  <a:pt x="68" y="7"/>
                </a:lnTo>
                <a:lnTo>
                  <a:pt x="73" y="4"/>
                </a:lnTo>
                <a:lnTo>
                  <a:pt x="77" y="2"/>
                </a:lnTo>
                <a:lnTo>
                  <a:pt x="81" y="1"/>
                </a:lnTo>
                <a:lnTo>
                  <a:pt x="86" y="0"/>
                </a:lnTo>
                <a:lnTo>
                  <a:pt x="102" y="1"/>
                </a:lnTo>
                <a:lnTo>
                  <a:pt x="118" y="3"/>
                </a:lnTo>
                <a:lnTo>
                  <a:pt x="132" y="7"/>
                </a:lnTo>
                <a:lnTo>
                  <a:pt x="145" y="11"/>
                </a:lnTo>
                <a:lnTo>
                  <a:pt x="158" y="14"/>
                </a:lnTo>
                <a:lnTo>
                  <a:pt x="171" y="17"/>
                </a:lnTo>
                <a:lnTo>
                  <a:pt x="185" y="19"/>
                </a:lnTo>
                <a:lnTo>
                  <a:pt x="199" y="20"/>
                </a:lnTo>
                <a:lnTo>
                  <a:pt x="209" y="20"/>
                </a:lnTo>
                <a:lnTo>
                  <a:pt x="217" y="22"/>
                </a:lnTo>
                <a:lnTo>
                  <a:pt x="226" y="25"/>
                </a:lnTo>
                <a:lnTo>
                  <a:pt x="235" y="29"/>
                </a:lnTo>
                <a:lnTo>
                  <a:pt x="243" y="32"/>
                </a:lnTo>
                <a:lnTo>
                  <a:pt x="250" y="35"/>
                </a:lnTo>
                <a:lnTo>
                  <a:pt x="258" y="37"/>
                </a:lnTo>
                <a:lnTo>
                  <a:pt x="266" y="38"/>
                </a:lnTo>
                <a:lnTo>
                  <a:pt x="372" y="38"/>
                </a:lnTo>
                <a:lnTo>
                  <a:pt x="385" y="26"/>
                </a:lnTo>
                <a:lnTo>
                  <a:pt x="399" y="14"/>
                </a:lnTo>
              </a:path>
            </a:pathLst>
          </a:custGeom>
          <a:solidFill>
            <a:srgbClr val="92D05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fr-FR" dirty="0"/>
          </a:p>
        </p:txBody>
      </p:sp>
      <p:sp>
        <p:nvSpPr>
          <p:cNvPr id="28" name="Freeform 30"/>
          <p:cNvSpPr>
            <a:spLocks/>
          </p:cNvSpPr>
          <p:nvPr>
            <p:custDataLst>
              <p:tags r:id="rId12"/>
            </p:custDataLst>
          </p:nvPr>
        </p:nvSpPr>
        <p:spPr bwMode="auto">
          <a:xfrm>
            <a:off x="2311331" y="3591832"/>
            <a:ext cx="1084645" cy="617124"/>
          </a:xfrm>
          <a:custGeom>
            <a:avLst/>
            <a:gdLst>
              <a:gd name="T0" fmla="*/ 82329854 w 2006"/>
              <a:gd name="T1" fmla="*/ 210259479 h 863"/>
              <a:gd name="T2" fmla="*/ 78336959 w 2006"/>
              <a:gd name="T3" fmla="*/ 209984767 h 863"/>
              <a:gd name="T4" fmla="*/ 74153947 w 2006"/>
              <a:gd name="T5" fmla="*/ 218230339 h 863"/>
              <a:gd name="T6" fmla="*/ 71301755 w 2006"/>
              <a:gd name="T7" fmla="*/ 217680390 h 863"/>
              <a:gd name="T8" fmla="*/ 70351169 w 2006"/>
              <a:gd name="T9" fmla="*/ 206411930 h 863"/>
              <a:gd name="T10" fmla="*/ 61604912 w 2006"/>
              <a:gd name="T11" fmla="*/ 198991020 h 863"/>
              <a:gd name="T12" fmla="*/ 59323071 w 2006"/>
              <a:gd name="T13" fmla="*/ 194593521 h 863"/>
              <a:gd name="T14" fmla="*/ 54759825 w 2006"/>
              <a:gd name="T15" fmla="*/ 190195498 h 863"/>
              <a:gd name="T16" fmla="*/ 47724620 w 2006"/>
              <a:gd name="T17" fmla="*/ 176178339 h 863"/>
              <a:gd name="T18" fmla="*/ 44111960 w 2006"/>
              <a:gd name="T19" fmla="*/ 167658053 h 863"/>
              <a:gd name="T20" fmla="*/ 48104855 w 2006"/>
              <a:gd name="T21" fmla="*/ 163260555 h 863"/>
              <a:gd name="T22" fmla="*/ 53048335 w 2006"/>
              <a:gd name="T23" fmla="*/ 157488444 h 863"/>
              <a:gd name="T24" fmla="*/ 64266551 w 2006"/>
              <a:gd name="T25" fmla="*/ 149518108 h 863"/>
              <a:gd name="T26" fmla="*/ 60653890 w 2006"/>
              <a:gd name="T27" fmla="*/ 133851625 h 863"/>
              <a:gd name="T28" fmla="*/ 49055440 w 2006"/>
              <a:gd name="T29" fmla="*/ 130553501 h 863"/>
              <a:gd name="T30" fmla="*/ 39738831 w 2006"/>
              <a:gd name="T31" fmla="*/ 129179414 h 863"/>
              <a:gd name="T32" fmla="*/ 29851870 w 2006"/>
              <a:gd name="T33" fmla="*/ 136050375 h 863"/>
              <a:gd name="T34" fmla="*/ 20154591 w 2006"/>
              <a:gd name="T35" fmla="*/ 138799074 h 863"/>
              <a:gd name="T36" fmla="*/ 5133597 w 2006"/>
              <a:gd name="T37" fmla="*/ 113512931 h 863"/>
              <a:gd name="T38" fmla="*/ 3802778 w 2006"/>
              <a:gd name="T39" fmla="*/ 77782466 h 863"/>
              <a:gd name="T40" fmla="*/ 21485411 w 2006"/>
              <a:gd name="T41" fmla="*/ 71186217 h 863"/>
              <a:gd name="T42" fmla="*/ 55520293 w 2006"/>
              <a:gd name="T43" fmla="*/ 61016608 h 863"/>
              <a:gd name="T44" fmla="*/ 94688772 w 2006"/>
              <a:gd name="T45" fmla="*/ 69536893 h 863"/>
              <a:gd name="T46" fmla="*/ 136329210 w 2006"/>
              <a:gd name="T47" fmla="*/ 69536893 h 863"/>
              <a:gd name="T48" fmla="*/ 125110994 w 2006"/>
              <a:gd name="T49" fmla="*/ 50846999 h 863"/>
              <a:gd name="T50" fmla="*/ 157814621 w 2006"/>
              <a:gd name="T51" fmla="*/ 18689895 h 863"/>
              <a:gd name="T52" fmla="*/ 199645175 w 2006"/>
              <a:gd name="T53" fmla="*/ 3572837 h 863"/>
              <a:gd name="T54" fmla="*/ 223602544 w 2006"/>
              <a:gd name="T55" fmla="*/ 16765858 h 863"/>
              <a:gd name="T56" fmla="*/ 246419210 w 2006"/>
              <a:gd name="T57" fmla="*/ 30508304 h 863"/>
              <a:gd name="T58" fmla="*/ 274179357 w 2006"/>
              <a:gd name="T59" fmla="*/ 27210180 h 863"/>
              <a:gd name="T60" fmla="*/ 313157719 w 2006"/>
              <a:gd name="T61" fmla="*/ 74484342 h 863"/>
              <a:gd name="T62" fmla="*/ 340917866 w 2006"/>
              <a:gd name="T63" fmla="*/ 72835017 h 863"/>
              <a:gd name="T64" fmla="*/ 380276462 w 2006"/>
              <a:gd name="T65" fmla="*/ 93173712 h 863"/>
              <a:gd name="T66" fmla="*/ 380656696 w 2006"/>
              <a:gd name="T67" fmla="*/ 104717409 h 863"/>
              <a:gd name="T68" fmla="*/ 376663802 w 2006"/>
              <a:gd name="T69" fmla="*/ 109664857 h 863"/>
              <a:gd name="T70" fmla="*/ 372670907 w 2006"/>
              <a:gd name="T71" fmla="*/ 111038944 h 863"/>
              <a:gd name="T72" fmla="*/ 373241258 w 2006"/>
              <a:gd name="T73" fmla="*/ 116811055 h 863"/>
              <a:gd name="T74" fmla="*/ 377424270 w 2006"/>
              <a:gd name="T75" fmla="*/ 128079515 h 863"/>
              <a:gd name="T76" fmla="*/ 376283567 w 2006"/>
              <a:gd name="T77" fmla="*/ 131378163 h 863"/>
              <a:gd name="T78" fmla="*/ 368678012 w 2006"/>
              <a:gd name="T79" fmla="*/ 132202301 h 863"/>
              <a:gd name="T80" fmla="*/ 359931754 w 2006"/>
              <a:gd name="T81" fmla="*/ 130278789 h 863"/>
              <a:gd name="T82" fmla="*/ 354417487 w 2006"/>
              <a:gd name="T83" fmla="*/ 130278789 h 863"/>
              <a:gd name="T84" fmla="*/ 357079562 w 2006"/>
              <a:gd name="T85" fmla="*/ 150617483 h 863"/>
              <a:gd name="T86" fmla="*/ 357459796 w 2006"/>
              <a:gd name="T87" fmla="*/ 161061805 h 863"/>
              <a:gd name="T88" fmla="*/ 340157397 w 2006"/>
              <a:gd name="T89" fmla="*/ 161611230 h 863"/>
              <a:gd name="T90" fmla="*/ 336164066 w 2006"/>
              <a:gd name="T91" fmla="*/ 166008729 h 863"/>
              <a:gd name="T92" fmla="*/ 341298100 w 2006"/>
              <a:gd name="T93" fmla="*/ 170131516 h 863"/>
              <a:gd name="T94" fmla="*/ 344910760 w 2006"/>
              <a:gd name="T95" fmla="*/ 178651801 h 863"/>
              <a:gd name="T96" fmla="*/ 348713538 w 2006"/>
              <a:gd name="T97" fmla="*/ 189371360 h 863"/>
              <a:gd name="T98" fmla="*/ 349283889 w 2006"/>
              <a:gd name="T99" fmla="*/ 194043571 h 863"/>
              <a:gd name="T100" fmla="*/ 349283889 w 2006"/>
              <a:gd name="T101" fmla="*/ 207236592 h 863"/>
              <a:gd name="T102" fmla="*/ 331030469 w 2006"/>
              <a:gd name="T103" fmla="*/ 203388518 h 863"/>
              <a:gd name="T104" fmla="*/ 280453656 w 2006"/>
              <a:gd name="T105" fmla="*/ 209984767 h 863"/>
              <a:gd name="T106" fmla="*/ 250221988 w 2006"/>
              <a:gd name="T107" fmla="*/ 218505052 h 863"/>
              <a:gd name="T108" fmla="*/ 217137691 w 2006"/>
              <a:gd name="T109" fmla="*/ 230323461 h 863"/>
              <a:gd name="T110" fmla="*/ 183103245 w 2006"/>
              <a:gd name="T111" fmla="*/ 191570109 h 863"/>
              <a:gd name="T112" fmla="*/ 130054474 w 2006"/>
              <a:gd name="T113" fmla="*/ 161061805 h 863"/>
              <a:gd name="T114" fmla="*/ 111040586 w 2006"/>
              <a:gd name="T115" fmla="*/ 228674661 h 863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0" t="0" r="r" b="b"/>
            <a:pathLst>
              <a:path w="2006" h="863">
                <a:moveTo>
                  <a:pt x="571" y="826"/>
                </a:moveTo>
                <a:lnTo>
                  <a:pt x="538" y="826"/>
                </a:lnTo>
                <a:lnTo>
                  <a:pt x="512" y="789"/>
                </a:lnTo>
                <a:lnTo>
                  <a:pt x="438" y="764"/>
                </a:lnTo>
                <a:lnTo>
                  <a:pt x="433" y="765"/>
                </a:lnTo>
                <a:lnTo>
                  <a:pt x="427" y="766"/>
                </a:lnTo>
                <a:lnTo>
                  <a:pt x="424" y="767"/>
                </a:lnTo>
                <a:lnTo>
                  <a:pt x="421" y="767"/>
                </a:lnTo>
                <a:lnTo>
                  <a:pt x="416" y="766"/>
                </a:lnTo>
                <a:lnTo>
                  <a:pt x="412" y="764"/>
                </a:lnTo>
                <a:lnTo>
                  <a:pt x="405" y="772"/>
                </a:lnTo>
                <a:lnTo>
                  <a:pt x="397" y="778"/>
                </a:lnTo>
                <a:lnTo>
                  <a:pt x="393" y="782"/>
                </a:lnTo>
                <a:lnTo>
                  <a:pt x="391" y="786"/>
                </a:lnTo>
                <a:lnTo>
                  <a:pt x="390" y="794"/>
                </a:lnTo>
                <a:lnTo>
                  <a:pt x="392" y="802"/>
                </a:lnTo>
                <a:lnTo>
                  <a:pt x="386" y="800"/>
                </a:lnTo>
                <a:lnTo>
                  <a:pt x="381" y="798"/>
                </a:lnTo>
                <a:lnTo>
                  <a:pt x="378" y="795"/>
                </a:lnTo>
                <a:lnTo>
                  <a:pt x="375" y="792"/>
                </a:lnTo>
                <a:lnTo>
                  <a:pt x="372" y="787"/>
                </a:lnTo>
                <a:lnTo>
                  <a:pt x="371" y="783"/>
                </a:lnTo>
                <a:lnTo>
                  <a:pt x="370" y="778"/>
                </a:lnTo>
                <a:lnTo>
                  <a:pt x="369" y="773"/>
                </a:lnTo>
                <a:lnTo>
                  <a:pt x="370" y="751"/>
                </a:lnTo>
                <a:lnTo>
                  <a:pt x="372" y="727"/>
                </a:lnTo>
                <a:lnTo>
                  <a:pt x="352" y="727"/>
                </a:lnTo>
                <a:lnTo>
                  <a:pt x="332" y="726"/>
                </a:lnTo>
                <a:lnTo>
                  <a:pt x="327" y="725"/>
                </a:lnTo>
                <a:lnTo>
                  <a:pt x="324" y="724"/>
                </a:lnTo>
                <a:lnTo>
                  <a:pt x="321" y="722"/>
                </a:lnTo>
                <a:lnTo>
                  <a:pt x="318" y="719"/>
                </a:lnTo>
                <a:lnTo>
                  <a:pt x="315" y="716"/>
                </a:lnTo>
                <a:lnTo>
                  <a:pt x="313" y="712"/>
                </a:lnTo>
                <a:lnTo>
                  <a:pt x="312" y="708"/>
                </a:lnTo>
                <a:lnTo>
                  <a:pt x="312" y="703"/>
                </a:lnTo>
                <a:lnTo>
                  <a:pt x="305" y="702"/>
                </a:lnTo>
                <a:lnTo>
                  <a:pt x="299" y="700"/>
                </a:lnTo>
                <a:lnTo>
                  <a:pt x="293" y="697"/>
                </a:lnTo>
                <a:lnTo>
                  <a:pt x="288" y="692"/>
                </a:lnTo>
                <a:lnTo>
                  <a:pt x="280" y="682"/>
                </a:lnTo>
                <a:lnTo>
                  <a:pt x="273" y="668"/>
                </a:lnTo>
                <a:lnTo>
                  <a:pt x="265" y="656"/>
                </a:lnTo>
                <a:lnTo>
                  <a:pt x="256" y="646"/>
                </a:lnTo>
                <a:lnTo>
                  <a:pt x="251" y="641"/>
                </a:lnTo>
                <a:lnTo>
                  <a:pt x="245" y="638"/>
                </a:lnTo>
                <a:lnTo>
                  <a:pt x="240" y="636"/>
                </a:lnTo>
                <a:lnTo>
                  <a:pt x="232" y="635"/>
                </a:lnTo>
                <a:lnTo>
                  <a:pt x="232" y="623"/>
                </a:lnTo>
                <a:lnTo>
                  <a:pt x="232" y="610"/>
                </a:lnTo>
                <a:lnTo>
                  <a:pt x="239" y="608"/>
                </a:lnTo>
                <a:lnTo>
                  <a:pt x="245" y="604"/>
                </a:lnTo>
                <a:lnTo>
                  <a:pt x="251" y="600"/>
                </a:lnTo>
                <a:lnTo>
                  <a:pt x="253" y="598"/>
                </a:lnTo>
                <a:lnTo>
                  <a:pt x="253" y="594"/>
                </a:lnTo>
                <a:lnTo>
                  <a:pt x="254" y="591"/>
                </a:lnTo>
                <a:lnTo>
                  <a:pt x="256" y="588"/>
                </a:lnTo>
                <a:lnTo>
                  <a:pt x="259" y="585"/>
                </a:lnTo>
                <a:lnTo>
                  <a:pt x="268" y="578"/>
                </a:lnTo>
                <a:lnTo>
                  <a:pt x="279" y="573"/>
                </a:lnTo>
                <a:lnTo>
                  <a:pt x="292" y="568"/>
                </a:lnTo>
                <a:lnTo>
                  <a:pt x="309" y="564"/>
                </a:lnTo>
                <a:lnTo>
                  <a:pt x="326" y="561"/>
                </a:lnTo>
                <a:lnTo>
                  <a:pt x="345" y="561"/>
                </a:lnTo>
                <a:lnTo>
                  <a:pt x="338" y="544"/>
                </a:lnTo>
                <a:lnTo>
                  <a:pt x="330" y="529"/>
                </a:lnTo>
                <a:lnTo>
                  <a:pt x="325" y="520"/>
                </a:lnTo>
                <a:lnTo>
                  <a:pt x="322" y="511"/>
                </a:lnTo>
                <a:lnTo>
                  <a:pt x="320" y="499"/>
                </a:lnTo>
                <a:lnTo>
                  <a:pt x="319" y="487"/>
                </a:lnTo>
                <a:lnTo>
                  <a:pt x="307" y="486"/>
                </a:lnTo>
                <a:lnTo>
                  <a:pt x="293" y="484"/>
                </a:lnTo>
                <a:lnTo>
                  <a:pt x="281" y="481"/>
                </a:lnTo>
                <a:lnTo>
                  <a:pt x="269" y="478"/>
                </a:lnTo>
                <a:lnTo>
                  <a:pt x="258" y="475"/>
                </a:lnTo>
                <a:lnTo>
                  <a:pt x="247" y="472"/>
                </a:lnTo>
                <a:lnTo>
                  <a:pt x="236" y="470"/>
                </a:lnTo>
                <a:lnTo>
                  <a:pt x="225" y="469"/>
                </a:lnTo>
                <a:lnTo>
                  <a:pt x="218" y="469"/>
                </a:lnTo>
                <a:lnTo>
                  <a:pt x="209" y="470"/>
                </a:lnTo>
                <a:lnTo>
                  <a:pt x="201" y="472"/>
                </a:lnTo>
                <a:lnTo>
                  <a:pt x="195" y="474"/>
                </a:lnTo>
                <a:lnTo>
                  <a:pt x="180" y="480"/>
                </a:lnTo>
                <a:lnTo>
                  <a:pt x="168" y="487"/>
                </a:lnTo>
                <a:lnTo>
                  <a:pt x="157" y="495"/>
                </a:lnTo>
                <a:lnTo>
                  <a:pt x="146" y="505"/>
                </a:lnTo>
                <a:lnTo>
                  <a:pt x="136" y="515"/>
                </a:lnTo>
                <a:lnTo>
                  <a:pt x="127" y="524"/>
                </a:lnTo>
                <a:lnTo>
                  <a:pt x="133" y="512"/>
                </a:lnTo>
                <a:lnTo>
                  <a:pt x="106" y="505"/>
                </a:lnTo>
                <a:lnTo>
                  <a:pt x="133" y="487"/>
                </a:lnTo>
                <a:lnTo>
                  <a:pt x="106" y="463"/>
                </a:lnTo>
                <a:lnTo>
                  <a:pt x="79" y="438"/>
                </a:lnTo>
                <a:lnTo>
                  <a:pt x="40" y="438"/>
                </a:lnTo>
                <a:lnTo>
                  <a:pt x="27" y="413"/>
                </a:lnTo>
                <a:lnTo>
                  <a:pt x="7" y="401"/>
                </a:lnTo>
                <a:lnTo>
                  <a:pt x="0" y="370"/>
                </a:lnTo>
                <a:lnTo>
                  <a:pt x="0" y="333"/>
                </a:lnTo>
                <a:lnTo>
                  <a:pt x="13" y="308"/>
                </a:lnTo>
                <a:lnTo>
                  <a:pt x="20" y="283"/>
                </a:lnTo>
                <a:lnTo>
                  <a:pt x="53" y="302"/>
                </a:lnTo>
                <a:lnTo>
                  <a:pt x="86" y="314"/>
                </a:lnTo>
                <a:lnTo>
                  <a:pt x="106" y="308"/>
                </a:lnTo>
                <a:lnTo>
                  <a:pt x="79" y="277"/>
                </a:lnTo>
                <a:lnTo>
                  <a:pt x="113" y="259"/>
                </a:lnTo>
                <a:lnTo>
                  <a:pt x="146" y="228"/>
                </a:lnTo>
                <a:lnTo>
                  <a:pt x="179" y="222"/>
                </a:lnTo>
                <a:lnTo>
                  <a:pt x="219" y="222"/>
                </a:lnTo>
                <a:lnTo>
                  <a:pt x="246" y="210"/>
                </a:lnTo>
                <a:lnTo>
                  <a:pt x="292" y="222"/>
                </a:lnTo>
                <a:lnTo>
                  <a:pt x="338" y="241"/>
                </a:lnTo>
                <a:lnTo>
                  <a:pt x="379" y="277"/>
                </a:lnTo>
                <a:lnTo>
                  <a:pt x="425" y="271"/>
                </a:lnTo>
                <a:lnTo>
                  <a:pt x="465" y="253"/>
                </a:lnTo>
                <a:lnTo>
                  <a:pt x="498" y="253"/>
                </a:lnTo>
                <a:lnTo>
                  <a:pt x="538" y="247"/>
                </a:lnTo>
                <a:lnTo>
                  <a:pt x="578" y="265"/>
                </a:lnTo>
                <a:lnTo>
                  <a:pt x="624" y="277"/>
                </a:lnTo>
                <a:lnTo>
                  <a:pt x="671" y="271"/>
                </a:lnTo>
                <a:lnTo>
                  <a:pt x="717" y="253"/>
                </a:lnTo>
                <a:lnTo>
                  <a:pt x="717" y="228"/>
                </a:lnTo>
                <a:lnTo>
                  <a:pt x="684" y="222"/>
                </a:lnTo>
                <a:lnTo>
                  <a:pt x="645" y="210"/>
                </a:lnTo>
                <a:lnTo>
                  <a:pt x="617" y="198"/>
                </a:lnTo>
                <a:lnTo>
                  <a:pt x="658" y="185"/>
                </a:lnTo>
                <a:lnTo>
                  <a:pt x="651" y="148"/>
                </a:lnTo>
                <a:lnTo>
                  <a:pt x="704" y="142"/>
                </a:lnTo>
                <a:lnTo>
                  <a:pt x="638" y="93"/>
                </a:lnTo>
                <a:lnTo>
                  <a:pt x="744" y="75"/>
                </a:lnTo>
                <a:lnTo>
                  <a:pt x="830" y="68"/>
                </a:lnTo>
                <a:lnTo>
                  <a:pt x="844" y="43"/>
                </a:lnTo>
                <a:lnTo>
                  <a:pt x="904" y="37"/>
                </a:lnTo>
                <a:lnTo>
                  <a:pt x="963" y="25"/>
                </a:lnTo>
                <a:lnTo>
                  <a:pt x="983" y="0"/>
                </a:lnTo>
                <a:lnTo>
                  <a:pt x="1050" y="13"/>
                </a:lnTo>
                <a:lnTo>
                  <a:pt x="1089" y="6"/>
                </a:lnTo>
                <a:lnTo>
                  <a:pt x="1116" y="25"/>
                </a:lnTo>
                <a:lnTo>
                  <a:pt x="1122" y="75"/>
                </a:lnTo>
                <a:lnTo>
                  <a:pt x="1163" y="75"/>
                </a:lnTo>
                <a:lnTo>
                  <a:pt x="1176" y="61"/>
                </a:lnTo>
                <a:lnTo>
                  <a:pt x="1196" y="75"/>
                </a:lnTo>
                <a:lnTo>
                  <a:pt x="1235" y="81"/>
                </a:lnTo>
                <a:lnTo>
                  <a:pt x="1255" y="81"/>
                </a:lnTo>
                <a:lnTo>
                  <a:pt x="1255" y="117"/>
                </a:lnTo>
                <a:lnTo>
                  <a:pt x="1296" y="111"/>
                </a:lnTo>
                <a:lnTo>
                  <a:pt x="1335" y="93"/>
                </a:lnTo>
                <a:lnTo>
                  <a:pt x="1375" y="61"/>
                </a:lnTo>
                <a:lnTo>
                  <a:pt x="1401" y="49"/>
                </a:lnTo>
                <a:lnTo>
                  <a:pt x="1401" y="81"/>
                </a:lnTo>
                <a:lnTo>
                  <a:pt x="1442" y="99"/>
                </a:lnTo>
                <a:lnTo>
                  <a:pt x="1488" y="117"/>
                </a:lnTo>
                <a:lnTo>
                  <a:pt x="1528" y="160"/>
                </a:lnTo>
                <a:lnTo>
                  <a:pt x="1581" y="204"/>
                </a:lnTo>
                <a:lnTo>
                  <a:pt x="1627" y="241"/>
                </a:lnTo>
                <a:lnTo>
                  <a:pt x="1647" y="271"/>
                </a:lnTo>
                <a:lnTo>
                  <a:pt x="1660" y="241"/>
                </a:lnTo>
                <a:lnTo>
                  <a:pt x="1688" y="235"/>
                </a:lnTo>
                <a:lnTo>
                  <a:pt x="1708" y="259"/>
                </a:lnTo>
                <a:lnTo>
                  <a:pt x="1747" y="271"/>
                </a:lnTo>
                <a:lnTo>
                  <a:pt x="1793" y="265"/>
                </a:lnTo>
                <a:lnTo>
                  <a:pt x="1821" y="253"/>
                </a:lnTo>
                <a:lnTo>
                  <a:pt x="1860" y="283"/>
                </a:lnTo>
                <a:lnTo>
                  <a:pt x="1906" y="308"/>
                </a:lnTo>
                <a:lnTo>
                  <a:pt x="1947" y="333"/>
                </a:lnTo>
                <a:lnTo>
                  <a:pt x="2000" y="339"/>
                </a:lnTo>
                <a:lnTo>
                  <a:pt x="2006" y="346"/>
                </a:lnTo>
                <a:lnTo>
                  <a:pt x="2005" y="358"/>
                </a:lnTo>
                <a:lnTo>
                  <a:pt x="2004" y="373"/>
                </a:lnTo>
                <a:lnTo>
                  <a:pt x="2004" y="377"/>
                </a:lnTo>
                <a:lnTo>
                  <a:pt x="2002" y="381"/>
                </a:lnTo>
                <a:lnTo>
                  <a:pt x="2000" y="385"/>
                </a:lnTo>
                <a:lnTo>
                  <a:pt x="1996" y="388"/>
                </a:lnTo>
                <a:lnTo>
                  <a:pt x="1993" y="392"/>
                </a:lnTo>
                <a:lnTo>
                  <a:pt x="1988" y="395"/>
                </a:lnTo>
                <a:lnTo>
                  <a:pt x="1981" y="399"/>
                </a:lnTo>
                <a:lnTo>
                  <a:pt x="1973" y="401"/>
                </a:lnTo>
                <a:lnTo>
                  <a:pt x="1969" y="401"/>
                </a:lnTo>
                <a:lnTo>
                  <a:pt x="1965" y="402"/>
                </a:lnTo>
                <a:lnTo>
                  <a:pt x="1962" y="403"/>
                </a:lnTo>
                <a:lnTo>
                  <a:pt x="1960" y="404"/>
                </a:lnTo>
                <a:lnTo>
                  <a:pt x="1959" y="406"/>
                </a:lnTo>
                <a:lnTo>
                  <a:pt x="1958" y="408"/>
                </a:lnTo>
                <a:lnTo>
                  <a:pt x="1958" y="410"/>
                </a:lnTo>
                <a:lnTo>
                  <a:pt x="1958" y="413"/>
                </a:lnTo>
                <a:lnTo>
                  <a:pt x="1963" y="425"/>
                </a:lnTo>
                <a:lnTo>
                  <a:pt x="1972" y="438"/>
                </a:lnTo>
                <a:lnTo>
                  <a:pt x="1977" y="445"/>
                </a:lnTo>
                <a:lnTo>
                  <a:pt x="1981" y="452"/>
                </a:lnTo>
                <a:lnTo>
                  <a:pt x="1983" y="460"/>
                </a:lnTo>
                <a:lnTo>
                  <a:pt x="1985" y="466"/>
                </a:lnTo>
                <a:lnTo>
                  <a:pt x="1985" y="469"/>
                </a:lnTo>
                <a:lnTo>
                  <a:pt x="1984" y="471"/>
                </a:lnTo>
                <a:lnTo>
                  <a:pt x="1983" y="474"/>
                </a:lnTo>
                <a:lnTo>
                  <a:pt x="1982" y="476"/>
                </a:lnTo>
                <a:lnTo>
                  <a:pt x="1979" y="478"/>
                </a:lnTo>
                <a:lnTo>
                  <a:pt x="1976" y="479"/>
                </a:lnTo>
                <a:lnTo>
                  <a:pt x="1971" y="480"/>
                </a:lnTo>
                <a:lnTo>
                  <a:pt x="1967" y="481"/>
                </a:lnTo>
                <a:lnTo>
                  <a:pt x="1954" y="481"/>
                </a:lnTo>
                <a:lnTo>
                  <a:pt x="1939" y="481"/>
                </a:lnTo>
                <a:lnTo>
                  <a:pt x="1932" y="481"/>
                </a:lnTo>
                <a:lnTo>
                  <a:pt x="1923" y="480"/>
                </a:lnTo>
                <a:lnTo>
                  <a:pt x="1913" y="478"/>
                </a:lnTo>
                <a:lnTo>
                  <a:pt x="1903" y="476"/>
                </a:lnTo>
                <a:lnTo>
                  <a:pt x="1893" y="474"/>
                </a:lnTo>
                <a:lnTo>
                  <a:pt x="1883" y="471"/>
                </a:lnTo>
                <a:lnTo>
                  <a:pt x="1875" y="467"/>
                </a:lnTo>
                <a:lnTo>
                  <a:pt x="1867" y="463"/>
                </a:lnTo>
                <a:lnTo>
                  <a:pt x="1865" y="468"/>
                </a:lnTo>
                <a:lnTo>
                  <a:pt x="1864" y="474"/>
                </a:lnTo>
                <a:lnTo>
                  <a:pt x="1865" y="482"/>
                </a:lnTo>
                <a:lnTo>
                  <a:pt x="1865" y="490"/>
                </a:lnTo>
                <a:lnTo>
                  <a:pt x="1869" y="508"/>
                </a:lnTo>
                <a:lnTo>
                  <a:pt x="1873" y="529"/>
                </a:lnTo>
                <a:lnTo>
                  <a:pt x="1878" y="548"/>
                </a:lnTo>
                <a:lnTo>
                  <a:pt x="1882" y="564"/>
                </a:lnTo>
                <a:lnTo>
                  <a:pt x="1882" y="572"/>
                </a:lnTo>
                <a:lnTo>
                  <a:pt x="1882" y="578"/>
                </a:lnTo>
                <a:lnTo>
                  <a:pt x="1882" y="583"/>
                </a:lnTo>
                <a:lnTo>
                  <a:pt x="1880" y="586"/>
                </a:lnTo>
                <a:lnTo>
                  <a:pt x="1854" y="584"/>
                </a:lnTo>
                <a:lnTo>
                  <a:pt x="1816" y="584"/>
                </a:lnTo>
                <a:lnTo>
                  <a:pt x="1806" y="585"/>
                </a:lnTo>
                <a:lnTo>
                  <a:pt x="1798" y="586"/>
                </a:lnTo>
                <a:lnTo>
                  <a:pt x="1789" y="588"/>
                </a:lnTo>
                <a:lnTo>
                  <a:pt x="1782" y="591"/>
                </a:lnTo>
                <a:lnTo>
                  <a:pt x="1776" y="594"/>
                </a:lnTo>
                <a:lnTo>
                  <a:pt x="1771" y="598"/>
                </a:lnTo>
                <a:lnTo>
                  <a:pt x="1769" y="601"/>
                </a:lnTo>
                <a:lnTo>
                  <a:pt x="1768" y="604"/>
                </a:lnTo>
                <a:lnTo>
                  <a:pt x="1767" y="607"/>
                </a:lnTo>
                <a:lnTo>
                  <a:pt x="1767" y="610"/>
                </a:lnTo>
                <a:lnTo>
                  <a:pt x="1778" y="612"/>
                </a:lnTo>
                <a:lnTo>
                  <a:pt x="1788" y="615"/>
                </a:lnTo>
                <a:lnTo>
                  <a:pt x="1795" y="619"/>
                </a:lnTo>
                <a:lnTo>
                  <a:pt x="1801" y="625"/>
                </a:lnTo>
                <a:lnTo>
                  <a:pt x="1805" y="631"/>
                </a:lnTo>
                <a:lnTo>
                  <a:pt x="1809" y="637"/>
                </a:lnTo>
                <a:lnTo>
                  <a:pt x="1812" y="644"/>
                </a:lnTo>
                <a:lnTo>
                  <a:pt x="1814" y="650"/>
                </a:lnTo>
                <a:lnTo>
                  <a:pt x="1817" y="664"/>
                </a:lnTo>
                <a:lnTo>
                  <a:pt x="1822" y="676"/>
                </a:lnTo>
                <a:lnTo>
                  <a:pt x="1824" y="682"/>
                </a:lnTo>
                <a:lnTo>
                  <a:pt x="1828" y="686"/>
                </a:lnTo>
                <a:lnTo>
                  <a:pt x="1834" y="689"/>
                </a:lnTo>
                <a:lnTo>
                  <a:pt x="1840" y="691"/>
                </a:lnTo>
                <a:lnTo>
                  <a:pt x="1838" y="695"/>
                </a:lnTo>
                <a:lnTo>
                  <a:pt x="1837" y="699"/>
                </a:lnTo>
                <a:lnTo>
                  <a:pt x="1837" y="702"/>
                </a:lnTo>
                <a:lnTo>
                  <a:pt x="1837" y="706"/>
                </a:lnTo>
                <a:lnTo>
                  <a:pt x="1839" y="713"/>
                </a:lnTo>
                <a:lnTo>
                  <a:pt x="1840" y="721"/>
                </a:lnTo>
                <a:lnTo>
                  <a:pt x="1840" y="735"/>
                </a:lnTo>
                <a:lnTo>
                  <a:pt x="1838" y="748"/>
                </a:lnTo>
                <a:lnTo>
                  <a:pt x="1837" y="754"/>
                </a:lnTo>
                <a:lnTo>
                  <a:pt x="1835" y="760"/>
                </a:lnTo>
                <a:lnTo>
                  <a:pt x="1832" y="765"/>
                </a:lnTo>
                <a:lnTo>
                  <a:pt x="1827" y="770"/>
                </a:lnTo>
                <a:lnTo>
                  <a:pt x="1814" y="764"/>
                </a:lnTo>
                <a:lnTo>
                  <a:pt x="1741" y="740"/>
                </a:lnTo>
                <a:lnTo>
                  <a:pt x="1674" y="740"/>
                </a:lnTo>
                <a:lnTo>
                  <a:pt x="1614" y="734"/>
                </a:lnTo>
                <a:lnTo>
                  <a:pt x="1534" y="727"/>
                </a:lnTo>
                <a:lnTo>
                  <a:pt x="1488" y="715"/>
                </a:lnTo>
                <a:lnTo>
                  <a:pt x="1475" y="764"/>
                </a:lnTo>
                <a:lnTo>
                  <a:pt x="1414" y="740"/>
                </a:lnTo>
                <a:lnTo>
                  <a:pt x="1368" y="734"/>
                </a:lnTo>
                <a:lnTo>
                  <a:pt x="1342" y="758"/>
                </a:lnTo>
                <a:lnTo>
                  <a:pt x="1342" y="770"/>
                </a:lnTo>
                <a:lnTo>
                  <a:pt x="1316" y="795"/>
                </a:lnTo>
                <a:lnTo>
                  <a:pt x="1282" y="808"/>
                </a:lnTo>
                <a:lnTo>
                  <a:pt x="1255" y="838"/>
                </a:lnTo>
                <a:lnTo>
                  <a:pt x="1235" y="863"/>
                </a:lnTo>
                <a:lnTo>
                  <a:pt x="1196" y="832"/>
                </a:lnTo>
                <a:lnTo>
                  <a:pt x="1142" y="838"/>
                </a:lnTo>
                <a:lnTo>
                  <a:pt x="1122" y="808"/>
                </a:lnTo>
                <a:lnTo>
                  <a:pt x="1083" y="746"/>
                </a:lnTo>
                <a:lnTo>
                  <a:pt x="1050" y="715"/>
                </a:lnTo>
                <a:lnTo>
                  <a:pt x="1003" y="685"/>
                </a:lnTo>
                <a:lnTo>
                  <a:pt x="963" y="697"/>
                </a:lnTo>
                <a:lnTo>
                  <a:pt x="917" y="691"/>
                </a:lnTo>
                <a:lnTo>
                  <a:pt x="857" y="697"/>
                </a:lnTo>
                <a:lnTo>
                  <a:pt x="730" y="616"/>
                </a:lnTo>
                <a:lnTo>
                  <a:pt x="682" y="595"/>
                </a:lnTo>
                <a:lnTo>
                  <a:pt x="684" y="586"/>
                </a:lnTo>
                <a:lnTo>
                  <a:pt x="638" y="548"/>
                </a:lnTo>
                <a:lnTo>
                  <a:pt x="610" y="580"/>
                </a:lnTo>
                <a:lnTo>
                  <a:pt x="525" y="604"/>
                </a:lnTo>
                <a:lnTo>
                  <a:pt x="565" y="826"/>
                </a:lnTo>
                <a:lnTo>
                  <a:pt x="584" y="832"/>
                </a:lnTo>
                <a:lnTo>
                  <a:pt x="571" y="82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 dirty="0"/>
          </a:p>
        </p:txBody>
      </p:sp>
      <p:sp>
        <p:nvSpPr>
          <p:cNvPr id="29" name="Freeform 31"/>
          <p:cNvSpPr>
            <a:spLocks/>
          </p:cNvSpPr>
          <p:nvPr>
            <p:custDataLst>
              <p:tags r:id="rId13"/>
            </p:custDataLst>
          </p:nvPr>
        </p:nvSpPr>
        <p:spPr bwMode="auto">
          <a:xfrm>
            <a:off x="2596764" y="4005413"/>
            <a:ext cx="507873" cy="339961"/>
          </a:xfrm>
          <a:custGeom>
            <a:avLst/>
            <a:gdLst>
              <a:gd name="T0" fmla="*/ 118587914 w 950"/>
              <a:gd name="T1" fmla="*/ 125643645 h 468"/>
              <a:gd name="T2" fmla="*/ 103717755 w 950"/>
              <a:gd name="T3" fmla="*/ 118553144 h 468"/>
              <a:gd name="T4" fmla="*/ 87546872 w 950"/>
              <a:gd name="T5" fmla="*/ 106640845 h 468"/>
              <a:gd name="T6" fmla="*/ 72862961 w 950"/>
              <a:gd name="T7" fmla="*/ 87071402 h 468"/>
              <a:gd name="T8" fmla="*/ 56691647 w 950"/>
              <a:gd name="T9" fmla="*/ 73173721 h 468"/>
              <a:gd name="T10" fmla="*/ 47026108 w 950"/>
              <a:gd name="T11" fmla="*/ 59276572 h 468"/>
              <a:gd name="T12" fmla="*/ 34572441 w 950"/>
              <a:gd name="T13" fmla="*/ 48782480 h 468"/>
              <a:gd name="T14" fmla="*/ 24721516 w 950"/>
              <a:gd name="T15" fmla="*/ 53887599 h 468"/>
              <a:gd name="T16" fmla="*/ 18401558 w 950"/>
              <a:gd name="T17" fmla="*/ 68068602 h 468"/>
              <a:gd name="T18" fmla="*/ 7434864 w 950"/>
              <a:gd name="T19" fmla="*/ 69770663 h 468"/>
              <a:gd name="T20" fmla="*/ 0 w 950"/>
              <a:gd name="T21" fmla="*/ 6806647 h 468"/>
              <a:gd name="T22" fmla="*/ 14683910 w 950"/>
              <a:gd name="T23" fmla="*/ 1701529 h 468"/>
              <a:gd name="T24" fmla="*/ 24721516 w 950"/>
              <a:gd name="T25" fmla="*/ 15599210 h 468"/>
              <a:gd name="T26" fmla="*/ 29182434 w 950"/>
              <a:gd name="T27" fmla="*/ 4254088 h 468"/>
              <a:gd name="T28" fmla="*/ 61710450 w 950"/>
              <a:gd name="T29" fmla="*/ 33183803 h 468"/>
              <a:gd name="T30" fmla="*/ 81413163 w 950"/>
              <a:gd name="T31" fmla="*/ 33183803 h 468"/>
              <a:gd name="T32" fmla="*/ 97584046 w 950"/>
              <a:gd name="T33" fmla="*/ 38288921 h 468"/>
              <a:gd name="T34" fmla="*/ 110967233 w 950"/>
              <a:gd name="T35" fmla="*/ 64665545 h 468"/>
              <a:gd name="T36" fmla="*/ 124721623 w 950"/>
              <a:gd name="T37" fmla="*/ 71472192 h 468"/>
              <a:gd name="T38" fmla="*/ 135688317 w 950"/>
              <a:gd name="T39" fmla="*/ 73173721 h 468"/>
              <a:gd name="T40" fmla="*/ 147026647 w 950"/>
              <a:gd name="T41" fmla="*/ 60978100 h 468"/>
              <a:gd name="T42" fmla="*/ 156692186 w 950"/>
              <a:gd name="T43" fmla="*/ 55589660 h 468"/>
              <a:gd name="T44" fmla="*/ 153160356 w 950"/>
              <a:gd name="T45" fmla="*/ 71472192 h 468"/>
              <a:gd name="T46" fmla="*/ 161710557 w 950"/>
              <a:gd name="T47" fmla="*/ 68068602 h 468"/>
              <a:gd name="T48" fmla="*/ 176580716 w 950"/>
              <a:gd name="T49" fmla="*/ 80264222 h 468"/>
              <a:gd name="T50" fmla="*/ 164127050 w 950"/>
              <a:gd name="T51" fmla="*/ 90758314 h 468"/>
              <a:gd name="T52" fmla="*/ 153160356 w 950"/>
              <a:gd name="T53" fmla="*/ 80264222 h 468"/>
              <a:gd name="T54" fmla="*/ 142008275 w 950"/>
              <a:gd name="T55" fmla="*/ 78562693 h 468"/>
              <a:gd name="T56" fmla="*/ 136989472 w 950"/>
              <a:gd name="T57" fmla="*/ 90758314 h 468"/>
              <a:gd name="T58" fmla="*/ 127138116 w 950"/>
              <a:gd name="T59" fmla="*/ 101252405 h 468"/>
              <a:gd name="T60" fmla="*/ 131970670 w 950"/>
              <a:gd name="T61" fmla="*/ 110044435 h 468"/>
              <a:gd name="T62" fmla="*/ 138104810 w 950"/>
              <a:gd name="T63" fmla="*/ 123942116 h 468"/>
              <a:gd name="T64" fmla="*/ 133271825 w 950"/>
              <a:gd name="T65" fmla="*/ 132734147 h 468"/>
              <a:gd name="T66" fmla="*/ 130669946 w 950"/>
              <a:gd name="T67" fmla="*/ 131883116 h 468"/>
              <a:gd name="T68" fmla="*/ 127138116 w 950"/>
              <a:gd name="T69" fmla="*/ 130748764 h 468"/>
              <a:gd name="T70" fmla="*/ 122305562 w 950"/>
              <a:gd name="T71" fmla="*/ 130748764 h 468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</a:gdLst>
            <a:ahLst/>
            <a:cxnLst>
              <a:cxn ang="T72">
                <a:pos x="T0" y="T1"/>
              </a:cxn>
              <a:cxn ang="T73">
                <a:pos x="T2" y="T3"/>
              </a:cxn>
              <a:cxn ang="T74">
                <a:pos x="T4" y="T5"/>
              </a:cxn>
              <a:cxn ang="T75">
                <a:pos x="T6" y="T7"/>
              </a:cxn>
              <a:cxn ang="T76">
                <a:pos x="T8" y="T9"/>
              </a:cxn>
              <a:cxn ang="T77">
                <a:pos x="T10" y="T11"/>
              </a:cxn>
              <a:cxn ang="T78">
                <a:pos x="T12" y="T13"/>
              </a:cxn>
              <a:cxn ang="T79">
                <a:pos x="T14" y="T15"/>
              </a:cxn>
              <a:cxn ang="T80">
                <a:pos x="T16" y="T17"/>
              </a:cxn>
              <a:cxn ang="T81">
                <a:pos x="T18" y="T19"/>
              </a:cxn>
              <a:cxn ang="T82">
                <a:pos x="T20" y="T21"/>
              </a:cxn>
              <a:cxn ang="T83">
                <a:pos x="T22" y="T23"/>
              </a:cxn>
              <a:cxn ang="T84">
                <a:pos x="T24" y="T25"/>
              </a:cxn>
              <a:cxn ang="T85">
                <a:pos x="T26" y="T27"/>
              </a:cxn>
              <a:cxn ang="T86">
                <a:pos x="T28" y="T29"/>
              </a:cxn>
              <a:cxn ang="T87">
                <a:pos x="T30" y="T31"/>
              </a:cxn>
              <a:cxn ang="T88">
                <a:pos x="T32" y="T33"/>
              </a:cxn>
              <a:cxn ang="T89">
                <a:pos x="T34" y="T35"/>
              </a:cxn>
              <a:cxn ang="T90">
                <a:pos x="T36" y="T37"/>
              </a:cxn>
              <a:cxn ang="T91">
                <a:pos x="T38" y="T39"/>
              </a:cxn>
              <a:cxn ang="T92">
                <a:pos x="T40" y="T41"/>
              </a:cxn>
              <a:cxn ang="T93">
                <a:pos x="T42" y="T43"/>
              </a:cxn>
              <a:cxn ang="T94">
                <a:pos x="T44" y="T45"/>
              </a:cxn>
              <a:cxn ang="T95">
                <a:pos x="T46" y="T47"/>
              </a:cxn>
              <a:cxn ang="T96">
                <a:pos x="T48" y="T49"/>
              </a:cxn>
              <a:cxn ang="T97">
                <a:pos x="T50" y="T51"/>
              </a:cxn>
              <a:cxn ang="T98">
                <a:pos x="T52" y="T53"/>
              </a:cxn>
              <a:cxn ang="T99">
                <a:pos x="T54" y="T55"/>
              </a:cxn>
              <a:cxn ang="T100">
                <a:pos x="T56" y="T57"/>
              </a:cxn>
              <a:cxn ang="T101">
                <a:pos x="T58" y="T59"/>
              </a:cxn>
              <a:cxn ang="T102">
                <a:pos x="T60" y="T61"/>
              </a:cxn>
              <a:cxn ang="T103">
                <a:pos x="T62" y="T63"/>
              </a:cxn>
              <a:cxn ang="T104">
                <a:pos x="T64" y="T65"/>
              </a:cxn>
              <a:cxn ang="T105">
                <a:pos x="T66" y="T67"/>
              </a:cxn>
              <a:cxn ang="T106">
                <a:pos x="T68" y="T69"/>
              </a:cxn>
              <a:cxn ang="T107">
                <a:pos x="T70" y="T71"/>
              </a:cxn>
            </a:cxnLst>
            <a:rect l="0" t="0" r="r" b="b"/>
            <a:pathLst>
              <a:path w="950" h="468">
                <a:moveTo>
                  <a:pt x="664" y="455"/>
                </a:moveTo>
                <a:lnTo>
                  <a:pt x="638" y="443"/>
                </a:lnTo>
                <a:lnTo>
                  <a:pt x="604" y="431"/>
                </a:lnTo>
                <a:lnTo>
                  <a:pt x="558" y="418"/>
                </a:lnTo>
                <a:lnTo>
                  <a:pt x="512" y="388"/>
                </a:lnTo>
                <a:lnTo>
                  <a:pt x="471" y="376"/>
                </a:lnTo>
                <a:lnTo>
                  <a:pt x="425" y="345"/>
                </a:lnTo>
                <a:lnTo>
                  <a:pt x="392" y="307"/>
                </a:lnTo>
                <a:lnTo>
                  <a:pt x="345" y="258"/>
                </a:lnTo>
                <a:lnTo>
                  <a:pt x="305" y="258"/>
                </a:lnTo>
                <a:lnTo>
                  <a:pt x="266" y="246"/>
                </a:lnTo>
                <a:lnTo>
                  <a:pt x="253" y="209"/>
                </a:lnTo>
                <a:lnTo>
                  <a:pt x="219" y="190"/>
                </a:lnTo>
                <a:lnTo>
                  <a:pt x="186" y="172"/>
                </a:lnTo>
                <a:lnTo>
                  <a:pt x="153" y="166"/>
                </a:lnTo>
                <a:lnTo>
                  <a:pt x="133" y="190"/>
                </a:lnTo>
                <a:lnTo>
                  <a:pt x="92" y="209"/>
                </a:lnTo>
                <a:lnTo>
                  <a:pt x="99" y="240"/>
                </a:lnTo>
                <a:lnTo>
                  <a:pt x="59" y="252"/>
                </a:lnTo>
                <a:lnTo>
                  <a:pt x="40" y="246"/>
                </a:lnTo>
                <a:lnTo>
                  <a:pt x="46" y="240"/>
                </a:lnTo>
                <a:lnTo>
                  <a:pt x="0" y="24"/>
                </a:lnTo>
                <a:lnTo>
                  <a:pt x="85" y="0"/>
                </a:lnTo>
                <a:lnTo>
                  <a:pt x="79" y="6"/>
                </a:lnTo>
                <a:lnTo>
                  <a:pt x="86" y="55"/>
                </a:lnTo>
                <a:lnTo>
                  <a:pt x="133" y="55"/>
                </a:lnTo>
                <a:lnTo>
                  <a:pt x="153" y="30"/>
                </a:lnTo>
                <a:lnTo>
                  <a:pt x="157" y="15"/>
                </a:lnTo>
                <a:lnTo>
                  <a:pt x="205" y="36"/>
                </a:lnTo>
                <a:lnTo>
                  <a:pt x="332" y="117"/>
                </a:lnTo>
                <a:lnTo>
                  <a:pt x="392" y="111"/>
                </a:lnTo>
                <a:lnTo>
                  <a:pt x="438" y="117"/>
                </a:lnTo>
                <a:lnTo>
                  <a:pt x="478" y="105"/>
                </a:lnTo>
                <a:lnTo>
                  <a:pt x="525" y="135"/>
                </a:lnTo>
                <a:lnTo>
                  <a:pt x="558" y="166"/>
                </a:lnTo>
                <a:lnTo>
                  <a:pt x="597" y="228"/>
                </a:lnTo>
                <a:lnTo>
                  <a:pt x="617" y="258"/>
                </a:lnTo>
                <a:lnTo>
                  <a:pt x="671" y="252"/>
                </a:lnTo>
                <a:lnTo>
                  <a:pt x="710" y="283"/>
                </a:lnTo>
                <a:lnTo>
                  <a:pt x="730" y="258"/>
                </a:lnTo>
                <a:lnTo>
                  <a:pt x="757" y="228"/>
                </a:lnTo>
                <a:lnTo>
                  <a:pt x="791" y="215"/>
                </a:lnTo>
                <a:lnTo>
                  <a:pt x="817" y="190"/>
                </a:lnTo>
                <a:lnTo>
                  <a:pt x="843" y="196"/>
                </a:lnTo>
                <a:lnTo>
                  <a:pt x="810" y="228"/>
                </a:lnTo>
                <a:lnTo>
                  <a:pt x="824" y="252"/>
                </a:lnTo>
                <a:lnTo>
                  <a:pt x="850" y="258"/>
                </a:lnTo>
                <a:lnTo>
                  <a:pt x="870" y="240"/>
                </a:lnTo>
                <a:lnTo>
                  <a:pt x="910" y="258"/>
                </a:lnTo>
                <a:lnTo>
                  <a:pt x="950" y="283"/>
                </a:lnTo>
                <a:lnTo>
                  <a:pt x="917" y="313"/>
                </a:lnTo>
                <a:lnTo>
                  <a:pt x="883" y="320"/>
                </a:lnTo>
                <a:lnTo>
                  <a:pt x="837" y="313"/>
                </a:lnTo>
                <a:lnTo>
                  <a:pt x="824" y="283"/>
                </a:lnTo>
                <a:lnTo>
                  <a:pt x="804" y="271"/>
                </a:lnTo>
                <a:lnTo>
                  <a:pt x="764" y="277"/>
                </a:lnTo>
                <a:lnTo>
                  <a:pt x="757" y="301"/>
                </a:lnTo>
                <a:lnTo>
                  <a:pt x="737" y="320"/>
                </a:lnTo>
                <a:lnTo>
                  <a:pt x="724" y="351"/>
                </a:lnTo>
                <a:lnTo>
                  <a:pt x="684" y="357"/>
                </a:lnTo>
                <a:lnTo>
                  <a:pt x="671" y="369"/>
                </a:lnTo>
                <a:lnTo>
                  <a:pt x="710" y="388"/>
                </a:lnTo>
                <a:lnTo>
                  <a:pt x="730" y="406"/>
                </a:lnTo>
                <a:lnTo>
                  <a:pt x="743" y="437"/>
                </a:lnTo>
                <a:lnTo>
                  <a:pt x="730" y="468"/>
                </a:lnTo>
                <a:lnTo>
                  <a:pt x="717" y="468"/>
                </a:lnTo>
                <a:lnTo>
                  <a:pt x="712" y="467"/>
                </a:lnTo>
                <a:lnTo>
                  <a:pt x="703" y="465"/>
                </a:lnTo>
                <a:lnTo>
                  <a:pt x="694" y="462"/>
                </a:lnTo>
                <a:lnTo>
                  <a:pt x="684" y="461"/>
                </a:lnTo>
                <a:lnTo>
                  <a:pt x="669" y="461"/>
                </a:lnTo>
                <a:lnTo>
                  <a:pt x="658" y="461"/>
                </a:lnTo>
                <a:lnTo>
                  <a:pt x="664" y="455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 dirty="0"/>
          </a:p>
        </p:txBody>
      </p:sp>
      <p:sp>
        <p:nvSpPr>
          <p:cNvPr id="30" name="Freeform 34"/>
          <p:cNvSpPr>
            <a:spLocks/>
          </p:cNvSpPr>
          <p:nvPr>
            <p:custDataLst>
              <p:tags r:id="rId14"/>
            </p:custDataLst>
          </p:nvPr>
        </p:nvSpPr>
        <p:spPr bwMode="auto">
          <a:xfrm>
            <a:off x="1496372" y="3832185"/>
            <a:ext cx="155512" cy="77953"/>
          </a:xfrm>
          <a:custGeom>
            <a:avLst/>
            <a:gdLst>
              <a:gd name="T0" fmla="*/ 23243066 w 292"/>
              <a:gd name="T1" fmla="*/ 0 h 99"/>
              <a:gd name="T2" fmla="*/ 28223508 w 292"/>
              <a:gd name="T3" fmla="*/ 0 h 99"/>
              <a:gd name="T4" fmla="*/ 36524389 w 292"/>
              <a:gd name="T5" fmla="*/ 333086 h 99"/>
              <a:gd name="T6" fmla="*/ 46116765 w 292"/>
              <a:gd name="T7" fmla="*/ 1999673 h 99"/>
              <a:gd name="T8" fmla="*/ 53864454 w 292"/>
              <a:gd name="T9" fmla="*/ 2332759 h 99"/>
              <a:gd name="T10" fmla="*/ 53495516 w 292"/>
              <a:gd name="T11" fmla="*/ 6664614 h 99"/>
              <a:gd name="T12" fmla="*/ 52573387 w 292"/>
              <a:gd name="T13" fmla="*/ 10997045 h 99"/>
              <a:gd name="T14" fmla="*/ 51466575 w 292"/>
              <a:gd name="T15" fmla="*/ 18328409 h 99"/>
              <a:gd name="T16" fmla="*/ 24903070 w 292"/>
              <a:gd name="T17" fmla="*/ 23327014 h 99"/>
              <a:gd name="T18" fmla="*/ 18262194 w 292"/>
              <a:gd name="T19" fmla="*/ 29658541 h 99"/>
              <a:gd name="T20" fmla="*/ 14572819 w 292"/>
              <a:gd name="T21" fmla="*/ 31991300 h 99"/>
              <a:gd name="T22" fmla="*/ 12174939 w 292"/>
              <a:gd name="T23" fmla="*/ 32658050 h 99"/>
              <a:gd name="T24" fmla="*/ 10145568 w 292"/>
              <a:gd name="T25" fmla="*/ 32658050 h 99"/>
              <a:gd name="T26" fmla="*/ 8300880 w 292"/>
              <a:gd name="T27" fmla="*/ 31325127 h 99"/>
              <a:gd name="T28" fmla="*/ 6087255 w 292"/>
              <a:gd name="T29" fmla="*/ 28658705 h 99"/>
              <a:gd name="T30" fmla="*/ 3689376 w 292"/>
              <a:gd name="T31" fmla="*/ 25659773 h 99"/>
              <a:gd name="T32" fmla="*/ 1291067 w 292"/>
              <a:gd name="T33" fmla="*/ 22993927 h 99"/>
              <a:gd name="T34" fmla="*/ 184254 w 292"/>
              <a:gd name="T35" fmla="*/ 18995159 h 99"/>
              <a:gd name="T36" fmla="*/ 0 w 292"/>
              <a:gd name="T37" fmla="*/ 13995977 h 99"/>
              <a:gd name="T38" fmla="*/ 184254 w 292"/>
              <a:gd name="T39" fmla="*/ 8331200 h 99"/>
              <a:gd name="T40" fmla="*/ 553192 w 292"/>
              <a:gd name="T41" fmla="*/ 6664614 h 99"/>
              <a:gd name="T42" fmla="*/ 1660004 w 292"/>
              <a:gd name="T43" fmla="*/ 5998441 h 99"/>
              <a:gd name="T44" fmla="*/ 2766817 w 292"/>
              <a:gd name="T45" fmla="*/ 6998277 h 99"/>
              <a:gd name="T46" fmla="*/ 4611505 w 292"/>
              <a:gd name="T47" fmla="*/ 9331036 h 99"/>
              <a:gd name="T48" fmla="*/ 6456193 w 292"/>
              <a:gd name="T49" fmla="*/ 10663959 h 99"/>
              <a:gd name="T50" fmla="*/ 8300880 w 292"/>
              <a:gd name="T51" fmla="*/ 11330132 h 99"/>
              <a:gd name="T52" fmla="*/ 9961314 w 292"/>
              <a:gd name="T53" fmla="*/ 10997045 h 99"/>
              <a:gd name="T54" fmla="*/ 12359193 w 292"/>
              <a:gd name="T55" fmla="*/ 9664123 h 99"/>
              <a:gd name="T56" fmla="*/ 14941756 w 292"/>
              <a:gd name="T57" fmla="*/ 6331527 h 99"/>
              <a:gd name="T58" fmla="*/ 16233253 w 292"/>
              <a:gd name="T59" fmla="*/ 3665682 h 99"/>
              <a:gd name="T60" fmla="*/ 17340065 w 292"/>
              <a:gd name="T61" fmla="*/ 1999673 h 99"/>
              <a:gd name="T62" fmla="*/ 20106882 w 292"/>
              <a:gd name="T63" fmla="*/ 333086 h 99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292" h="99">
                <a:moveTo>
                  <a:pt x="113" y="0"/>
                </a:moveTo>
                <a:lnTo>
                  <a:pt x="126" y="0"/>
                </a:lnTo>
                <a:lnTo>
                  <a:pt x="138" y="0"/>
                </a:lnTo>
                <a:lnTo>
                  <a:pt x="153" y="0"/>
                </a:lnTo>
                <a:lnTo>
                  <a:pt x="172" y="0"/>
                </a:lnTo>
                <a:lnTo>
                  <a:pt x="198" y="1"/>
                </a:lnTo>
                <a:lnTo>
                  <a:pt x="224" y="3"/>
                </a:lnTo>
                <a:lnTo>
                  <a:pt x="250" y="6"/>
                </a:lnTo>
                <a:lnTo>
                  <a:pt x="279" y="7"/>
                </a:lnTo>
                <a:lnTo>
                  <a:pt x="292" y="7"/>
                </a:lnTo>
                <a:lnTo>
                  <a:pt x="292" y="14"/>
                </a:lnTo>
                <a:lnTo>
                  <a:pt x="290" y="20"/>
                </a:lnTo>
                <a:lnTo>
                  <a:pt x="288" y="27"/>
                </a:lnTo>
                <a:lnTo>
                  <a:pt x="285" y="33"/>
                </a:lnTo>
                <a:lnTo>
                  <a:pt x="281" y="45"/>
                </a:lnTo>
                <a:lnTo>
                  <a:pt x="279" y="55"/>
                </a:lnTo>
                <a:lnTo>
                  <a:pt x="153" y="62"/>
                </a:lnTo>
                <a:lnTo>
                  <a:pt x="135" y="70"/>
                </a:lnTo>
                <a:lnTo>
                  <a:pt x="111" y="83"/>
                </a:lnTo>
                <a:lnTo>
                  <a:pt x="99" y="89"/>
                </a:lnTo>
                <a:lnTo>
                  <a:pt x="86" y="94"/>
                </a:lnTo>
                <a:lnTo>
                  <a:pt x="79" y="96"/>
                </a:lnTo>
                <a:lnTo>
                  <a:pt x="72" y="97"/>
                </a:lnTo>
                <a:lnTo>
                  <a:pt x="66" y="98"/>
                </a:lnTo>
                <a:lnTo>
                  <a:pt x="60" y="99"/>
                </a:lnTo>
                <a:lnTo>
                  <a:pt x="55" y="98"/>
                </a:lnTo>
                <a:lnTo>
                  <a:pt x="51" y="97"/>
                </a:lnTo>
                <a:lnTo>
                  <a:pt x="45" y="94"/>
                </a:lnTo>
                <a:lnTo>
                  <a:pt x="41" y="92"/>
                </a:lnTo>
                <a:lnTo>
                  <a:pt x="33" y="86"/>
                </a:lnTo>
                <a:lnTo>
                  <a:pt x="26" y="80"/>
                </a:lnTo>
                <a:lnTo>
                  <a:pt x="20" y="77"/>
                </a:lnTo>
                <a:lnTo>
                  <a:pt x="11" y="72"/>
                </a:lnTo>
                <a:lnTo>
                  <a:pt x="7" y="69"/>
                </a:lnTo>
                <a:lnTo>
                  <a:pt x="3" y="64"/>
                </a:lnTo>
                <a:lnTo>
                  <a:pt x="1" y="57"/>
                </a:lnTo>
                <a:lnTo>
                  <a:pt x="0" y="49"/>
                </a:lnTo>
                <a:lnTo>
                  <a:pt x="0" y="42"/>
                </a:lnTo>
                <a:lnTo>
                  <a:pt x="0" y="28"/>
                </a:lnTo>
                <a:lnTo>
                  <a:pt x="1" y="25"/>
                </a:lnTo>
                <a:lnTo>
                  <a:pt x="2" y="22"/>
                </a:lnTo>
                <a:lnTo>
                  <a:pt x="3" y="20"/>
                </a:lnTo>
                <a:lnTo>
                  <a:pt x="5" y="18"/>
                </a:lnTo>
                <a:lnTo>
                  <a:pt x="9" y="18"/>
                </a:lnTo>
                <a:lnTo>
                  <a:pt x="11" y="19"/>
                </a:lnTo>
                <a:lnTo>
                  <a:pt x="15" y="21"/>
                </a:lnTo>
                <a:lnTo>
                  <a:pt x="20" y="25"/>
                </a:lnTo>
                <a:lnTo>
                  <a:pt x="25" y="28"/>
                </a:lnTo>
                <a:lnTo>
                  <a:pt x="30" y="30"/>
                </a:lnTo>
                <a:lnTo>
                  <a:pt x="35" y="32"/>
                </a:lnTo>
                <a:lnTo>
                  <a:pt x="40" y="33"/>
                </a:lnTo>
                <a:lnTo>
                  <a:pt x="45" y="34"/>
                </a:lnTo>
                <a:lnTo>
                  <a:pt x="49" y="34"/>
                </a:lnTo>
                <a:lnTo>
                  <a:pt x="54" y="33"/>
                </a:lnTo>
                <a:lnTo>
                  <a:pt x="58" y="32"/>
                </a:lnTo>
                <a:lnTo>
                  <a:pt x="67" y="29"/>
                </a:lnTo>
                <a:lnTo>
                  <a:pt x="75" y="25"/>
                </a:lnTo>
                <a:lnTo>
                  <a:pt x="81" y="19"/>
                </a:lnTo>
                <a:lnTo>
                  <a:pt x="87" y="13"/>
                </a:lnTo>
                <a:lnTo>
                  <a:pt x="88" y="11"/>
                </a:lnTo>
                <a:lnTo>
                  <a:pt x="91" y="8"/>
                </a:lnTo>
                <a:lnTo>
                  <a:pt x="94" y="6"/>
                </a:lnTo>
                <a:lnTo>
                  <a:pt x="100" y="3"/>
                </a:lnTo>
                <a:lnTo>
                  <a:pt x="109" y="1"/>
                </a:lnTo>
                <a:lnTo>
                  <a:pt x="113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fr-FR" dirty="0"/>
          </a:p>
        </p:txBody>
      </p:sp>
      <p:sp>
        <p:nvSpPr>
          <p:cNvPr id="31" name="Freeform 35"/>
          <p:cNvSpPr>
            <a:spLocks/>
          </p:cNvSpPr>
          <p:nvPr>
            <p:custDataLst>
              <p:tags r:id="rId15"/>
            </p:custDataLst>
          </p:nvPr>
        </p:nvSpPr>
        <p:spPr bwMode="auto">
          <a:xfrm>
            <a:off x="2567236" y="4815254"/>
            <a:ext cx="23622" cy="77953"/>
          </a:xfrm>
          <a:custGeom>
            <a:avLst/>
            <a:gdLst>
              <a:gd name="T0" fmla="*/ 7654556 w 43"/>
              <a:gd name="T1" fmla="*/ 35119597 h 93"/>
              <a:gd name="T2" fmla="*/ 6084481 w 43"/>
              <a:gd name="T3" fmla="*/ 34364356 h 93"/>
              <a:gd name="T4" fmla="*/ 5103185 w 43"/>
              <a:gd name="T5" fmla="*/ 33609116 h 93"/>
              <a:gd name="T6" fmla="*/ 4121445 w 43"/>
              <a:gd name="T7" fmla="*/ 32853876 h 93"/>
              <a:gd name="T8" fmla="*/ 3532667 w 43"/>
              <a:gd name="T9" fmla="*/ 31720708 h 93"/>
              <a:gd name="T10" fmla="*/ 2943890 w 43"/>
              <a:gd name="T11" fmla="*/ 29832915 h 93"/>
              <a:gd name="T12" fmla="*/ 2747630 w 43"/>
              <a:gd name="T13" fmla="*/ 27567194 h 93"/>
              <a:gd name="T14" fmla="*/ 2551371 w 43"/>
              <a:gd name="T15" fmla="*/ 24546232 h 93"/>
              <a:gd name="T16" fmla="*/ 2158852 w 43"/>
              <a:gd name="T17" fmla="*/ 20769416 h 93"/>
              <a:gd name="T18" fmla="*/ 2158852 w 43"/>
              <a:gd name="T19" fmla="*/ 18126382 h 93"/>
              <a:gd name="T20" fmla="*/ 1766334 w 43"/>
              <a:gd name="T21" fmla="*/ 15860661 h 93"/>
              <a:gd name="T22" fmla="*/ 1177556 w 43"/>
              <a:gd name="T23" fmla="*/ 14350181 h 93"/>
              <a:gd name="T24" fmla="*/ 785037 w 43"/>
              <a:gd name="T25" fmla="*/ 13594940 h 93"/>
              <a:gd name="T26" fmla="*/ 392519 w 43"/>
              <a:gd name="T27" fmla="*/ 12839700 h 93"/>
              <a:gd name="T28" fmla="*/ 0 w 43"/>
              <a:gd name="T29" fmla="*/ 12084460 h 93"/>
              <a:gd name="T30" fmla="*/ 392519 w 43"/>
              <a:gd name="T31" fmla="*/ 10951292 h 93"/>
              <a:gd name="T32" fmla="*/ 981297 w 43"/>
              <a:gd name="T33" fmla="*/ 9062884 h 93"/>
              <a:gd name="T34" fmla="*/ 1177556 w 43"/>
              <a:gd name="T35" fmla="*/ 10573365 h 93"/>
              <a:gd name="T36" fmla="*/ 1373815 w 43"/>
              <a:gd name="T37" fmla="*/ 10951292 h 93"/>
              <a:gd name="T38" fmla="*/ 1570074 w 43"/>
              <a:gd name="T39" fmla="*/ 11328605 h 93"/>
              <a:gd name="T40" fmla="*/ 1766334 w 43"/>
              <a:gd name="T41" fmla="*/ 10951292 h 93"/>
              <a:gd name="T42" fmla="*/ 2158852 w 43"/>
              <a:gd name="T43" fmla="*/ 9440811 h 93"/>
              <a:gd name="T44" fmla="*/ 2747630 w 43"/>
              <a:gd name="T45" fmla="*/ 7175090 h 93"/>
              <a:gd name="T46" fmla="*/ 3140149 w 43"/>
              <a:gd name="T47" fmla="*/ 4531442 h 93"/>
              <a:gd name="T48" fmla="*/ 3925186 w 43"/>
              <a:gd name="T49" fmla="*/ 2265721 h 93"/>
              <a:gd name="T50" fmla="*/ 4318148 w 43"/>
              <a:gd name="T51" fmla="*/ 1510481 h 93"/>
              <a:gd name="T52" fmla="*/ 4906926 w 43"/>
              <a:gd name="T53" fmla="*/ 755240 h 93"/>
              <a:gd name="T54" fmla="*/ 5495703 w 43"/>
              <a:gd name="T55" fmla="*/ 0 h 93"/>
              <a:gd name="T56" fmla="*/ 6280741 w 43"/>
              <a:gd name="T57" fmla="*/ 0 h 93"/>
              <a:gd name="T58" fmla="*/ 6477000 w 43"/>
              <a:gd name="T59" fmla="*/ 3776202 h 93"/>
              <a:gd name="T60" fmla="*/ 6477000 w 43"/>
              <a:gd name="T61" fmla="*/ 6041923 h 93"/>
              <a:gd name="T62" fmla="*/ 6477000 w 43"/>
              <a:gd name="T63" fmla="*/ 7552403 h 93"/>
              <a:gd name="T64" fmla="*/ 6280741 w 43"/>
              <a:gd name="T65" fmla="*/ 8685571 h 93"/>
              <a:gd name="T66" fmla="*/ 6280741 w 43"/>
              <a:gd name="T67" fmla="*/ 10196052 h 93"/>
              <a:gd name="T68" fmla="*/ 6280741 w 43"/>
              <a:gd name="T69" fmla="*/ 11706532 h 93"/>
              <a:gd name="T70" fmla="*/ 6869519 w 43"/>
              <a:gd name="T71" fmla="*/ 13594940 h 93"/>
              <a:gd name="T72" fmla="*/ 7654556 w 43"/>
              <a:gd name="T73" fmla="*/ 16237974 h 93"/>
              <a:gd name="T74" fmla="*/ 7458297 w 43"/>
              <a:gd name="T75" fmla="*/ 16615902 h 93"/>
              <a:gd name="T76" fmla="*/ 7262037 w 43"/>
              <a:gd name="T77" fmla="*/ 16993215 h 93"/>
              <a:gd name="T78" fmla="*/ 7262037 w 43"/>
              <a:gd name="T79" fmla="*/ 18126382 h 93"/>
              <a:gd name="T80" fmla="*/ 7458297 w 43"/>
              <a:gd name="T81" fmla="*/ 19258935 h 93"/>
              <a:gd name="T82" fmla="*/ 7654556 w 43"/>
              <a:gd name="T83" fmla="*/ 22279897 h 93"/>
              <a:gd name="T84" fmla="*/ 8047074 w 43"/>
              <a:gd name="T85" fmla="*/ 25678785 h 93"/>
              <a:gd name="T86" fmla="*/ 8243334 w 43"/>
              <a:gd name="T87" fmla="*/ 28699747 h 93"/>
              <a:gd name="T88" fmla="*/ 8439593 w 43"/>
              <a:gd name="T89" fmla="*/ 32098635 h 93"/>
              <a:gd name="T90" fmla="*/ 8439593 w 43"/>
              <a:gd name="T91" fmla="*/ 33231189 h 93"/>
              <a:gd name="T92" fmla="*/ 8243334 w 43"/>
              <a:gd name="T93" fmla="*/ 34364356 h 93"/>
              <a:gd name="T94" fmla="*/ 7850815 w 43"/>
              <a:gd name="T95" fmla="*/ 34741669 h 93"/>
              <a:gd name="T96" fmla="*/ 7654556 w 43"/>
              <a:gd name="T97" fmla="*/ 35119597 h 93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0" t="0" r="r" b="b"/>
            <a:pathLst>
              <a:path w="43" h="93">
                <a:moveTo>
                  <a:pt x="39" y="93"/>
                </a:moveTo>
                <a:lnTo>
                  <a:pt x="31" y="91"/>
                </a:lnTo>
                <a:lnTo>
                  <a:pt x="26" y="89"/>
                </a:lnTo>
                <a:lnTo>
                  <a:pt x="21" y="87"/>
                </a:lnTo>
                <a:lnTo>
                  <a:pt x="18" y="84"/>
                </a:lnTo>
                <a:lnTo>
                  <a:pt x="15" y="79"/>
                </a:lnTo>
                <a:lnTo>
                  <a:pt x="14" y="73"/>
                </a:lnTo>
                <a:lnTo>
                  <a:pt x="13" y="65"/>
                </a:lnTo>
                <a:lnTo>
                  <a:pt x="11" y="55"/>
                </a:lnTo>
                <a:lnTo>
                  <a:pt x="11" y="48"/>
                </a:lnTo>
                <a:lnTo>
                  <a:pt x="9" y="42"/>
                </a:lnTo>
                <a:lnTo>
                  <a:pt x="6" y="38"/>
                </a:lnTo>
                <a:lnTo>
                  <a:pt x="4" y="36"/>
                </a:lnTo>
                <a:lnTo>
                  <a:pt x="2" y="34"/>
                </a:lnTo>
                <a:lnTo>
                  <a:pt x="0" y="32"/>
                </a:lnTo>
                <a:lnTo>
                  <a:pt x="2" y="29"/>
                </a:lnTo>
                <a:lnTo>
                  <a:pt x="5" y="24"/>
                </a:lnTo>
                <a:lnTo>
                  <a:pt x="6" y="28"/>
                </a:lnTo>
                <a:lnTo>
                  <a:pt x="7" y="29"/>
                </a:lnTo>
                <a:lnTo>
                  <a:pt x="8" y="30"/>
                </a:lnTo>
                <a:lnTo>
                  <a:pt x="9" y="29"/>
                </a:lnTo>
                <a:lnTo>
                  <a:pt x="11" y="25"/>
                </a:lnTo>
                <a:lnTo>
                  <a:pt x="14" y="19"/>
                </a:lnTo>
                <a:lnTo>
                  <a:pt x="16" y="12"/>
                </a:lnTo>
                <a:lnTo>
                  <a:pt x="20" y="6"/>
                </a:lnTo>
                <a:lnTo>
                  <a:pt x="22" y="4"/>
                </a:lnTo>
                <a:lnTo>
                  <a:pt x="25" y="2"/>
                </a:lnTo>
                <a:lnTo>
                  <a:pt x="28" y="0"/>
                </a:lnTo>
                <a:lnTo>
                  <a:pt x="32" y="0"/>
                </a:lnTo>
                <a:lnTo>
                  <a:pt x="33" y="10"/>
                </a:lnTo>
                <a:lnTo>
                  <a:pt x="33" y="16"/>
                </a:lnTo>
                <a:lnTo>
                  <a:pt x="33" y="20"/>
                </a:lnTo>
                <a:lnTo>
                  <a:pt x="32" y="23"/>
                </a:lnTo>
                <a:lnTo>
                  <a:pt x="32" y="27"/>
                </a:lnTo>
                <a:lnTo>
                  <a:pt x="32" y="31"/>
                </a:lnTo>
                <a:lnTo>
                  <a:pt x="35" y="36"/>
                </a:lnTo>
                <a:lnTo>
                  <a:pt x="39" y="43"/>
                </a:lnTo>
                <a:lnTo>
                  <a:pt x="38" y="44"/>
                </a:lnTo>
                <a:lnTo>
                  <a:pt x="37" y="45"/>
                </a:lnTo>
                <a:lnTo>
                  <a:pt x="37" y="48"/>
                </a:lnTo>
                <a:lnTo>
                  <a:pt x="38" y="51"/>
                </a:lnTo>
                <a:lnTo>
                  <a:pt x="39" y="59"/>
                </a:lnTo>
                <a:lnTo>
                  <a:pt x="41" y="68"/>
                </a:lnTo>
                <a:lnTo>
                  <a:pt x="42" y="76"/>
                </a:lnTo>
                <a:lnTo>
                  <a:pt x="43" y="85"/>
                </a:lnTo>
                <a:lnTo>
                  <a:pt x="43" y="88"/>
                </a:lnTo>
                <a:lnTo>
                  <a:pt x="42" y="91"/>
                </a:lnTo>
                <a:lnTo>
                  <a:pt x="40" y="92"/>
                </a:lnTo>
                <a:lnTo>
                  <a:pt x="39" y="9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 dirty="0"/>
          </a:p>
        </p:txBody>
      </p:sp>
      <p:sp>
        <p:nvSpPr>
          <p:cNvPr id="32" name="Freeform 36"/>
          <p:cNvSpPr>
            <a:spLocks/>
          </p:cNvSpPr>
          <p:nvPr>
            <p:custDataLst>
              <p:tags r:id="rId16"/>
            </p:custDataLst>
          </p:nvPr>
        </p:nvSpPr>
        <p:spPr bwMode="auto">
          <a:xfrm>
            <a:off x="2714874" y="4821751"/>
            <a:ext cx="17716" cy="77953"/>
          </a:xfrm>
          <a:custGeom>
            <a:avLst/>
            <a:gdLst>
              <a:gd name="T0" fmla="*/ 5102959 w 40"/>
              <a:gd name="T1" fmla="*/ 58323616 h 56"/>
              <a:gd name="T2" fmla="*/ 4720068 w 40"/>
              <a:gd name="T3" fmla="*/ 47909049 h 56"/>
              <a:gd name="T4" fmla="*/ 4210022 w 40"/>
              <a:gd name="T5" fmla="*/ 39576375 h 56"/>
              <a:gd name="T6" fmla="*/ 3572107 w 40"/>
              <a:gd name="T7" fmla="*/ 33327635 h 56"/>
              <a:gd name="T8" fmla="*/ 2934193 w 40"/>
              <a:gd name="T9" fmla="*/ 29161808 h 56"/>
              <a:gd name="T10" fmla="*/ 1403341 w 40"/>
              <a:gd name="T11" fmla="*/ 21871101 h 56"/>
              <a:gd name="T12" fmla="*/ 0 w 40"/>
              <a:gd name="T13" fmla="*/ 12497480 h 56"/>
              <a:gd name="T14" fmla="*/ 1658364 w 40"/>
              <a:gd name="T15" fmla="*/ 4165827 h 56"/>
              <a:gd name="T16" fmla="*/ 2551658 w 40"/>
              <a:gd name="T17" fmla="*/ 0 h 56"/>
              <a:gd name="T18" fmla="*/ 3572107 w 40"/>
              <a:gd name="T19" fmla="*/ 12497480 h 56"/>
              <a:gd name="T20" fmla="*/ 4465045 w 40"/>
              <a:gd name="T21" fmla="*/ 22913068 h 56"/>
              <a:gd name="T22" fmla="*/ 4720068 w 40"/>
              <a:gd name="T23" fmla="*/ 26036928 h 56"/>
              <a:gd name="T24" fmla="*/ 4975448 w 40"/>
              <a:gd name="T25" fmla="*/ 30203775 h 56"/>
              <a:gd name="T26" fmla="*/ 4975448 w 40"/>
              <a:gd name="T27" fmla="*/ 34369602 h 56"/>
              <a:gd name="T28" fmla="*/ 5102959 w 40"/>
              <a:gd name="T29" fmla="*/ 38535429 h 56"/>
              <a:gd name="T30" fmla="*/ 5102959 w 40"/>
              <a:gd name="T31" fmla="*/ 45826136 h 56"/>
              <a:gd name="T32" fmla="*/ 5102959 w 40"/>
              <a:gd name="T33" fmla="*/ 47909049 h 56"/>
              <a:gd name="T34" fmla="*/ 5102959 w 40"/>
              <a:gd name="T35" fmla="*/ 51032909 h 56"/>
              <a:gd name="T36" fmla="*/ 5102959 w 40"/>
              <a:gd name="T37" fmla="*/ 58323616 h 5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0" t="0" r="r" b="b"/>
            <a:pathLst>
              <a:path w="40" h="56">
                <a:moveTo>
                  <a:pt x="40" y="56"/>
                </a:moveTo>
                <a:lnTo>
                  <a:pt x="37" y="46"/>
                </a:lnTo>
                <a:lnTo>
                  <a:pt x="33" y="38"/>
                </a:lnTo>
                <a:lnTo>
                  <a:pt x="28" y="32"/>
                </a:lnTo>
                <a:lnTo>
                  <a:pt x="23" y="28"/>
                </a:lnTo>
                <a:lnTo>
                  <a:pt x="11" y="21"/>
                </a:lnTo>
                <a:lnTo>
                  <a:pt x="0" y="12"/>
                </a:lnTo>
                <a:lnTo>
                  <a:pt x="13" y="4"/>
                </a:lnTo>
                <a:lnTo>
                  <a:pt x="20" y="0"/>
                </a:lnTo>
                <a:lnTo>
                  <a:pt x="28" y="12"/>
                </a:lnTo>
                <a:lnTo>
                  <a:pt x="35" y="22"/>
                </a:lnTo>
                <a:lnTo>
                  <a:pt x="37" y="25"/>
                </a:lnTo>
                <a:lnTo>
                  <a:pt x="39" y="29"/>
                </a:lnTo>
                <a:lnTo>
                  <a:pt x="39" y="33"/>
                </a:lnTo>
                <a:lnTo>
                  <a:pt x="40" y="37"/>
                </a:lnTo>
                <a:lnTo>
                  <a:pt x="40" y="44"/>
                </a:lnTo>
                <a:lnTo>
                  <a:pt x="40" y="46"/>
                </a:lnTo>
                <a:lnTo>
                  <a:pt x="40" y="49"/>
                </a:lnTo>
                <a:lnTo>
                  <a:pt x="40" y="5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 dirty="0"/>
          </a:p>
        </p:txBody>
      </p:sp>
      <p:sp>
        <p:nvSpPr>
          <p:cNvPr id="33" name="Freeform 109"/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5100698" y="4022736"/>
            <a:ext cx="5905" cy="80119"/>
          </a:xfrm>
          <a:custGeom>
            <a:avLst/>
            <a:gdLst>
              <a:gd name="T0" fmla="*/ 2061513 w 11"/>
              <a:gd name="T1" fmla="*/ 0 h 25"/>
              <a:gd name="T2" fmla="*/ 2061513 w 11"/>
              <a:gd name="T3" fmla="*/ 27602161 h 25"/>
              <a:gd name="T4" fmla="*/ 1874063 w 11"/>
              <a:gd name="T5" fmla="*/ 66242367 h 25"/>
              <a:gd name="T6" fmla="*/ 1686614 w 11"/>
              <a:gd name="T7" fmla="*/ 110403945 h 25"/>
              <a:gd name="T8" fmla="*/ 749799 w 11"/>
              <a:gd name="T9" fmla="*/ 138006106 h 25"/>
              <a:gd name="T10" fmla="*/ 374899 w 11"/>
              <a:gd name="T11" fmla="*/ 126965711 h 25"/>
              <a:gd name="T12" fmla="*/ 187450 w 11"/>
              <a:gd name="T13" fmla="*/ 110403945 h 25"/>
              <a:gd name="T14" fmla="*/ 0 w 11"/>
              <a:gd name="T15" fmla="*/ 82804133 h 25"/>
              <a:gd name="T16" fmla="*/ 0 w 11"/>
              <a:gd name="T17" fmla="*/ 66242367 h 25"/>
              <a:gd name="T18" fmla="*/ 187450 w 11"/>
              <a:gd name="T19" fmla="*/ 49682950 h 25"/>
              <a:gd name="T20" fmla="*/ 562349 w 11"/>
              <a:gd name="T21" fmla="*/ 27602161 h 25"/>
              <a:gd name="T22" fmla="*/ 1124265 w 11"/>
              <a:gd name="T23" fmla="*/ 11040394 h 25"/>
              <a:gd name="T24" fmla="*/ 2061513 w 11"/>
              <a:gd name="T25" fmla="*/ 0 h 25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11" h="25">
                <a:moveTo>
                  <a:pt x="11" y="0"/>
                </a:moveTo>
                <a:lnTo>
                  <a:pt x="11" y="5"/>
                </a:lnTo>
                <a:lnTo>
                  <a:pt x="10" y="12"/>
                </a:lnTo>
                <a:lnTo>
                  <a:pt x="9" y="20"/>
                </a:lnTo>
                <a:lnTo>
                  <a:pt x="4" y="25"/>
                </a:lnTo>
                <a:lnTo>
                  <a:pt x="2" y="23"/>
                </a:lnTo>
                <a:lnTo>
                  <a:pt x="1" y="20"/>
                </a:lnTo>
                <a:lnTo>
                  <a:pt x="0" y="15"/>
                </a:lnTo>
                <a:lnTo>
                  <a:pt x="0" y="12"/>
                </a:lnTo>
                <a:lnTo>
                  <a:pt x="1" y="9"/>
                </a:lnTo>
                <a:lnTo>
                  <a:pt x="3" y="5"/>
                </a:lnTo>
                <a:lnTo>
                  <a:pt x="6" y="2"/>
                </a:lnTo>
                <a:lnTo>
                  <a:pt x="11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 dirty="0"/>
          </a:p>
        </p:txBody>
      </p:sp>
      <p:sp>
        <p:nvSpPr>
          <p:cNvPr id="37" name="Freeform 110"/>
          <p:cNvSpPr>
            <a:spLocks/>
          </p:cNvSpPr>
          <p:nvPr>
            <p:custDataLst>
              <p:tags r:id="rId18"/>
            </p:custDataLst>
          </p:nvPr>
        </p:nvSpPr>
        <p:spPr bwMode="auto">
          <a:xfrm>
            <a:off x="4870383" y="4789270"/>
            <a:ext cx="17717" cy="80119"/>
          </a:xfrm>
          <a:custGeom>
            <a:avLst/>
            <a:gdLst>
              <a:gd name="T0" fmla="*/ 10207347 w 20"/>
              <a:gd name="T1" fmla="*/ 0 h 31"/>
              <a:gd name="T2" fmla="*/ 8165592 w 20"/>
              <a:gd name="T3" fmla="*/ 43081481 h 31"/>
              <a:gd name="T4" fmla="*/ 5103674 w 20"/>
              <a:gd name="T5" fmla="*/ 71802468 h 31"/>
              <a:gd name="T6" fmla="*/ 2551837 w 20"/>
              <a:gd name="T7" fmla="*/ 93344156 h 31"/>
              <a:gd name="T8" fmla="*/ 0 w 20"/>
              <a:gd name="T9" fmla="*/ 111295247 h 31"/>
              <a:gd name="T10" fmla="*/ 0 w 20"/>
              <a:gd name="T11" fmla="*/ 89753559 h 31"/>
              <a:gd name="T12" fmla="*/ 510082 w 20"/>
              <a:gd name="T13" fmla="*/ 68213766 h 31"/>
              <a:gd name="T14" fmla="*/ 1020878 w 20"/>
              <a:gd name="T15" fmla="*/ 46672078 h 31"/>
              <a:gd name="T16" fmla="*/ 2551837 w 20"/>
              <a:gd name="T17" fmla="*/ 32311584 h 31"/>
              <a:gd name="T18" fmla="*/ 4082796 w 20"/>
              <a:gd name="T19" fmla="*/ 21541688 h 31"/>
              <a:gd name="T20" fmla="*/ 5613755 w 20"/>
              <a:gd name="T21" fmla="*/ 10769897 h 31"/>
              <a:gd name="T22" fmla="*/ 8165592 w 20"/>
              <a:gd name="T23" fmla="*/ 0 h 31"/>
              <a:gd name="T24" fmla="*/ 10207347 w 20"/>
              <a:gd name="T25" fmla="*/ 0 h 31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0" h="31">
                <a:moveTo>
                  <a:pt x="20" y="0"/>
                </a:moveTo>
                <a:lnTo>
                  <a:pt x="16" y="12"/>
                </a:lnTo>
                <a:lnTo>
                  <a:pt x="10" y="20"/>
                </a:lnTo>
                <a:lnTo>
                  <a:pt x="5" y="26"/>
                </a:lnTo>
                <a:lnTo>
                  <a:pt x="0" y="31"/>
                </a:lnTo>
                <a:lnTo>
                  <a:pt x="0" y="25"/>
                </a:lnTo>
                <a:lnTo>
                  <a:pt x="1" y="19"/>
                </a:lnTo>
                <a:lnTo>
                  <a:pt x="2" y="13"/>
                </a:lnTo>
                <a:lnTo>
                  <a:pt x="5" y="9"/>
                </a:lnTo>
                <a:lnTo>
                  <a:pt x="8" y="6"/>
                </a:lnTo>
                <a:lnTo>
                  <a:pt x="11" y="3"/>
                </a:lnTo>
                <a:lnTo>
                  <a:pt x="16" y="0"/>
                </a:lnTo>
                <a:lnTo>
                  <a:pt x="2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 dirty="0"/>
          </a:p>
        </p:txBody>
      </p:sp>
      <p:sp>
        <p:nvSpPr>
          <p:cNvPr id="38" name="Freeform 111"/>
          <p:cNvSpPr>
            <a:spLocks/>
          </p:cNvSpPr>
          <p:nvPr>
            <p:custDataLst>
              <p:tags r:id="rId19"/>
            </p:custDataLst>
          </p:nvPr>
        </p:nvSpPr>
        <p:spPr bwMode="auto">
          <a:xfrm>
            <a:off x="4892037" y="4700491"/>
            <a:ext cx="19685" cy="77953"/>
          </a:xfrm>
          <a:custGeom>
            <a:avLst/>
            <a:gdLst>
              <a:gd name="T0" fmla="*/ 4846760 w 26"/>
              <a:gd name="T1" fmla="*/ 88273581 h 37"/>
              <a:gd name="T2" fmla="*/ 0 w 26"/>
              <a:gd name="T3" fmla="*/ 28629061 h 37"/>
              <a:gd name="T4" fmla="*/ 2236543 w 26"/>
              <a:gd name="T5" fmla="*/ 16700157 h 37"/>
              <a:gd name="T6" fmla="*/ 4846760 w 26"/>
              <a:gd name="T7" fmla="*/ 9542505 h 37"/>
              <a:gd name="T8" fmla="*/ 7828817 w 26"/>
              <a:gd name="T9" fmla="*/ 2386399 h 37"/>
              <a:gd name="T10" fmla="*/ 9692909 w 26"/>
              <a:gd name="T11" fmla="*/ 0 h 37"/>
              <a:gd name="T12" fmla="*/ 9692909 w 26"/>
              <a:gd name="T13" fmla="*/ 14315303 h 37"/>
              <a:gd name="T14" fmla="*/ 9319846 w 26"/>
              <a:gd name="T15" fmla="*/ 26244207 h 37"/>
              <a:gd name="T16" fmla="*/ 8947394 w 26"/>
              <a:gd name="T17" fmla="*/ 40557965 h 37"/>
              <a:gd name="T18" fmla="*/ 8574332 w 26"/>
              <a:gd name="T19" fmla="*/ 50100470 h 37"/>
              <a:gd name="T20" fmla="*/ 6710240 w 26"/>
              <a:gd name="T21" fmla="*/ 69187026 h 37"/>
              <a:gd name="T22" fmla="*/ 4846760 w 26"/>
              <a:gd name="T23" fmla="*/ 88273581 h 37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26" h="37">
                <a:moveTo>
                  <a:pt x="13" y="37"/>
                </a:moveTo>
                <a:lnTo>
                  <a:pt x="0" y="12"/>
                </a:lnTo>
                <a:lnTo>
                  <a:pt x="6" y="7"/>
                </a:lnTo>
                <a:lnTo>
                  <a:pt x="13" y="4"/>
                </a:lnTo>
                <a:lnTo>
                  <a:pt x="21" y="1"/>
                </a:lnTo>
                <a:lnTo>
                  <a:pt x="26" y="0"/>
                </a:lnTo>
                <a:lnTo>
                  <a:pt x="26" y="6"/>
                </a:lnTo>
                <a:lnTo>
                  <a:pt x="25" y="11"/>
                </a:lnTo>
                <a:lnTo>
                  <a:pt x="24" y="17"/>
                </a:lnTo>
                <a:lnTo>
                  <a:pt x="23" y="21"/>
                </a:lnTo>
                <a:lnTo>
                  <a:pt x="18" y="29"/>
                </a:lnTo>
                <a:lnTo>
                  <a:pt x="13" y="37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 dirty="0"/>
          </a:p>
        </p:txBody>
      </p:sp>
      <p:sp>
        <p:nvSpPr>
          <p:cNvPr id="39" name="Freeform 112"/>
          <p:cNvSpPr>
            <a:spLocks/>
          </p:cNvSpPr>
          <p:nvPr>
            <p:custDataLst>
              <p:tags r:id="rId20"/>
            </p:custDataLst>
          </p:nvPr>
        </p:nvSpPr>
        <p:spPr bwMode="auto">
          <a:xfrm>
            <a:off x="4754242" y="4494782"/>
            <a:ext cx="1968" cy="82283"/>
          </a:xfrm>
          <a:custGeom>
            <a:avLst/>
            <a:gdLst>
              <a:gd name="T0" fmla="*/ 0 w 7"/>
              <a:gd name="T1" fmla="*/ 202172535 h 18"/>
              <a:gd name="T2" fmla="*/ 0 w 7"/>
              <a:gd name="T3" fmla="*/ 0 h 18"/>
              <a:gd name="T4" fmla="*/ 359796 w 7"/>
              <a:gd name="T5" fmla="*/ 134782807 h 18"/>
              <a:gd name="T6" fmla="*/ 0 w 7"/>
              <a:gd name="T7" fmla="*/ 202172535 h 18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7" h="18">
                <a:moveTo>
                  <a:pt x="0" y="18"/>
                </a:moveTo>
                <a:lnTo>
                  <a:pt x="0" y="0"/>
                </a:lnTo>
                <a:lnTo>
                  <a:pt x="7" y="12"/>
                </a:lnTo>
                <a:lnTo>
                  <a:pt x="0" y="18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 dirty="0"/>
          </a:p>
        </p:txBody>
      </p:sp>
      <p:sp>
        <p:nvSpPr>
          <p:cNvPr id="40" name="Freeform 113"/>
          <p:cNvSpPr>
            <a:spLocks/>
          </p:cNvSpPr>
          <p:nvPr>
            <p:custDataLst>
              <p:tags r:id="rId21"/>
            </p:custDataLst>
          </p:nvPr>
        </p:nvSpPr>
        <p:spPr bwMode="auto">
          <a:xfrm>
            <a:off x="850703" y="3303840"/>
            <a:ext cx="11811" cy="77953"/>
          </a:xfrm>
          <a:custGeom>
            <a:avLst/>
            <a:gdLst>
              <a:gd name="T0" fmla="*/ 0 w 33"/>
              <a:gd name="T1" fmla="*/ 40784821 h 31"/>
              <a:gd name="T2" fmla="*/ 1582882 w 33"/>
              <a:gd name="T3" fmla="*/ 0 h 31"/>
              <a:gd name="T4" fmla="*/ 1999384 w 33"/>
              <a:gd name="T5" fmla="*/ 16993829 h 31"/>
              <a:gd name="T6" fmla="*/ 2332759 w 33"/>
              <a:gd name="T7" fmla="*/ 40784821 h 31"/>
              <a:gd name="T8" fmla="*/ 2665845 w 33"/>
              <a:gd name="T9" fmla="*/ 74770635 h 31"/>
              <a:gd name="T10" fmla="*/ 2749261 w 33"/>
              <a:gd name="T11" fmla="*/ 105358790 h 31"/>
              <a:gd name="T12" fmla="*/ 2249343 w 33"/>
              <a:gd name="T13" fmla="*/ 101959287 h 31"/>
              <a:gd name="T14" fmla="*/ 1832841 w 33"/>
              <a:gd name="T15" fmla="*/ 95162124 h 31"/>
              <a:gd name="T16" fmla="*/ 1332923 w 33"/>
              <a:gd name="T17" fmla="*/ 84967302 h 31"/>
              <a:gd name="T18" fmla="*/ 916420 w 33"/>
              <a:gd name="T19" fmla="*/ 74770635 h 31"/>
              <a:gd name="T20" fmla="*/ 249959 w 33"/>
              <a:gd name="T21" fmla="*/ 50979644 h 31"/>
              <a:gd name="T22" fmla="*/ 0 w 33"/>
              <a:gd name="T23" fmla="*/ 40784821 h 31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33" h="31">
                <a:moveTo>
                  <a:pt x="0" y="12"/>
                </a:moveTo>
                <a:lnTo>
                  <a:pt x="19" y="0"/>
                </a:lnTo>
                <a:lnTo>
                  <a:pt x="24" y="5"/>
                </a:lnTo>
                <a:lnTo>
                  <a:pt x="28" y="12"/>
                </a:lnTo>
                <a:lnTo>
                  <a:pt x="32" y="22"/>
                </a:lnTo>
                <a:lnTo>
                  <a:pt x="33" y="31"/>
                </a:lnTo>
                <a:lnTo>
                  <a:pt x="27" y="30"/>
                </a:lnTo>
                <a:lnTo>
                  <a:pt x="22" y="28"/>
                </a:lnTo>
                <a:lnTo>
                  <a:pt x="16" y="25"/>
                </a:lnTo>
                <a:lnTo>
                  <a:pt x="11" y="22"/>
                </a:lnTo>
                <a:lnTo>
                  <a:pt x="3" y="15"/>
                </a:lnTo>
                <a:lnTo>
                  <a:pt x="0" y="12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 dirty="0"/>
          </a:p>
        </p:txBody>
      </p:sp>
      <p:sp>
        <p:nvSpPr>
          <p:cNvPr id="41" name="Freeform 114"/>
          <p:cNvSpPr>
            <a:spLocks/>
          </p:cNvSpPr>
          <p:nvPr>
            <p:custDataLst>
              <p:tags r:id="rId22"/>
            </p:custDataLst>
          </p:nvPr>
        </p:nvSpPr>
        <p:spPr bwMode="auto">
          <a:xfrm>
            <a:off x="832987" y="2987699"/>
            <a:ext cx="3937" cy="77953"/>
          </a:xfrm>
          <a:custGeom>
            <a:avLst/>
            <a:gdLst>
              <a:gd name="T0" fmla="*/ 720045 w 14"/>
              <a:gd name="T1" fmla="*/ 0 h 6"/>
              <a:gd name="T2" fmla="*/ 0 w 14"/>
              <a:gd name="T3" fmla="*/ 544353750 h 6"/>
              <a:gd name="T4" fmla="*/ 720045 w 14"/>
              <a:gd name="T5" fmla="*/ 0 h 6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4" h="6">
                <a:moveTo>
                  <a:pt x="14" y="0"/>
                </a:moveTo>
                <a:lnTo>
                  <a:pt x="0" y="6"/>
                </a:lnTo>
                <a:lnTo>
                  <a:pt x="14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 dirty="0"/>
          </a:p>
        </p:txBody>
      </p:sp>
      <p:sp>
        <p:nvSpPr>
          <p:cNvPr id="42" name="Freeform 161"/>
          <p:cNvSpPr>
            <a:spLocks/>
          </p:cNvSpPr>
          <p:nvPr>
            <p:custDataLst>
              <p:tags r:id="rId23"/>
            </p:custDataLst>
          </p:nvPr>
        </p:nvSpPr>
        <p:spPr bwMode="auto">
          <a:xfrm>
            <a:off x="3423535" y="3713092"/>
            <a:ext cx="903541" cy="452557"/>
          </a:xfrm>
          <a:custGeom>
            <a:avLst/>
            <a:gdLst>
              <a:gd name="T0" fmla="*/ 5962683 w 1688"/>
              <a:gd name="T1" fmla="*/ 59909146 h 630"/>
              <a:gd name="T2" fmla="*/ 16025384 w 1688"/>
              <a:gd name="T3" fmla="*/ 69061727 h 630"/>
              <a:gd name="T4" fmla="*/ 28882729 w 1688"/>
              <a:gd name="T5" fmla="*/ 73222231 h 630"/>
              <a:gd name="T6" fmla="*/ 35590908 w 1688"/>
              <a:gd name="T7" fmla="*/ 77937293 h 630"/>
              <a:gd name="T8" fmla="*/ 44349097 w 1688"/>
              <a:gd name="T9" fmla="*/ 91804936 h 630"/>
              <a:gd name="T10" fmla="*/ 47144172 w 1688"/>
              <a:gd name="T11" fmla="*/ 96797014 h 630"/>
              <a:gd name="T12" fmla="*/ 47330655 w 1688"/>
              <a:gd name="T13" fmla="*/ 107059239 h 630"/>
              <a:gd name="T14" fmla="*/ 50870795 w 1688"/>
              <a:gd name="T15" fmla="*/ 113161486 h 630"/>
              <a:gd name="T16" fmla="*/ 63542089 w 1688"/>
              <a:gd name="T17" fmla="*/ 115380246 h 630"/>
              <a:gd name="T18" fmla="*/ 86275653 w 1688"/>
              <a:gd name="T19" fmla="*/ 125364928 h 630"/>
              <a:gd name="T20" fmla="*/ 101742022 w 1688"/>
              <a:gd name="T21" fmla="*/ 130079990 h 630"/>
              <a:gd name="T22" fmla="*/ 107145689 w 1688"/>
              <a:gd name="T23" fmla="*/ 141451331 h 630"/>
              <a:gd name="T24" fmla="*/ 115903879 w 1688"/>
              <a:gd name="T25" fmla="*/ 150326897 h 630"/>
              <a:gd name="T26" fmla="*/ 124848118 w 1688"/>
              <a:gd name="T27" fmla="*/ 153932842 h 630"/>
              <a:gd name="T28" fmla="*/ 170874261 w 1688"/>
              <a:gd name="T29" fmla="*/ 159757020 h 630"/>
              <a:gd name="T30" fmla="*/ 193235292 w 1688"/>
              <a:gd name="T31" fmla="*/ 170296787 h 630"/>
              <a:gd name="T32" fmla="*/ 208142214 w 1688"/>
              <a:gd name="T33" fmla="*/ 174734307 h 630"/>
              <a:gd name="T34" fmla="*/ 215595891 w 1688"/>
              <a:gd name="T35" fmla="*/ 170019245 h 630"/>
              <a:gd name="T36" fmla="*/ 250441734 w 1688"/>
              <a:gd name="T37" fmla="*/ 156428618 h 630"/>
              <a:gd name="T38" fmla="*/ 259944988 w 1688"/>
              <a:gd name="T39" fmla="*/ 141451331 h 630"/>
              <a:gd name="T40" fmla="*/ 261435983 w 1688"/>
              <a:gd name="T41" fmla="*/ 133962951 h 630"/>
              <a:gd name="T42" fmla="*/ 258267943 w 1688"/>
              <a:gd name="T43" fmla="*/ 126197029 h 630"/>
              <a:gd name="T44" fmla="*/ 255286386 w 1688"/>
              <a:gd name="T45" fmla="*/ 115102703 h 630"/>
              <a:gd name="T46" fmla="*/ 279324462 w 1688"/>
              <a:gd name="T47" fmla="*/ 109278525 h 630"/>
              <a:gd name="T48" fmla="*/ 297026891 w 1688"/>
              <a:gd name="T49" fmla="*/ 95133339 h 630"/>
              <a:gd name="T50" fmla="*/ 307648176 w 1688"/>
              <a:gd name="T51" fmla="*/ 90140735 h 630"/>
              <a:gd name="T52" fmla="*/ 314542838 w 1688"/>
              <a:gd name="T53" fmla="*/ 82374812 h 630"/>
              <a:gd name="T54" fmla="*/ 308580155 w 1688"/>
              <a:gd name="T55" fmla="*/ 77382208 h 630"/>
              <a:gd name="T56" fmla="*/ 301685493 w 1688"/>
              <a:gd name="T57" fmla="*/ 69893828 h 630"/>
              <a:gd name="T58" fmla="*/ 294976882 w 1688"/>
              <a:gd name="T59" fmla="*/ 68784185 h 630"/>
              <a:gd name="T60" fmla="*/ 289386732 w 1688"/>
              <a:gd name="T61" fmla="*/ 71558030 h 630"/>
              <a:gd name="T62" fmla="*/ 278951930 w 1688"/>
              <a:gd name="T63" fmla="*/ 71002945 h 630"/>
              <a:gd name="T64" fmla="*/ 271498253 w 1688"/>
              <a:gd name="T65" fmla="*/ 65178766 h 630"/>
              <a:gd name="T66" fmla="*/ 267212183 w 1688"/>
              <a:gd name="T67" fmla="*/ 51865681 h 630"/>
              <a:gd name="T68" fmla="*/ 254727371 w 1688"/>
              <a:gd name="T69" fmla="*/ 34392092 h 630"/>
              <a:gd name="T70" fmla="*/ 239633967 w 1688"/>
              <a:gd name="T71" fmla="*/ 33282976 h 630"/>
              <a:gd name="T72" fmla="*/ 234788883 w 1688"/>
              <a:gd name="T73" fmla="*/ 40771356 h 630"/>
              <a:gd name="T74" fmla="*/ 230316763 w 1688"/>
              <a:gd name="T75" fmla="*/ 45763960 h 630"/>
              <a:gd name="T76" fmla="*/ 217645900 w 1688"/>
              <a:gd name="T77" fmla="*/ 46318518 h 630"/>
              <a:gd name="T78" fmla="*/ 194539372 w 1688"/>
              <a:gd name="T79" fmla="*/ 46318518 h 630"/>
              <a:gd name="T80" fmla="*/ 183731605 w 1688"/>
              <a:gd name="T81" fmla="*/ 38829612 h 630"/>
              <a:gd name="T82" fmla="*/ 171805808 w 1688"/>
              <a:gd name="T83" fmla="*/ 29954573 h 630"/>
              <a:gd name="T84" fmla="*/ 158761982 w 1688"/>
              <a:gd name="T85" fmla="*/ 27735813 h 630"/>
              <a:gd name="T86" fmla="*/ 149258727 w 1688"/>
              <a:gd name="T87" fmla="*/ 31618774 h 630"/>
              <a:gd name="T88" fmla="*/ 137891945 w 1688"/>
              <a:gd name="T89" fmla="*/ 32173333 h 630"/>
              <a:gd name="T90" fmla="*/ 128947705 w 1688"/>
              <a:gd name="T91" fmla="*/ 28012829 h 630"/>
              <a:gd name="T92" fmla="*/ 123357556 w 1688"/>
              <a:gd name="T93" fmla="*/ 18860248 h 630"/>
              <a:gd name="T94" fmla="*/ 83108045 w 1688"/>
              <a:gd name="T95" fmla="*/ 1941744 h 630"/>
              <a:gd name="T96" fmla="*/ 83108045 w 1688"/>
              <a:gd name="T97" fmla="*/ 12203442 h 630"/>
              <a:gd name="T98" fmla="*/ 87766216 w 1688"/>
              <a:gd name="T99" fmla="*/ 21911108 h 630"/>
              <a:gd name="T100" fmla="*/ 91306788 w 1688"/>
              <a:gd name="T101" fmla="*/ 29399488 h 630"/>
              <a:gd name="T102" fmla="*/ 57206442 w 1688"/>
              <a:gd name="T103" fmla="*/ 33837534 h 630"/>
              <a:gd name="T104" fmla="*/ 54784332 w 1688"/>
              <a:gd name="T105" fmla="*/ 24129868 h 630"/>
              <a:gd name="T106" fmla="*/ 41926555 w 1688"/>
              <a:gd name="T107" fmla="*/ 26903713 h 630"/>
              <a:gd name="T108" fmla="*/ 34472878 w 1688"/>
              <a:gd name="T109" fmla="*/ 24407410 h 630"/>
              <a:gd name="T110" fmla="*/ 25715121 w 1688"/>
              <a:gd name="T111" fmla="*/ 26903713 h 630"/>
              <a:gd name="T112" fmla="*/ 12671294 w 1688"/>
              <a:gd name="T113" fmla="*/ 39661713 h 630"/>
              <a:gd name="T114" fmla="*/ 5776632 w 1688"/>
              <a:gd name="T115" fmla="*/ 41880999 h 630"/>
              <a:gd name="T116" fmla="*/ 745497 w 1688"/>
              <a:gd name="T117" fmla="*/ 46873077 h 630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0" t="0" r="r" b="b"/>
            <a:pathLst>
              <a:path w="1688" h="630">
                <a:moveTo>
                  <a:pt x="0" y="180"/>
                </a:moveTo>
                <a:lnTo>
                  <a:pt x="7" y="190"/>
                </a:lnTo>
                <a:lnTo>
                  <a:pt x="15" y="199"/>
                </a:lnTo>
                <a:lnTo>
                  <a:pt x="22" y="208"/>
                </a:lnTo>
                <a:lnTo>
                  <a:pt x="32" y="216"/>
                </a:lnTo>
                <a:lnTo>
                  <a:pt x="41" y="224"/>
                </a:lnTo>
                <a:lnTo>
                  <a:pt x="51" y="232"/>
                </a:lnTo>
                <a:lnTo>
                  <a:pt x="62" y="238"/>
                </a:lnTo>
                <a:lnTo>
                  <a:pt x="74" y="244"/>
                </a:lnTo>
                <a:lnTo>
                  <a:pt x="86" y="249"/>
                </a:lnTo>
                <a:lnTo>
                  <a:pt x="99" y="253"/>
                </a:lnTo>
                <a:lnTo>
                  <a:pt x="112" y="257"/>
                </a:lnTo>
                <a:lnTo>
                  <a:pt x="126" y="260"/>
                </a:lnTo>
                <a:lnTo>
                  <a:pt x="140" y="262"/>
                </a:lnTo>
                <a:lnTo>
                  <a:pt x="155" y="264"/>
                </a:lnTo>
                <a:lnTo>
                  <a:pt x="171" y="265"/>
                </a:lnTo>
                <a:lnTo>
                  <a:pt x="187" y="266"/>
                </a:lnTo>
                <a:lnTo>
                  <a:pt x="187" y="270"/>
                </a:lnTo>
                <a:lnTo>
                  <a:pt x="189" y="276"/>
                </a:lnTo>
                <a:lnTo>
                  <a:pt x="191" y="281"/>
                </a:lnTo>
                <a:lnTo>
                  <a:pt x="196" y="288"/>
                </a:lnTo>
                <a:lnTo>
                  <a:pt x="205" y="300"/>
                </a:lnTo>
                <a:lnTo>
                  <a:pt x="215" y="312"/>
                </a:lnTo>
                <a:lnTo>
                  <a:pt x="227" y="323"/>
                </a:lnTo>
                <a:lnTo>
                  <a:pt x="238" y="331"/>
                </a:lnTo>
                <a:lnTo>
                  <a:pt x="242" y="335"/>
                </a:lnTo>
                <a:lnTo>
                  <a:pt x="246" y="337"/>
                </a:lnTo>
                <a:lnTo>
                  <a:pt x="251" y="340"/>
                </a:lnTo>
                <a:lnTo>
                  <a:pt x="253" y="340"/>
                </a:lnTo>
                <a:lnTo>
                  <a:pt x="253" y="349"/>
                </a:lnTo>
                <a:lnTo>
                  <a:pt x="253" y="358"/>
                </a:lnTo>
                <a:lnTo>
                  <a:pt x="253" y="365"/>
                </a:lnTo>
                <a:lnTo>
                  <a:pt x="253" y="370"/>
                </a:lnTo>
                <a:lnTo>
                  <a:pt x="253" y="379"/>
                </a:lnTo>
                <a:lnTo>
                  <a:pt x="254" y="386"/>
                </a:lnTo>
                <a:lnTo>
                  <a:pt x="256" y="394"/>
                </a:lnTo>
                <a:lnTo>
                  <a:pt x="260" y="402"/>
                </a:lnTo>
                <a:lnTo>
                  <a:pt x="262" y="404"/>
                </a:lnTo>
                <a:lnTo>
                  <a:pt x="266" y="406"/>
                </a:lnTo>
                <a:lnTo>
                  <a:pt x="273" y="408"/>
                </a:lnTo>
                <a:lnTo>
                  <a:pt x="280" y="410"/>
                </a:lnTo>
                <a:lnTo>
                  <a:pt x="296" y="413"/>
                </a:lnTo>
                <a:lnTo>
                  <a:pt x="307" y="414"/>
                </a:lnTo>
                <a:lnTo>
                  <a:pt x="323" y="414"/>
                </a:lnTo>
                <a:lnTo>
                  <a:pt x="341" y="416"/>
                </a:lnTo>
                <a:lnTo>
                  <a:pt x="356" y="419"/>
                </a:lnTo>
                <a:lnTo>
                  <a:pt x="373" y="422"/>
                </a:lnTo>
                <a:lnTo>
                  <a:pt x="403" y="431"/>
                </a:lnTo>
                <a:lnTo>
                  <a:pt x="433" y="441"/>
                </a:lnTo>
                <a:lnTo>
                  <a:pt x="463" y="452"/>
                </a:lnTo>
                <a:lnTo>
                  <a:pt x="490" y="461"/>
                </a:lnTo>
                <a:lnTo>
                  <a:pt x="504" y="464"/>
                </a:lnTo>
                <a:lnTo>
                  <a:pt x="518" y="467"/>
                </a:lnTo>
                <a:lnTo>
                  <a:pt x="532" y="469"/>
                </a:lnTo>
                <a:lnTo>
                  <a:pt x="546" y="469"/>
                </a:lnTo>
                <a:lnTo>
                  <a:pt x="548" y="477"/>
                </a:lnTo>
                <a:lnTo>
                  <a:pt x="554" y="485"/>
                </a:lnTo>
                <a:lnTo>
                  <a:pt x="559" y="493"/>
                </a:lnTo>
                <a:lnTo>
                  <a:pt x="566" y="501"/>
                </a:lnTo>
                <a:lnTo>
                  <a:pt x="575" y="510"/>
                </a:lnTo>
                <a:lnTo>
                  <a:pt x="583" y="517"/>
                </a:lnTo>
                <a:lnTo>
                  <a:pt x="592" y="524"/>
                </a:lnTo>
                <a:lnTo>
                  <a:pt x="602" y="531"/>
                </a:lnTo>
                <a:lnTo>
                  <a:pt x="612" y="537"/>
                </a:lnTo>
                <a:lnTo>
                  <a:pt x="622" y="542"/>
                </a:lnTo>
                <a:lnTo>
                  <a:pt x="633" y="547"/>
                </a:lnTo>
                <a:lnTo>
                  <a:pt x="643" y="550"/>
                </a:lnTo>
                <a:lnTo>
                  <a:pt x="653" y="553"/>
                </a:lnTo>
                <a:lnTo>
                  <a:pt x="661" y="555"/>
                </a:lnTo>
                <a:lnTo>
                  <a:pt x="670" y="555"/>
                </a:lnTo>
                <a:lnTo>
                  <a:pt x="679" y="555"/>
                </a:lnTo>
                <a:lnTo>
                  <a:pt x="738" y="568"/>
                </a:lnTo>
                <a:lnTo>
                  <a:pt x="904" y="568"/>
                </a:lnTo>
                <a:lnTo>
                  <a:pt x="910" y="572"/>
                </a:lnTo>
                <a:lnTo>
                  <a:pt x="917" y="576"/>
                </a:lnTo>
                <a:lnTo>
                  <a:pt x="928" y="580"/>
                </a:lnTo>
                <a:lnTo>
                  <a:pt x="940" y="585"/>
                </a:lnTo>
                <a:lnTo>
                  <a:pt x="970" y="595"/>
                </a:lnTo>
                <a:lnTo>
                  <a:pt x="1003" y="605"/>
                </a:lnTo>
                <a:lnTo>
                  <a:pt x="1037" y="614"/>
                </a:lnTo>
                <a:lnTo>
                  <a:pt x="1070" y="623"/>
                </a:lnTo>
                <a:lnTo>
                  <a:pt x="1084" y="626"/>
                </a:lnTo>
                <a:lnTo>
                  <a:pt x="1097" y="628"/>
                </a:lnTo>
                <a:lnTo>
                  <a:pt x="1108" y="629"/>
                </a:lnTo>
                <a:lnTo>
                  <a:pt x="1117" y="630"/>
                </a:lnTo>
                <a:lnTo>
                  <a:pt x="1121" y="629"/>
                </a:lnTo>
                <a:lnTo>
                  <a:pt x="1127" y="627"/>
                </a:lnTo>
                <a:lnTo>
                  <a:pt x="1134" y="625"/>
                </a:lnTo>
                <a:lnTo>
                  <a:pt x="1140" y="622"/>
                </a:lnTo>
                <a:lnTo>
                  <a:pt x="1157" y="613"/>
                </a:lnTo>
                <a:lnTo>
                  <a:pt x="1174" y="603"/>
                </a:lnTo>
                <a:lnTo>
                  <a:pt x="1209" y="583"/>
                </a:lnTo>
                <a:lnTo>
                  <a:pt x="1237" y="568"/>
                </a:lnTo>
                <a:lnTo>
                  <a:pt x="1337" y="568"/>
                </a:lnTo>
                <a:lnTo>
                  <a:pt x="1344" y="564"/>
                </a:lnTo>
                <a:lnTo>
                  <a:pt x="1355" y="556"/>
                </a:lnTo>
                <a:lnTo>
                  <a:pt x="1366" y="546"/>
                </a:lnTo>
                <a:lnTo>
                  <a:pt x="1377" y="534"/>
                </a:lnTo>
                <a:lnTo>
                  <a:pt x="1387" y="522"/>
                </a:lnTo>
                <a:lnTo>
                  <a:pt x="1395" y="510"/>
                </a:lnTo>
                <a:lnTo>
                  <a:pt x="1398" y="503"/>
                </a:lnTo>
                <a:lnTo>
                  <a:pt x="1400" y="497"/>
                </a:lnTo>
                <a:lnTo>
                  <a:pt x="1403" y="492"/>
                </a:lnTo>
                <a:lnTo>
                  <a:pt x="1403" y="487"/>
                </a:lnTo>
                <a:lnTo>
                  <a:pt x="1403" y="483"/>
                </a:lnTo>
                <a:lnTo>
                  <a:pt x="1401" y="479"/>
                </a:lnTo>
                <a:lnTo>
                  <a:pt x="1399" y="475"/>
                </a:lnTo>
                <a:lnTo>
                  <a:pt x="1397" y="471"/>
                </a:lnTo>
                <a:lnTo>
                  <a:pt x="1392" y="463"/>
                </a:lnTo>
                <a:lnTo>
                  <a:pt x="1386" y="455"/>
                </a:lnTo>
                <a:lnTo>
                  <a:pt x="1379" y="445"/>
                </a:lnTo>
                <a:lnTo>
                  <a:pt x="1374" y="434"/>
                </a:lnTo>
                <a:lnTo>
                  <a:pt x="1373" y="429"/>
                </a:lnTo>
                <a:lnTo>
                  <a:pt x="1371" y="422"/>
                </a:lnTo>
                <a:lnTo>
                  <a:pt x="1370" y="415"/>
                </a:lnTo>
                <a:lnTo>
                  <a:pt x="1370" y="408"/>
                </a:lnTo>
                <a:lnTo>
                  <a:pt x="1483" y="408"/>
                </a:lnTo>
                <a:lnTo>
                  <a:pt x="1486" y="404"/>
                </a:lnTo>
                <a:lnTo>
                  <a:pt x="1491" y="399"/>
                </a:lnTo>
                <a:lnTo>
                  <a:pt x="1499" y="394"/>
                </a:lnTo>
                <a:lnTo>
                  <a:pt x="1508" y="388"/>
                </a:lnTo>
                <a:lnTo>
                  <a:pt x="1529" y="376"/>
                </a:lnTo>
                <a:lnTo>
                  <a:pt x="1551" y="364"/>
                </a:lnTo>
                <a:lnTo>
                  <a:pt x="1574" y="352"/>
                </a:lnTo>
                <a:lnTo>
                  <a:pt x="1594" y="343"/>
                </a:lnTo>
                <a:lnTo>
                  <a:pt x="1608" y="335"/>
                </a:lnTo>
                <a:lnTo>
                  <a:pt x="1616" y="333"/>
                </a:lnTo>
                <a:lnTo>
                  <a:pt x="1628" y="332"/>
                </a:lnTo>
                <a:lnTo>
                  <a:pt x="1640" y="329"/>
                </a:lnTo>
                <a:lnTo>
                  <a:pt x="1651" y="325"/>
                </a:lnTo>
                <a:lnTo>
                  <a:pt x="1662" y="319"/>
                </a:lnTo>
                <a:lnTo>
                  <a:pt x="1670" y="314"/>
                </a:lnTo>
                <a:lnTo>
                  <a:pt x="1679" y="308"/>
                </a:lnTo>
                <a:lnTo>
                  <a:pt x="1685" y="302"/>
                </a:lnTo>
                <a:lnTo>
                  <a:pt x="1688" y="297"/>
                </a:lnTo>
                <a:lnTo>
                  <a:pt x="1680" y="294"/>
                </a:lnTo>
                <a:lnTo>
                  <a:pt x="1674" y="291"/>
                </a:lnTo>
                <a:lnTo>
                  <a:pt x="1667" y="288"/>
                </a:lnTo>
                <a:lnTo>
                  <a:pt x="1661" y="284"/>
                </a:lnTo>
                <a:lnTo>
                  <a:pt x="1656" y="279"/>
                </a:lnTo>
                <a:lnTo>
                  <a:pt x="1652" y="275"/>
                </a:lnTo>
                <a:lnTo>
                  <a:pt x="1650" y="270"/>
                </a:lnTo>
                <a:lnTo>
                  <a:pt x="1648" y="266"/>
                </a:lnTo>
                <a:lnTo>
                  <a:pt x="1632" y="258"/>
                </a:lnTo>
                <a:lnTo>
                  <a:pt x="1619" y="252"/>
                </a:lnTo>
                <a:lnTo>
                  <a:pt x="1613" y="250"/>
                </a:lnTo>
                <a:lnTo>
                  <a:pt x="1608" y="249"/>
                </a:lnTo>
                <a:lnTo>
                  <a:pt x="1602" y="248"/>
                </a:lnTo>
                <a:lnTo>
                  <a:pt x="1596" y="247"/>
                </a:lnTo>
                <a:lnTo>
                  <a:pt x="1583" y="248"/>
                </a:lnTo>
                <a:lnTo>
                  <a:pt x="1574" y="249"/>
                </a:lnTo>
                <a:lnTo>
                  <a:pt x="1567" y="251"/>
                </a:lnTo>
                <a:lnTo>
                  <a:pt x="1563" y="253"/>
                </a:lnTo>
                <a:lnTo>
                  <a:pt x="1558" y="256"/>
                </a:lnTo>
                <a:lnTo>
                  <a:pt x="1553" y="258"/>
                </a:lnTo>
                <a:lnTo>
                  <a:pt x="1546" y="259"/>
                </a:lnTo>
                <a:lnTo>
                  <a:pt x="1535" y="259"/>
                </a:lnTo>
                <a:lnTo>
                  <a:pt x="1521" y="259"/>
                </a:lnTo>
                <a:lnTo>
                  <a:pt x="1509" y="258"/>
                </a:lnTo>
                <a:lnTo>
                  <a:pt x="1497" y="256"/>
                </a:lnTo>
                <a:lnTo>
                  <a:pt x="1487" y="253"/>
                </a:lnTo>
                <a:lnTo>
                  <a:pt x="1478" y="249"/>
                </a:lnTo>
                <a:lnTo>
                  <a:pt x="1471" y="245"/>
                </a:lnTo>
                <a:lnTo>
                  <a:pt x="1463" y="240"/>
                </a:lnTo>
                <a:lnTo>
                  <a:pt x="1457" y="235"/>
                </a:lnTo>
                <a:lnTo>
                  <a:pt x="1452" y="228"/>
                </a:lnTo>
                <a:lnTo>
                  <a:pt x="1448" y="220"/>
                </a:lnTo>
                <a:lnTo>
                  <a:pt x="1443" y="213"/>
                </a:lnTo>
                <a:lnTo>
                  <a:pt x="1440" y="205"/>
                </a:lnTo>
                <a:lnTo>
                  <a:pt x="1434" y="187"/>
                </a:lnTo>
                <a:lnTo>
                  <a:pt x="1429" y="167"/>
                </a:lnTo>
                <a:lnTo>
                  <a:pt x="1422" y="136"/>
                </a:lnTo>
                <a:lnTo>
                  <a:pt x="1412" y="134"/>
                </a:lnTo>
                <a:lnTo>
                  <a:pt x="1385" y="127"/>
                </a:lnTo>
                <a:lnTo>
                  <a:pt x="1367" y="124"/>
                </a:lnTo>
                <a:lnTo>
                  <a:pt x="1347" y="121"/>
                </a:lnTo>
                <a:lnTo>
                  <a:pt x="1326" y="119"/>
                </a:lnTo>
                <a:lnTo>
                  <a:pt x="1303" y="118"/>
                </a:lnTo>
                <a:lnTo>
                  <a:pt x="1294" y="119"/>
                </a:lnTo>
                <a:lnTo>
                  <a:pt x="1286" y="120"/>
                </a:lnTo>
                <a:lnTo>
                  <a:pt x="1281" y="123"/>
                </a:lnTo>
                <a:lnTo>
                  <a:pt x="1275" y="126"/>
                </a:lnTo>
                <a:lnTo>
                  <a:pt x="1267" y="134"/>
                </a:lnTo>
                <a:lnTo>
                  <a:pt x="1262" y="142"/>
                </a:lnTo>
                <a:lnTo>
                  <a:pt x="1260" y="147"/>
                </a:lnTo>
                <a:lnTo>
                  <a:pt x="1257" y="151"/>
                </a:lnTo>
                <a:lnTo>
                  <a:pt x="1252" y="156"/>
                </a:lnTo>
                <a:lnTo>
                  <a:pt x="1248" y="159"/>
                </a:lnTo>
                <a:lnTo>
                  <a:pt x="1242" y="162"/>
                </a:lnTo>
                <a:lnTo>
                  <a:pt x="1236" y="165"/>
                </a:lnTo>
                <a:lnTo>
                  <a:pt x="1227" y="166"/>
                </a:lnTo>
                <a:lnTo>
                  <a:pt x="1217" y="167"/>
                </a:lnTo>
                <a:lnTo>
                  <a:pt x="1199" y="167"/>
                </a:lnTo>
                <a:lnTo>
                  <a:pt x="1184" y="167"/>
                </a:lnTo>
                <a:lnTo>
                  <a:pt x="1168" y="167"/>
                </a:lnTo>
                <a:lnTo>
                  <a:pt x="1150" y="167"/>
                </a:lnTo>
                <a:lnTo>
                  <a:pt x="1130" y="167"/>
                </a:lnTo>
                <a:lnTo>
                  <a:pt x="1106" y="167"/>
                </a:lnTo>
                <a:lnTo>
                  <a:pt x="1078" y="167"/>
                </a:lnTo>
                <a:lnTo>
                  <a:pt x="1044" y="167"/>
                </a:lnTo>
                <a:lnTo>
                  <a:pt x="1034" y="164"/>
                </a:lnTo>
                <a:lnTo>
                  <a:pt x="1025" y="160"/>
                </a:lnTo>
                <a:lnTo>
                  <a:pt x="1015" y="156"/>
                </a:lnTo>
                <a:lnTo>
                  <a:pt x="1005" y="151"/>
                </a:lnTo>
                <a:lnTo>
                  <a:pt x="986" y="140"/>
                </a:lnTo>
                <a:lnTo>
                  <a:pt x="967" y="129"/>
                </a:lnTo>
                <a:lnTo>
                  <a:pt x="956" y="123"/>
                </a:lnTo>
                <a:lnTo>
                  <a:pt x="945" y="118"/>
                </a:lnTo>
                <a:lnTo>
                  <a:pt x="934" y="112"/>
                </a:lnTo>
                <a:lnTo>
                  <a:pt x="922" y="108"/>
                </a:lnTo>
                <a:lnTo>
                  <a:pt x="908" y="104"/>
                </a:lnTo>
                <a:lnTo>
                  <a:pt x="895" y="102"/>
                </a:lnTo>
                <a:lnTo>
                  <a:pt x="880" y="100"/>
                </a:lnTo>
                <a:lnTo>
                  <a:pt x="865" y="99"/>
                </a:lnTo>
                <a:lnTo>
                  <a:pt x="852" y="100"/>
                </a:lnTo>
                <a:lnTo>
                  <a:pt x="841" y="102"/>
                </a:lnTo>
                <a:lnTo>
                  <a:pt x="832" y="105"/>
                </a:lnTo>
                <a:lnTo>
                  <a:pt x="822" y="108"/>
                </a:lnTo>
                <a:lnTo>
                  <a:pt x="811" y="112"/>
                </a:lnTo>
                <a:lnTo>
                  <a:pt x="801" y="114"/>
                </a:lnTo>
                <a:lnTo>
                  <a:pt x="790" y="118"/>
                </a:lnTo>
                <a:lnTo>
                  <a:pt x="778" y="118"/>
                </a:lnTo>
                <a:lnTo>
                  <a:pt x="765" y="118"/>
                </a:lnTo>
                <a:lnTo>
                  <a:pt x="753" y="117"/>
                </a:lnTo>
                <a:lnTo>
                  <a:pt x="740" y="116"/>
                </a:lnTo>
                <a:lnTo>
                  <a:pt x="729" y="114"/>
                </a:lnTo>
                <a:lnTo>
                  <a:pt x="720" y="111"/>
                </a:lnTo>
                <a:lnTo>
                  <a:pt x="710" y="108"/>
                </a:lnTo>
                <a:lnTo>
                  <a:pt x="701" y="105"/>
                </a:lnTo>
                <a:lnTo>
                  <a:pt x="692" y="101"/>
                </a:lnTo>
                <a:lnTo>
                  <a:pt x="686" y="96"/>
                </a:lnTo>
                <a:lnTo>
                  <a:pt x="678" y="90"/>
                </a:lnTo>
                <a:lnTo>
                  <a:pt x="672" y="84"/>
                </a:lnTo>
                <a:lnTo>
                  <a:pt x="667" y="76"/>
                </a:lnTo>
                <a:lnTo>
                  <a:pt x="662" y="68"/>
                </a:lnTo>
                <a:lnTo>
                  <a:pt x="658" y="58"/>
                </a:lnTo>
                <a:lnTo>
                  <a:pt x="655" y="49"/>
                </a:lnTo>
                <a:lnTo>
                  <a:pt x="652" y="38"/>
                </a:lnTo>
                <a:lnTo>
                  <a:pt x="459" y="0"/>
                </a:lnTo>
                <a:lnTo>
                  <a:pt x="446" y="7"/>
                </a:lnTo>
                <a:lnTo>
                  <a:pt x="446" y="16"/>
                </a:lnTo>
                <a:lnTo>
                  <a:pt x="446" y="23"/>
                </a:lnTo>
                <a:lnTo>
                  <a:pt x="446" y="30"/>
                </a:lnTo>
                <a:lnTo>
                  <a:pt x="446" y="38"/>
                </a:lnTo>
                <a:lnTo>
                  <a:pt x="446" y="44"/>
                </a:lnTo>
                <a:lnTo>
                  <a:pt x="448" y="50"/>
                </a:lnTo>
                <a:lnTo>
                  <a:pt x="451" y="55"/>
                </a:lnTo>
                <a:lnTo>
                  <a:pt x="454" y="61"/>
                </a:lnTo>
                <a:lnTo>
                  <a:pt x="463" y="71"/>
                </a:lnTo>
                <a:lnTo>
                  <a:pt x="471" y="79"/>
                </a:lnTo>
                <a:lnTo>
                  <a:pt x="476" y="84"/>
                </a:lnTo>
                <a:lnTo>
                  <a:pt x="480" y="89"/>
                </a:lnTo>
                <a:lnTo>
                  <a:pt x="485" y="94"/>
                </a:lnTo>
                <a:lnTo>
                  <a:pt x="488" y="100"/>
                </a:lnTo>
                <a:lnTo>
                  <a:pt x="490" y="106"/>
                </a:lnTo>
                <a:lnTo>
                  <a:pt x="492" y="113"/>
                </a:lnTo>
                <a:lnTo>
                  <a:pt x="493" y="122"/>
                </a:lnTo>
                <a:lnTo>
                  <a:pt x="492" y="130"/>
                </a:lnTo>
                <a:lnTo>
                  <a:pt x="313" y="130"/>
                </a:lnTo>
                <a:lnTo>
                  <a:pt x="307" y="122"/>
                </a:lnTo>
                <a:lnTo>
                  <a:pt x="300" y="113"/>
                </a:lnTo>
                <a:lnTo>
                  <a:pt x="298" y="108"/>
                </a:lnTo>
                <a:lnTo>
                  <a:pt x="296" y="102"/>
                </a:lnTo>
                <a:lnTo>
                  <a:pt x="294" y="95"/>
                </a:lnTo>
                <a:lnTo>
                  <a:pt x="294" y="87"/>
                </a:lnTo>
                <a:lnTo>
                  <a:pt x="279" y="87"/>
                </a:lnTo>
                <a:lnTo>
                  <a:pt x="266" y="87"/>
                </a:lnTo>
                <a:lnTo>
                  <a:pt x="240" y="99"/>
                </a:lnTo>
                <a:lnTo>
                  <a:pt x="233" y="99"/>
                </a:lnTo>
                <a:lnTo>
                  <a:pt x="225" y="97"/>
                </a:lnTo>
                <a:lnTo>
                  <a:pt x="219" y="95"/>
                </a:lnTo>
                <a:lnTo>
                  <a:pt x="211" y="93"/>
                </a:lnTo>
                <a:lnTo>
                  <a:pt x="204" y="91"/>
                </a:lnTo>
                <a:lnTo>
                  <a:pt x="195" y="89"/>
                </a:lnTo>
                <a:lnTo>
                  <a:pt x="185" y="88"/>
                </a:lnTo>
                <a:lnTo>
                  <a:pt x="174" y="87"/>
                </a:lnTo>
                <a:lnTo>
                  <a:pt x="164" y="88"/>
                </a:lnTo>
                <a:lnTo>
                  <a:pt x="155" y="90"/>
                </a:lnTo>
                <a:lnTo>
                  <a:pt x="146" y="93"/>
                </a:lnTo>
                <a:lnTo>
                  <a:pt x="138" y="97"/>
                </a:lnTo>
                <a:lnTo>
                  <a:pt x="122" y="106"/>
                </a:lnTo>
                <a:lnTo>
                  <a:pt x="107" y="118"/>
                </a:lnTo>
                <a:lnTo>
                  <a:pt x="92" y="129"/>
                </a:lnTo>
                <a:lnTo>
                  <a:pt x="76" y="139"/>
                </a:lnTo>
                <a:lnTo>
                  <a:pt x="68" y="143"/>
                </a:lnTo>
                <a:lnTo>
                  <a:pt x="60" y="146"/>
                </a:lnTo>
                <a:lnTo>
                  <a:pt x="50" y="148"/>
                </a:lnTo>
                <a:lnTo>
                  <a:pt x="41" y="149"/>
                </a:lnTo>
                <a:lnTo>
                  <a:pt x="37" y="149"/>
                </a:lnTo>
                <a:lnTo>
                  <a:pt x="31" y="151"/>
                </a:lnTo>
                <a:lnTo>
                  <a:pt x="25" y="153"/>
                </a:lnTo>
                <a:lnTo>
                  <a:pt x="18" y="157"/>
                </a:lnTo>
                <a:lnTo>
                  <a:pt x="11" y="161"/>
                </a:lnTo>
                <a:lnTo>
                  <a:pt x="6" y="166"/>
                </a:lnTo>
                <a:lnTo>
                  <a:pt x="4" y="169"/>
                </a:lnTo>
                <a:lnTo>
                  <a:pt x="3" y="173"/>
                </a:lnTo>
                <a:lnTo>
                  <a:pt x="1" y="177"/>
                </a:lnTo>
                <a:lnTo>
                  <a:pt x="0" y="18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 dirty="0"/>
          </a:p>
        </p:txBody>
      </p:sp>
      <p:sp>
        <p:nvSpPr>
          <p:cNvPr id="43" name="Freeform 227"/>
          <p:cNvSpPr>
            <a:spLocks/>
          </p:cNvSpPr>
          <p:nvPr>
            <p:custDataLst>
              <p:tags r:id="rId24"/>
            </p:custDataLst>
          </p:nvPr>
        </p:nvSpPr>
        <p:spPr bwMode="auto">
          <a:xfrm>
            <a:off x="1147947" y="2981203"/>
            <a:ext cx="557085" cy="493700"/>
          </a:xfrm>
          <a:custGeom>
            <a:avLst/>
            <a:gdLst>
              <a:gd name="T0" fmla="*/ 45045772 w 1037"/>
              <a:gd name="T1" fmla="*/ 171155139 h 690"/>
              <a:gd name="T2" fmla="*/ 29091989 w 1037"/>
              <a:gd name="T3" fmla="*/ 187940177 h 690"/>
              <a:gd name="T4" fmla="*/ 6005901 w 1037"/>
              <a:gd name="T5" fmla="*/ 179960491 h 690"/>
              <a:gd name="T6" fmla="*/ 12575437 w 1037"/>
              <a:gd name="T7" fmla="*/ 174456753 h 690"/>
              <a:gd name="T8" fmla="*/ 3378346 w 1037"/>
              <a:gd name="T9" fmla="*/ 164000594 h 690"/>
              <a:gd name="T10" fmla="*/ 8258276 w 1037"/>
              <a:gd name="T11" fmla="*/ 163725197 h 690"/>
              <a:gd name="T12" fmla="*/ 12575437 w 1037"/>
              <a:gd name="T13" fmla="*/ 156020383 h 690"/>
              <a:gd name="T14" fmla="*/ 1501584 w 1037"/>
              <a:gd name="T15" fmla="*/ 150242298 h 690"/>
              <a:gd name="T16" fmla="*/ 13888998 w 1037"/>
              <a:gd name="T17" fmla="*/ 143913418 h 690"/>
              <a:gd name="T18" fmla="*/ 0 w 1037"/>
              <a:gd name="T19" fmla="*/ 137309142 h 690"/>
              <a:gd name="T20" fmla="*/ 3753959 w 1037"/>
              <a:gd name="T21" fmla="*/ 125477049 h 690"/>
              <a:gd name="T22" fmla="*/ 6944715 w 1037"/>
              <a:gd name="T23" fmla="*/ 126852984 h 690"/>
              <a:gd name="T24" fmla="*/ 14452200 w 1037"/>
              <a:gd name="T25" fmla="*/ 123550846 h 690"/>
              <a:gd name="T26" fmla="*/ 17267344 w 1037"/>
              <a:gd name="T27" fmla="*/ 116671697 h 690"/>
              <a:gd name="T28" fmla="*/ 24399649 w 1037"/>
              <a:gd name="T29" fmla="*/ 112543894 h 690"/>
              <a:gd name="T30" fmla="*/ 41291813 w 1037"/>
              <a:gd name="T31" fmla="*/ 105114477 h 690"/>
              <a:gd name="T32" fmla="*/ 42605807 w 1037"/>
              <a:gd name="T33" fmla="*/ 93282383 h 690"/>
              <a:gd name="T34" fmla="*/ 53116459 w 1037"/>
              <a:gd name="T35" fmla="*/ 89429977 h 690"/>
              <a:gd name="T36" fmla="*/ 52928869 w 1037"/>
              <a:gd name="T37" fmla="*/ 85302173 h 690"/>
              <a:gd name="T38" fmla="*/ 55931603 w 1037"/>
              <a:gd name="T39" fmla="*/ 78423025 h 690"/>
              <a:gd name="T40" fmla="*/ 62876318 w 1037"/>
              <a:gd name="T41" fmla="*/ 66865804 h 690"/>
              <a:gd name="T42" fmla="*/ 64377902 w 1037"/>
              <a:gd name="T43" fmla="*/ 62188256 h 690"/>
              <a:gd name="T44" fmla="*/ 73199380 w 1037"/>
              <a:gd name="T45" fmla="*/ 55033711 h 690"/>
              <a:gd name="T46" fmla="*/ 72636178 w 1037"/>
              <a:gd name="T47" fmla="*/ 43201618 h 690"/>
              <a:gd name="T48" fmla="*/ 70008623 w 1037"/>
              <a:gd name="T49" fmla="*/ 39073814 h 690"/>
              <a:gd name="T50" fmla="*/ 62688728 w 1037"/>
              <a:gd name="T51" fmla="*/ 42375952 h 690"/>
              <a:gd name="T52" fmla="*/ 73199380 w 1037"/>
              <a:gd name="T53" fmla="*/ 28342259 h 690"/>
              <a:gd name="T54" fmla="*/ 77140928 w 1037"/>
              <a:gd name="T55" fmla="*/ 26416055 h 690"/>
              <a:gd name="T56" fmla="*/ 86900788 w 1037"/>
              <a:gd name="T57" fmla="*/ 31369000 h 690"/>
              <a:gd name="T58" fmla="*/ 87463557 w 1037"/>
              <a:gd name="T59" fmla="*/ 25040121 h 690"/>
              <a:gd name="T60" fmla="*/ 104731334 w 1037"/>
              <a:gd name="T61" fmla="*/ 16785038 h 690"/>
              <a:gd name="T62" fmla="*/ 110924824 w 1037"/>
              <a:gd name="T63" fmla="*/ 17335831 h 690"/>
              <a:gd name="T64" fmla="*/ 121060296 w 1037"/>
              <a:gd name="T65" fmla="*/ 15134231 h 690"/>
              <a:gd name="T66" fmla="*/ 121060296 w 1037"/>
              <a:gd name="T67" fmla="*/ 9080748 h 690"/>
              <a:gd name="T68" fmla="*/ 131195335 w 1037"/>
              <a:gd name="T69" fmla="*/ 3577010 h 690"/>
              <a:gd name="T70" fmla="*/ 132321739 w 1037"/>
              <a:gd name="T71" fmla="*/ 7979686 h 690"/>
              <a:gd name="T72" fmla="*/ 133635300 w 1037"/>
              <a:gd name="T73" fmla="*/ 11006952 h 690"/>
              <a:gd name="T74" fmla="*/ 142269188 w 1037"/>
              <a:gd name="T75" fmla="*/ 3302138 h 690"/>
              <a:gd name="T76" fmla="*/ 153343042 w 1037"/>
              <a:gd name="T77" fmla="*/ 1650807 h 690"/>
              <a:gd name="T78" fmla="*/ 158410561 w 1037"/>
              <a:gd name="T79" fmla="*/ 2201600 h 690"/>
              <a:gd name="T80" fmla="*/ 161788907 w 1037"/>
              <a:gd name="T81" fmla="*/ 3026741 h 690"/>
              <a:gd name="T82" fmla="*/ 173425963 w 1037"/>
              <a:gd name="T83" fmla="*/ 1650807 h 690"/>
              <a:gd name="T84" fmla="*/ 194634855 w 1037"/>
              <a:gd name="T85" fmla="*/ 11832093 h 690"/>
              <a:gd name="T86" fmla="*/ 188628954 w 1037"/>
              <a:gd name="T87" fmla="*/ 21738507 h 690"/>
              <a:gd name="T88" fmla="*/ 174551934 w 1037"/>
              <a:gd name="T89" fmla="*/ 15134231 h 690"/>
              <a:gd name="T90" fmla="*/ 163853693 w 1037"/>
              <a:gd name="T91" fmla="*/ 20362573 h 690"/>
              <a:gd name="T92" fmla="*/ 159161353 w 1037"/>
              <a:gd name="T93" fmla="*/ 31919793 h 690"/>
              <a:gd name="T94" fmla="*/ 152216637 w 1037"/>
              <a:gd name="T95" fmla="*/ 30543859 h 690"/>
              <a:gd name="T96" fmla="*/ 139829223 w 1037"/>
              <a:gd name="T97" fmla="*/ 35221407 h 690"/>
              <a:gd name="T98" fmla="*/ 130256953 w 1037"/>
              <a:gd name="T99" fmla="*/ 25315517 h 690"/>
              <a:gd name="T100" fmla="*/ 116367956 w 1037"/>
              <a:gd name="T101" fmla="*/ 30818731 h 690"/>
              <a:gd name="T102" fmla="*/ 100226583 w 1037"/>
              <a:gd name="T103" fmla="*/ 36872738 h 690"/>
              <a:gd name="T104" fmla="*/ 91217515 w 1037"/>
              <a:gd name="T105" fmla="*/ 57785580 h 690"/>
              <a:gd name="T106" fmla="*/ 80706864 w 1037"/>
              <a:gd name="T107" fmla="*/ 76772218 h 690"/>
              <a:gd name="T108" fmla="*/ 74888553 w 1037"/>
              <a:gd name="T109" fmla="*/ 100161532 h 690"/>
              <a:gd name="T110" fmla="*/ 62500706 w 1037"/>
              <a:gd name="T111" fmla="*/ 116946570 h 690"/>
              <a:gd name="T112" fmla="*/ 66630277 w 1037"/>
              <a:gd name="T113" fmla="*/ 136758873 h 690"/>
              <a:gd name="T114" fmla="*/ 66442254 w 1037"/>
              <a:gd name="T115" fmla="*/ 153543911 h 690"/>
              <a:gd name="T116" fmla="*/ 62125526 w 1037"/>
              <a:gd name="T117" fmla="*/ 169228936 h 690"/>
              <a:gd name="T118" fmla="*/ 55368834 w 1037"/>
              <a:gd name="T119" fmla="*/ 177484018 h 690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1037" h="690">
                <a:moveTo>
                  <a:pt x="286" y="647"/>
                </a:moveTo>
                <a:lnTo>
                  <a:pt x="273" y="631"/>
                </a:lnTo>
                <a:lnTo>
                  <a:pt x="262" y="621"/>
                </a:lnTo>
                <a:lnTo>
                  <a:pt x="253" y="612"/>
                </a:lnTo>
                <a:lnTo>
                  <a:pt x="246" y="604"/>
                </a:lnTo>
                <a:lnTo>
                  <a:pt x="243" y="613"/>
                </a:lnTo>
                <a:lnTo>
                  <a:pt x="240" y="622"/>
                </a:lnTo>
                <a:lnTo>
                  <a:pt x="239" y="627"/>
                </a:lnTo>
                <a:lnTo>
                  <a:pt x="235" y="632"/>
                </a:lnTo>
                <a:lnTo>
                  <a:pt x="231" y="638"/>
                </a:lnTo>
                <a:lnTo>
                  <a:pt x="224" y="644"/>
                </a:lnTo>
                <a:lnTo>
                  <a:pt x="208" y="655"/>
                </a:lnTo>
                <a:lnTo>
                  <a:pt x="190" y="665"/>
                </a:lnTo>
                <a:lnTo>
                  <a:pt x="155" y="683"/>
                </a:lnTo>
                <a:lnTo>
                  <a:pt x="140" y="690"/>
                </a:lnTo>
                <a:lnTo>
                  <a:pt x="107" y="690"/>
                </a:lnTo>
                <a:lnTo>
                  <a:pt x="86" y="683"/>
                </a:lnTo>
                <a:lnTo>
                  <a:pt x="60" y="672"/>
                </a:lnTo>
                <a:lnTo>
                  <a:pt x="48" y="666"/>
                </a:lnTo>
                <a:lnTo>
                  <a:pt x="37" y="658"/>
                </a:lnTo>
                <a:lnTo>
                  <a:pt x="32" y="654"/>
                </a:lnTo>
                <a:lnTo>
                  <a:pt x="30" y="650"/>
                </a:lnTo>
                <a:lnTo>
                  <a:pt x="28" y="646"/>
                </a:lnTo>
                <a:lnTo>
                  <a:pt x="27" y="641"/>
                </a:lnTo>
                <a:lnTo>
                  <a:pt x="40" y="641"/>
                </a:lnTo>
                <a:lnTo>
                  <a:pt x="50" y="640"/>
                </a:lnTo>
                <a:lnTo>
                  <a:pt x="58" y="639"/>
                </a:lnTo>
                <a:lnTo>
                  <a:pt x="67" y="634"/>
                </a:lnTo>
                <a:lnTo>
                  <a:pt x="59" y="627"/>
                </a:lnTo>
                <a:lnTo>
                  <a:pt x="49" y="620"/>
                </a:lnTo>
                <a:lnTo>
                  <a:pt x="38" y="613"/>
                </a:lnTo>
                <a:lnTo>
                  <a:pt x="27" y="606"/>
                </a:lnTo>
                <a:lnTo>
                  <a:pt x="8" y="596"/>
                </a:lnTo>
                <a:lnTo>
                  <a:pt x="0" y="592"/>
                </a:lnTo>
                <a:lnTo>
                  <a:pt x="18" y="596"/>
                </a:lnTo>
                <a:lnTo>
                  <a:pt x="32" y="599"/>
                </a:lnTo>
                <a:lnTo>
                  <a:pt x="38" y="600"/>
                </a:lnTo>
                <a:lnTo>
                  <a:pt x="43" y="600"/>
                </a:lnTo>
                <a:lnTo>
                  <a:pt x="49" y="600"/>
                </a:lnTo>
                <a:lnTo>
                  <a:pt x="54" y="598"/>
                </a:lnTo>
                <a:lnTo>
                  <a:pt x="49" y="597"/>
                </a:lnTo>
                <a:lnTo>
                  <a:pt x="44" y="595"/>
                </a:lnTo>
                <a:lnTo>
                  <a:pt x="40" y="591"/>
                </a:lnTo>
                <a:lnTo>
                  <a:pt x="36" y="587"/>
                </a:lnTo>
                <a:lnTo>
                  <a:pt x="32" y="583"/>
                </a:lnTo>
                <a:lnTo>
                  <a:pt x="29" y="576"/>
                </a:lnTo>
                <a:lnTo>
                  <a:pt x="28" y="571"/>
                </a:lnTo>
                <a:lnTo>
                  <a:pt x="27" y="567"/>
                </a:lnTo>
                <a:lnTo>
                  <a:pt x="67" y="567"/>
                </a:lnTo>
                <a:lnTo>
                  <a:pt x="56" y="566"/>
                </a:lnTo>
                <a:lnTo>
                  <a:pt x="45" y="564"/>
                </a:lnTo>
                <a:lnTo>
                  <a:pt x="35" y="562"/>
                </a:lnTo>
                <a:lnTo>
                  <a:pt x="25" y="558"/>
                </a:lnTo>
                <a:lnTo>
                  <a:pt x="16" y="554"/>
                </a:lnTo>
                <a:lnTo>
                  <a:pt x="10" y="549"/>
                </a:lnTo>
                <a:lnTo>
                  <a:pt x="8" y="546"/>
                </a:lnTo>
                <a:lnTo>
                  <a:pt x="7" y="543"/>
                </a:lnTo>
                <a:lnTo>
                  <a:pt x="7" y="540"/>
                </a:lnTo>
                <a:lnTo>
                  <a:pt x="7" y="536"/>
                </a:lnTo>
                <a:lnTo>
                  <a:pt x="0" y="523"/>
                </a:lnTo>
                <a:lnTo>
                  <a:pt x="29" y="523"/>
                </a:lnTo>
                <a:lnTo>
                  <a:pt x="54" y="523"/>
                </a:lnTo>
                <a:lnTo>
                  <a:pt x="74" y="523"/>
                </a:lnTo>
                <a:lnTo>
                  <a:pt x="87" y="523"/>
                </a:lnTo>
                <a:lnTo>
                  <a:pt x="72" y="519"/>
                </a:lnTo>
                <a:lnTo>
                  <a:pt x="39" y="511"/>
                </a:lnTo>
                <a:lnTo>
                  <a:pt x="22" y="507"/>
                </a:lnTo>
                <a:lnTo>
                  <a:pt x="8" y="503"/>
                </a:lnTo>
                <a:lnTo>
                  <a:pt x="0" y="500"/>
                </a:lnTo>
                <a:lnTo>
                  <a:pt x="0" y="499"/>
                </a:lnTo>
                <a:lnTo>
                  <a:pt x="2" y="485"/>
                </a:lnTo>
                <a:lnTo>
                  <a:pt x="3" y="476"/>
                </a:lnTo>
                <a:lnTo>
                  <a:pt x="4" y="472"/>
                </a:lnTo>
                <a:lnTo>
                  <a:pt x="4" y="467"/>
                </a:lnTo>
                <a:lnTo>
                  <a:pt x="3" y="462"/>
                </a:lnTo>
                <a:lnTo>
                  <a:pt x="0" y="456"/>
                </a:lnTo>
                <a:lnTo>
                  <a:pt x="20" y="456"/>
                </a:lnTo>
                <a:lnTo>
                  <a:pt x="21" y="460"/>
                </a:lnTo>
                <a:lnTo>
                  <a:pt x="24" y="463"/>
                </a:lnTo>
                <a:lnTo>
                  <a:pt x="25" y="464"/>
                </a:lnTo>
                <a:lnTo>
                  <a:pt x="26" y="464"/>
                </a:lnTo>
                <a:lnTo>
                  <a:pt x="27" y="463"/>
                </a:lnTo>
                <a:lnTo>
                  <a:pt x="27" y="462"/>
                </a:lnTo>
                <a:lnTo>
                  <a:pt x="37" y="461"/>
                </a:lnTo>
                <a:lnTo>
                  <a:pt x="51" y="459"/>
                </a:lnTo>
                <a:lnTo>
                  <a:pt x="67" y="457"/>
                </a:lnTo>
                <a:lnTo>
                  <a:pt x="81" y="456"/>
                </a:lnTo>
                <a:lnTo>
                  <a:pt x="78" y="455"/>
                </a:lnTo>
                <a:lnTo>
                  <a:pt x="77" y="454"/>
                </a:lnTo>
                <a:lnTo>
                  <a:pt x="77" y="452"/>
                </a:lnTo>
                <a:lnTo>
                  <a:pt x="77" y="449"/>
                </a:lnTo>
                <a:lnTo>
                  <a:pt x="80" y="443"/>
                </a:lnTo>
                <a:lnTo>
                  <a:pt x="81" y="437"/>
                </a:lnTo>
                <a:lnTo>
                  <a:pt x="91" y="437"/>
                </a:lnTo>
                <a:lnTo>
                  <a:pt x="100" y="437"/>
                </a:lnTo>
                <a:lnTo>
                  <a:pt x="99" y="433"/>
                </a:lnTo>
                <a:lnTo>
                  <a:pt x="96" y="428"/>
                </a:lnTo>
                <a:lnTo>
                  <a:pt x="92" y="424"/>
                </a:lnTo>
                <a:lnTo>
                  <a:pt x="87" y="419"/>
                </a:lnTo>
                <a:lnTo>
                  <a:pt x="97" y="416"/>
                </a:lnTo>
                <a:lnTo>
                  <a:pt x="107" y="413"/>
                </a:lnTo>
                <a:lnTo>
                  <a:pt x="117" y="412"/>
                </a:lnTo>
                <a:lnTo>
                  <a:pt x="127" y="412"/>
                </a:lnTo>
                <a:lnTo>
                  <a:pt x="129" y="412"/>
                </a:lnTo>
                <a:lnTo>
                  <a:pt x="130" y="409"/>
                </a:lnTo>
                <a:lnTo>
                  <a:pt x="130" y="406"/>
                </a:lnTo>
                <a:lnTo>
                  <a:pt x="129" y="402"/>
                </a:lnTo>
                <a:lnTo>
                  <a:pt x="128" y="394"/>
                </a:lnTo>
                <a:lnTo>
                  <a:pt x="127" y="388"/>
                </a:lnTo>
                <a:lnTo>
                  <a:pt x="147" y="388"/>
                </a:lnTo>
                <a:lnTo>
                  <a:pt x="133" y="382"/>
                </a:lnTo>
                <a:lnTo>
                  <a:pt x="220" y="382"/>
                </a:lnTo>
                <a:lnTo>
                  <a:pt x="207" y="376"/>
                </a:lnTo>
                <a:lnTo>
                  <a:pt x="213" y="373"/>
                </a:lnTo>
                <a:lnTo>
                  <a:pt x="218" y="370"/>
                </a:lnTo>
                <a:lnTo>
                  <a:pt x="221" y="367"/>
                </a:lnTo>
                <a:lnTo>
                  <a:pt x="224" y="362"/>
                </a:lnTo>
                <a:lnTo>
                  <a:pt x="227" y="351"/>
                </a:lnTo>
                <a:lnTo>
                  <a:pt x="227" y="339"/>
                </a:lnTo>
                <a:lnTo>
                  <a:pt x="243" y="339"/>
                </a:lnTo>
                <a:lnTo>
                  <a:pt x="255" y="339"/>
                </a:lnTo>
                <a:lnTo>
                  <a:pt x="266" y="339"/>
                </a:lnTo>
                <a:lnTo>
                  <a:pt x="279" y="339"/>
                </a:lnTo>
                <a:lnTo>
                  <a:pt x="279" y="333"/>
                </a:lnTo>
                <a:lnTo>
                  <a:pt x="282" y="327"/>
                </a:lnTo>
                <a:lnTo>
                  <a:pt x="283" y="325"/>
                </a:lnTo>
                <a:lnTo>
                  <a:pt x="285" y="323"/>
                </a:lnTo>
                <a:lnTo>
                  <a:pt x="288" y="321"/>
                </a:lnTo>
                <a:lnTo>
                  <a:pt x="293" y="321"/>
                </a:lnTo>
                <a:lnTo>
                  <a:pt x="286" y="318"/>
                </a:lnTo>
                <a:lnTo>
                  <a:pt x="279" y="314"/>
                </a:lnTo>
                <a:lnTo>
                  <a:pt x="280" y="312"/>
                </a:lnTo>
                <a:lnTo>
                  <a:pt x="282" y="310"/>
                </a:lnTo>
                <a:lnTo>
                  <a:pt x="284" y="308"/>
                </a:lnTo>
                <a:lnTo>
                  <a:pt x="287" y="305"/>
                </a:lnTo>
                <a:lnTo>
                  <a:pt x="294" y="300"/>
                </a:lnTo>
                <a:lnTo>
                  <a:pt x="299" y="295"/>
                </a:lnTo>
                <a:lnTo>
                  <a:pt x="298" y="292"/>
                </a:lnTo>
                <a:lnTo>
                  <a:pt x="297" y="288"/>
                </a:lnTo>
                <a:lnTo>
                  <a:pt x="298" y="285"/>
                </a:lnTo>
                <a:lnTo>
                  <a:pt x="299" y="281"/>
                </a:lnTo>
                <a:lnTo>
                  <a:pt x="305" y="274"/>
                </a:lnTo>
                <a:lnTo>
                  <a:pt x="311" y="267"/>
                </a:lnTo>
                <a:lnTo>
                  <a:pt x="325" y="254"/>
                </a:lnTo>
                <a:lnTo>
                  <a:pt x="333" y="246"/>
                </a:lnTo>
                <a:lnTo>
                  <a:pt x="333" y="244"/>
                </a:lnTo>
                <a:lnTo>
                  <a:pt x="335" y="243"/>
                </a:lnTo>
                <a:lnTo>
                  <a:pt x="338" y="243"/>
                </a:lnTo>
                <a:lnTo>
                  <a:pt x="340" y="244"/>
                </a:lnTo>
                <a:lnTo>
                  <a:pt x="344" y="245"/>
                </a:lnTo>
                <a:lnTo>
                  <a:pt x="346" y="246"/>
                </a:lnTo>
                <a:lnTo>
                  <a:pt x="344" y="239"/>
                </a:lnTo>
                <a:lnTo>
                  <a:pt x="343" y="233"/>
                </a:lnTo>
                <a:lnTo>
                  <a:pt x="343" y="226"/>
                </a:lnTo>
                <a:lnTo>
                  <a:pt x="344" y="220"/>
                </a:lnTo>
                <a:lnTo>
                  <a:pt x="345" y="210"/>
                </a:lnTo>
                <a:lnTo>
                  <a:pt x="346" y="204"/>
                </a:lnTo>
                <a:lnTo>
                  <a:pt x="370" y="204"/>
                </a:lnTo>
                <a:lnTo>
                  <a:pt x="385" y="203"/>
                </a:lnTo>
                <a:lnTo>
                  <a:pt x="388" y="202"/>
                </a:lnTo>
                <a:lnTo>
                  <a:pt x="390" y="200"/>
                </a:lnTo>
                <a:lnTo>
                  <a:pt x="392" y="198"/>
                </a:lnTo>
                <a:lnTo>
                  <a:pt x="394" y="196"/>
                </a:lnTo>
                <a:lnTo>
                  <a:pt x="397" y="188"/>
                </a:lnTo>
                <a:lnTo>
                  <a:pt x="399" y="178"/>
                </a:lnTo>
                <a:lnTo>
                  <a:pt x="395" y="173"/>
                </a:lnTo>
                <a:lnTo>
                  <a:pt x="390" y="166"/>
                </a:lnTo>
                <a:lnTo>
                  <a:pt x="387" y="157"/>
                </a:lnTo>
                <a:lnTo>
                  <a:pt x="386" y="148"/>
                </a:lnTo>
                <a:lnTo>
                  <a:pt x="384" y="148"/>
                </a:lnTo>
                <a:lnTo>
                  <a:pt x="379" y="147"/>
                </a:lnTo>
                <a:lnTo>
                  <a:pt x="377" y="147"/>
                </a:lnTo>
                <a:lnTo>
                  <a:pt x="375" y="146"/>
                </a:lnTo>
                <a:lnTo>
                  <a:pt x="373" y="144"/>
                </a:lnTo>
                <a:lnTo>
                  <a:pt x="373" y="142"/>
                </a:lnTo>
                <a:lnTo>
                  <a:pt x="363" y="150"/>
                </a:lnTo>
                <a:lnTo>
                  <a:pt x="353" y="156"/>
                </a:lnTo>
                <a:lnTo>
                  <a:pt x="347" y="158"/>
                </a:lnTo>
                <a:lnTo>
                  <a:pt x="343" y="159"/>
                </a:lnTo>
                <a:lnTo>
                  <a:pt x="338" y="160"/>
                </a:lnTo>
                <a:lnTo>
                  <a:pt x="333" y="160"/>
                </a:lnTo>
                <a:lnTo>
                  <a:pt x="334" y="154"/>
                </a:lnTo>
                <a:lnTo>
                  <a:pt x="338" y="148"/>
                </a:lnTo>
                <a:lnTo>
                  <a:pt x="341" y="143"/>
                </a:lnTo>
                <a:lnTo>
                  <a:pt x="345" y="138"/>
                </a:lnTo>
                <a:lnTo>
                  <a:pt x="355" y="128"/>
                </a:lnTo>
                <a:lnTo>
                  <a:pt x="367" y="120"/>
                </a:lnTo>
                <a:lnTo>
                  <a:pt x="378" y="112"/>
                </a:lnTo>
                <a:lnTo>
                  <a:pt x="390" y="103"/>
                </a:lnTo>
                <a:lnTo>
                  <a:pt x="395" y="98"/>
                </a:lnTo>
                <a:lnTo>
                  <a:pt x="399" y="93"/>
                </a:lnTo>
                <a:lnTo>
                  <a:pt x="403" y="87"/>
                </a:lnTo>
                <a:lnTo>
                  <a:pt x="406" y="80"/>
                </a:lnTo>
                <a:lnTo>
                  <a:pt x="407" y="83"/>
                </a:lnTo>
                <a:lnTo>
                  <a:pt x="409" y="88"/>
                </a:lnTo>
                <a:lnTo>
                  <a:pt x="411" y="96"/>
                </a:lnTo>
                <a:lnTo>
                  <a:pt x="412" y="105"/>
                </a:lnTo>
                <a:lnTo>
                  <a:pt x="414" y="107"/>
                </a:lnTo>
                <a:lnTo>
                  <a:pt x="420" y="111"/>
                </a:lnTo>
                <a:lnTo>
                  <a:pt x="426" y="115"/>
                </a:lnTo>
                <a:lnTo>
                  <a:pt x="432" y="117"/>
                </a:lnTo>
                <a:lnTo>
                  <a:pt x="450" y="116"/>
                </a:lnTo>
                <a:lnTo>
                  <a:pt x="463" y="114"/>
                </a:lnTo>
                <a:lnTo>
                  <a:pt x="473" y="112"/>
                </a:lnTo>
                <a:lnTo>
                  <a:pt x="479" y="111"/>
                </a:lnTo>
                <a:lnTo>
                  <a:pt x="474" y="106"/>
                </a:lnTo>
                <a:lnTo>
                  <a:pt x="469" y="101"/>
                </a:lnTo>
                <a:lnTo>
                  <a:pt x="468" y="98"/>
                </a:lnTo>
                <a:lnTo>
                  <a:pt x="467" y="95"/>
                </a:lnTo>
                <a:lnTo>
                  <a:pt x="466" y="91"/>
                </a:lnTo>
                <a:lnTo>
                  <a:pt x="466" y="87"/>
                </a:lnTo>
                <a:lnTo>
                  <a:pt x="485" y="83"/>
                </a:lnTo>
                <a:lnTo>
                  <a:pt x="510" y="78"/>
                </a:lnTo>
                <a:lnTo>
                  <a:pt x="523" y="75"/>
                </a:lnTo>
                <a:lnTo>
                  <a:pt x="536" y="72"/>
                </a:lnTo>
                <a:lnTo>
                  <a:pt x="548" y="67"/>
                </a:lnTo>
                <a:lnTo>
                  <a:pt x="558" y="61"/>
                </a:lnTo>
                <a:lnTo>
                  <a:pt x="565" y="57"/>
                </a:lnTo>
                <a:lnTo>
                  <a:pt x="573" y="53"/>
                </a:lnTo>
                <a:lnTo>
                  <a:pt x="579" y="50"/>
                </a:lnTo>
                <a:lnTo>
                  <a:pt x="586" y="49"/>
                </a:lnTo>
                <a:lnTo>
                  <a:pt x="587" y="55"/>
                </a:lnTo>
                <a:lnTo>
                  <a:pt x="589" y="61"/>
                </a:lnTo>
                <a:lnTo>
                  <a:pt x="591" y="63"/>
                </a:lnTo>
                <a:lnTo>
                  <a:pt x="593" y="65"/>
                </a:lnTo>
                <a:lnTo>
                  <a:pt x="596" y="67"/>
                </a:lnTo>
                <a:lnTo>
                  <a:pt x="599" y="67"/>
                </a:lnTo>
                <a:lnTo>
                  <a:pt x="609" y="66"/>
                </a:lnTo>
                <a:lnTo>
                  <a:pt x="624" y="61"/>
                </a:lnTo>
                <a:lnTo>
                  <a:pt x="638" y="57"/>
                </a:lnTo>
                <a:lnTo>
                  <a:pt x="645" y="55"/>
                </a:lnTo>
                <a:lnTo>
                  <a:pt x="643" y="53"/>
                </a:lnTo>
                <a:lnTo>
                  <a:pt x="641" y="51"/>
                </a:lnTo>
                <a:lnTo>
                  <a:pt x="638" y="48"/>
                </a:lnTo>
                <a:lnTo>
                  <a:pt x="638" y="46"/>
                </a:lnTo>
                <a:lnTo>
                  <a:pt x="638" y="42"/>
                </a:lnTo>
                <a:lnTo>
                  <a:pt x="641" y="37"/>
                </a:lnTo>
                <a:lnTo>
                  <a:pt x="645" y="33"/>
                </a:lnTo>
                <a:lnTo>
                  <a:pt x="650" y="28"/>
                </a:lnTo>
                <a:lnTo>
                  <a:pt x="657" y="24"/>
                </a:lnTo>
                <a:lnTo>
                  <a:pt x="665" y="20"/>
                </a:lnTo>
                <a:lnTo>
                  <a:pt x="674" y="17"/>
                </a:lnTo>
                <a:lnTo>
                  <a:pt x="682" y="15"/>
                </a:lnTo>
                <a:lnTo>
                  <a:pt x="691" y="14"/>
                </a:lnTo>
                <a:lnTo>
                  <a:pt x="699" y="13"/>
                </a:lnTo>
                <a:lnTo>
                  <a:pt x="708" y="13"/>
                </a:lnTo>
                <a:lnTo>
                  <a:pt x="714" y="13"/>
                </a:lnTo>
                <a:lnTo>
                  <a:pt x="721" y="15"/>
                </a:lnTo>
                <a:lnTo>
                  <a:pt x="725" y="18"/>
                </a:lnTo>
                <a:lnTo>
                  <a:pt x="717" y="20"/>
                </a:lnTo>
                <a:lnTo>
                  <a:pt x="709" y="26"/>
                </a:lnTo>
                <a:lnTo>
                  <a:pt x="705" y="29"/>
                </a:lnTo>
                <a:lnTo>
                  <a:pt x="701" y="32"/>
                </a:lnTo>
                <a:lnTo>
                  <a:pt x="699" y="35"/>
                </a:lnTo>
                <a:lnTo>
                  <a:pt x="699" y="37"/>
                </a:lnTo>
                <a:lnTo>
                  <a:pt x="702" y="39"/>
                </a:lnTo>
                <a:lnTo>
                  <a:pt x="705" y="40"/>
                </a:lnTo>
                <a:lnTo>
                  <a:pt x="709" y="41"/>
                </a:lnTo>
                <a:lnTo>
                  <a:pt x="712" y="40"/>
                </a:lnTo>
                <a:lnTo>
                  <a:pt x="719" y="39"/>
                </a:lnTo>
                <a:lnTo>
                  <a:pt x="725" y="36"/>
                </a:lnTo>
                <a:lnTo>
                  <a:pt x="733" y="32"/>
                </a:lnTo>
                <a:lnTo>
                  <a:pt x="741" y="29"/>
                </a:lnTo>
                <a:lnTo>
                  <a:pt x="748" y="26"/>
                </a:lnTo>
                <a:lnTo>
                  <a:pt x="758" y="24"/>
                </a:lnTo>
                <a:lnTo>
                  <a:pt x="758" y="12"/>
                </a:lnTo>
                <a:lnTo>
                  <a:pt x="758" y="0"/>
                </a:lnTo>
                <a:lnTo>
                  <a:pt x="777" y="0"/>
                </a:lnTo>
                <a:lnTo>
                  <a:pt x="793" y="1"/>
                </a:lnTo>
                <a:lnTo>
                  <a:pt x="800" y="1"/>
                </a:lnTo>
                <a:lnTo>
                  <a:pt x="806" y="2"/>
                </a:lnTo>
                <a:lnTo>
                  <a:pt x="813" y="4"/>
                </a:lnTo>
                <a:lnTo>
                  <a:pt x="817" y="6"/>
                </a:lnTo>
                <a:lnTo>
                  <a:pt x="812" y="11"/>
                </a:lnTo>
                <a:lnTo>
                  <a:pt x="805" y="18"/>
                </a:lnTo>
                <a:lnTo>
                  <a:pt x="800" y="26"/>
                </a:lnTo>
                <a:lnTo>
                  <a:pt x="798" y="31"/>
                </a:lnTo>
                <a:lnTo>
                  <a:pt x="815" y="22"/>
                </a:lnTo>
                <a:lnTo>
                  <a:pt x="828" y="15"/>
                </a:lnTo>
                <a:lnTo>
                  <a:pt x="844" y="8"/>
                </a:lnTo>
                <a:lnTo>
                  <a:pt x="865" y="0"/>
                </a:lnTo>
                <a:lnTo>
                  <a:pt x="865" y="4"/>
                </a:lnTo>
                <a:lnTo>
                  <a:pt x="864" y="9"/>
                </a:lnTo>
                <a:lnTo>
                  <a:pt x="861" y="14"/>
                </a:lnTo>
                <a:lnTo>
                  <a:pt x="858" y="18"/>
                </a:lnTo>
                <a:lnTo>
                  <a:pt x="860" y="14"/>
                </a:lnTo>
                <a:lnTo>
                  <a:pt x="862" y="11"/>
                </a:lnTo>
                <a:lnTo>
                  <a:pt x="866" y="9"/>
                </a:lnTo>
                <a:lnTo>
                  <a:pt x="869" y="7"/>
                </a:lnTo>
                <a:lnTo>
                  <a:pt x="876" y="6"/>
                </a:lnTo>
                <a:lnTo>
                  <a:pt x="884" y="6"/>
                </a:lnTo>
                <a:lnTo>
                  <a:pt x="892" y="6"/>
                </a:lnTo>
                <a:lnTo>
                  <a:pt x="907" y="6"/>
                </a:lnTo>
                <a:lnTo>
                  <a:pt x="924" y="6"/>
                </a:lnTo>
                <a:lnTo>
                  <a:pt x="930" y="6"/>
                </a:lnTo>
                <a:lnTo>
                  <a:pt x="947" y="12"/>
                </a:lnTo>
                <a:lnTo>
                  <a:pt x="979" y="22"/>
                </a:lnTo>
                <a:lnTo>
                  <a:pt x="996" y="28"/>
                </a:lnTo>
                <a:lnTo>
                  <a:pt x="1013" y="33"/>
                </a:lnTo>
                <a:lnTo>
                  <a:pt x="1027" y="38"/>
                </a:lnTo>
                <a:lnTo>
                  <a:pt x="1037" y="43"/>
                </a:lnTo>
                <a:lnTo>
                  <a:pt x="1031" y="52"/>
                </a:lnTo>
                <a:lnTo>
                  <a:pt x="1025" y="61"/>
                </a:lnTo>
                <a:lnTo>
                  <a:pt x="1022" y="66"/>
                </a:lnTo>
                <a:lnTo>
                  <a:pt x="1019" y="70"/>
                </a:lnTo>
                <a:lnTo>
                  <a:pt x="1017" y="75"/>
                </a:lnTo>
                <a:lnTo>
                  <a:pt x="1017" y="80"/>
                </a:lnTo>
                <a:lnTo>
                  <a:pt x="1005" y="79"/>
                </a:lnTo>
                <a:lnTo>
                  <a:pt x="993" y="76"/>
                </a:lnTo>
                <a:lnTo>
                  <a:pt x="982" y="72"/>
                </a:lnTo>
                <a:lnTo>
                  <a:pt x="971" y="67"/>
                </a:lnTo>
                <a:lnTo>
                  <a:pt x="961" y="63"/>
                </a:lnTo>
                <a:lnTo>
                  <a:pt x="951" y="59"/>
                </a:lnTo>
                <a:lnTo>
                  <a:pt x="940" y="56"/>
                </a:lnTo>
                <a:lnTo>
                  <a:pt x="930" y="55"/>
                </a:lnTo>
                <a:lnTo>
                  <a:pt x="919" y="55"/>
                </a:lnTo>
                <a:lnTo>
                  <a:pt x="906" y="55"/>
                </a:lnTo>
                <a:lnTo>
                  <a:pt x="892" y="55"/>
                </a:lnTo>
                <a:lnTo>
                  <a:pt x="878" y="55"/>
                </a:lnTo>
                <a:lnTo>
                  <a:pt x="877" y="62"/>
                </a:lnTo>
                <a:lnTo>
                  <a:pt x="876" y="68"/>
                </a:lnTo>
                <a:lnTo>
                  <a:pt x="873" y="74"/>
                </a:lnTo>
                <a:lnTo>
                  <a:pt x="871" y="80"/>
                </a:lnTo>
                <a:lnTo>
                  <a:pt x="869" y="88"/>
                </a:lnTo>
                <a:lnTo>
                  <a:pt x="867" y="95"/>
                </a:lnTo>
                <a:lnTo>
                  <a:pt x="865" y="102"/>
                </a:lnTo>
                <a:lnTo>
                  <a:pt x="865" y="111"/>
                </a:lnTo>
                <a:lnTo>
                  <a:pt x="854" y="114"/>
                </a:lnTo>
                <a:lnTo>
                  <a:pt x="848" y="116"/>
                </a:lnTo>
                <a:lnTo>
                  <a:pt x="844" y="116"/>
                </a:lnTo>
                <a:lnTo>
                  <a:pt x="842" y="115"/>
                </a:lnTo>
                <a:lnTo>
                  <a:pt x="838" y="114"/>
                </a:lnTo>
                <a:lnTo>
                  <a:pt x="835" y="113"/>
                </a:lnTo>
                <a:lnTo>
                  <a:pt x="828" y="111"/>
                </a:lnTo>
                <a:lnTo>
                  <a:pt x="817" y="111"/>
                </a:lnTo>
                <a:lnTo>
                  <a:pt x="811" y="111"/>
                </a:lnTo>
                <a:lnTo>
                  <a:pt x="804" y="112"/>
                </a:lnTo>
                <a:lnTo>
                  <a:pt x="798" y="113"/>
                </a:lnTo>
                <a:lnTo>
                  <a:pt x="790" y="115"/>
                </a:lnTo>
                <a:lnTo>
                  <a:pt x="776" y="121"/>
                </a:lnTo>
                <a:lnTo>
                  <a:pt x="758" y="129"/>
                </a:lnTo>
                <a:lnTo>
                  <a:pt x="750" y="129"/>
                </a:lnTo>
                <a:lnTo>
                  <a:pt x="745" y="128"/>
                </a:lnTo>
                <a:lnTo>
                  <a:pt x="738" y="126"/>
                </a:lnTo>
                <a:lnTo>
                  <a:pt x="734" y="124"/>
                </a:lnTo>
                <a:lnTo>
                  <a:pt x="724" y="119"/>
                </a:lnTo>
                <a:lnTo>
                  <a:pt x="716" y="112"/>
                </a:lnTo>
                <a:lnTo>
                  <a:pt x="709" y="105"/>
                </a:lnTo>
                <a:lnTo>
                  <a:pt x="702" y="98"/>
                </a:lnTo>
                <a:lnTo>
                  <a:pt x="694" y="92"/>
                </a:lnTo>
                <a:lnTo>
                  <a:pt x="685" y="87"/>
                </a:lnTo>
                <a:lnTo>
                  <a:pt x="677" y="92"/>
                </a:lnTo>
                <a:lnTo>
                  <a:pt x="669" y="96"/>
                </a:lnTo>
                <a:lnTo>
                  <a:pt x="661" y="100"/>
                </a:lnTo>
                <a:lnTo>
                  <a:pt x="654" y="103"/>
                </a:lnTo>
                <a:lnTo>
                  <a:pt x="637" y="109"/>
                </a:lnTo>
                <a:lnTo>
                  <a:pt x="620" y="112"/>
                </a:lnTo>
                <a:lnTo>
                  <a:pt x="602" y="116"/>
                </a:lnTo>
                <a:lnTo>
                  <a:pt x="584" y="119"/>
                </a:lnTo>
                <a:lnTo>
                  <a:pt x="565" y="123"/>
                </a:lnTo>
                <a:lnTo>
                  <a:pt x="545" y="129"/>
                </a:lnTo>
                <a:lnTo>
                  <a:pt x="542" y="130"/>
                </a:lnTo>
                <a:lnTo>
                  <a:pt x="537" y="131"/>
                </a:lnTo>
                <a:lnTo>
                  <a:pt x="534" y="134"/>
                </a:lnTo>
                <a:lnTo>
                  <a:pt x="530" y="138"/>
                </a:lnTo>
                <a:lnTo>
                  <a:pt x="521" y="147"/>
                </a:lnTo>
                <a:lnTo>
                  <a:pt x="513" y="158"/>
                </a:lnTo>
                <a:lnTo>
                  <a:pt x="506" y="170"/>
                </a:lnTo>
                <a:lnTo>
                  <a:pt x="498" y="184"/>
                </a:lnTo>
                <a:lnTo>
                  <a:pt x="491" y="198"/>
                </a:lnTo>
                <a:lnTo>
                  <a:pt x="486" y="210"/>
                </a:lnTo>
                <a:lnTo>
                  <a:pt x="482" y="217"/>
                </a:lnTo>
                <a:lnTo>
                  <a:pt x="478" y="225"/>
                </a:lnTo>
                <a:lnTo>
                  <a:pt x="473" y="232"/>
                </a:lnTo>
                <a:lnTo>
                  <a:pt x="466" y="239"/>
                </a:lnTo>
                <a:lnTo>
                  <a:pt x="453" y="255"/>
                </a:lnTo>
                <a:lnTo>
                  <a:pt x="437" y="270"/>
                </a:lnTo>
                <a:lnTo>
                  <a:pt x="430" y="279"/>
                </a:lnTo>
                <a:lnTo>
                  <a:pt x="423" y="288"/>
                </a:lnTo>
                <a:lnTo>
                  <a:pt x="417" y="298"/>
                </a:lnTo>
                <a:lnTo>
                  <a:pt x="411" y="309"/>
                </a:lnTo>
                <a:lnTo>
                  <a:pt x="406" y="321"/>
                </a:lnTo>
                <a:lnTo>
                  <a:pt x="402" y="334"/>
                </a:lnTo>
                <a:lnTo>
                  <a:pt x="400" y="348"/>
                </a:lnTo>
                <a:lnTo>
                  <a:pt x="399" y="364"/>
                </a:lnTo>
                <a:lnTo>
                  <a:pt x="396" y="362"/>
                </a:lnTo>
                <a:lnTo>
                  <a:pt x="392" y="361"/>
                </a:lnTo>
                <a:lnTo>
                  <a:pt x="387" y="361"/>
                </a:lnTo>
                <a:lnTo>
                  <a:pt x="381" y="362"/>
                </a:lnTo>
                <a:lnTo>
                  <a:pt x="367" y="363"/>
                </a:lnTo>
                <a:lnTo>
                  <a:pt x="353" y="364"/>
                </a:lnTo>
                <a:lnTo>
                  <a:pt x="333" y="425"/>
                </a:lnTo>
                <a:lnTo>
                  <a:pt x="333" y="441"/>
                </a:lnTo>
                <a:lnTo>
                  <a:pt x="336" y="464"/>
                </a:lnTo>
                <a:lnTo>
                  <a:pt x="340" y="477"/>
                </a:lnTo>
                <a:lnTo>
                  <a:pt x="344" y="487"/>
                </a:lnTo>
                <a:lnTo>
                  <a:pt x="347" y="491"/>
                </a:lnTo>
                <a:lnTo>
                  <a:pt x="351" y="495"/>
                </a:lnTo>
                <a:lnTo>
                  <a:pt x="355" y="497"/>
                </a:lnTo>
                <a:lnTo>
                  <a:pt x="360" y="499"/>
                </a:lnTo>
                <a:lnTo>
                  <a:pt x="358" y="515"/>
                </a:lnTo>
                <a:lnTo>
                  <a:pt x="357" y="528"/>
                </a:lnTo>
                <a:lnTo>
                  <a:pt x="356" y="537"/>
                </a:lnTo>
                <a:lnTo>
                  <a:pt x="354" y="544"/>
                </a:lnTo>
                <a:lnTo>
                  <a:pt x="354" y="551"/>
                </a:lnTo>
                <a:lnTo>
                  <a:pt x="354" y="558"/>
                </a:lnTo>
                <a:lnTo>
                  <a:pt x="355" y="567"/>
                </a:lnTo>
                <a:lnTo>
                  <a:pt x="360" y="579"/>
                </a:lnTo>
                <a:lnTo>
                  <a:pt x="352" y="585"/>
                </a:lnTo>
                <a:lnTo>
                  <a:pt x="346" y="591"/>
                </a:lnTo>
                <a:lnTo>
                  <a:pt x="340" y="598"/>
                </a:lnTo>
                <a:lnTo>
                  <a:pt x="335" y="606"/>
                </a:lnTo>
                <a:lnTo>
                  <a:pt x="331" y="615"/>
                </a:lnTo>
                <a:lnTo>
                  <a:pt x="329" y="625"/>
                </a:lnTo>
                <a:lnTo>
                  <a:pt x="327" y="635"/>
                </a:lnTo>
                <a:lnTo>
                  <a:pt x="327" y="647"/>
                </a:lnTo>
                <a:lnTo>
                  <a:pt x="318" y="646"/>
                </a:lnTo>
                <a:lnTo>
                  <a:pt x="306" y="645"/>
                </a:lnTo>
                <a:lnTo>
                  <a:pt x="300" y="645"/>
                </a:lnTo>
                <a:lnTo>
                  <a:pt x="295" y="645"/>
                </a:lnTo>
                <a:lnTo>
                  <a:pt x="289" y="646"/>
                </a:lnTo>
                <a:lnTo>
                  <a:pt x="286" y="647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fr-FR" dirty="0"/>
          </a:p>
        </p:txBody>
      </p:sp>
      <p:sp>
        <p:nvSpPr>
          <p:cNvPr id="44" name="Freeform 228"/>
          <p:cNvSpPr>
            <a:spLocks/>
          </p:cNvSpPr>
          <p:nvPr>
            <p:custDataLst>
              <p:tags r:id="rId25"/>
            </p:custDataLst>
          </p:nvPr>
        </p:nvSpPr>
        <p:spPr bwMode="auto">
          <a:xfrm>
            <a:off x="1569207" y="4128839"/>
            <a:ext cx="61023" cy="123424"/>
          </a:xfrm>
          <a:custGeom>
            <a:avLst/>
            <a:gdLst>
              <a:gd name="T0" fmla="*/ 20181841 w 120"/>
              <a:gd name="T1" fmla="*/ 27084381 h 173"/>
              <a:gd name="T2" fmla="*/ 15472663 w 120"/>
              <a:gd name="T3" fmla="*/ 16414760 h 173"/>
              <a:gd name="T4" fmla="*/ 11772741 w 120"/>
              <a:gd name="T5" fmla="*/ 7660012 h 173"/>
              <a:gd name="T6" fmla="*/ 10090921 w 120"/>
              <a:gd name="T7" fmla="*/ 4377374 h 173"/>
              <a:gd name="T8" fmla="*/ 8913524 w 120"/>
              <a:gd name="T9" fmla="*/ 2188425 h 173"/>
              <a:gd name="T10" fmla="*/ 8072819 w 120"/>
              <a:gd name="T11" fmla="*/ 1094213 h 173"/>
              <a:gd name="T12" fmla="*/ 7568396 w 120"/>
              <a:gd name="T13" fmla="*/ 547106 h 173"/>
              <a:gd name="T14" fmla="*/ 7231703 w 120"/>
              <a:gd name="T15" fmla="*/ 273553 h 173"/>
              <a:gd name="T16" fmla="*/ 6559139 w 120"/>
              <a:gd name="T17" fmla="*/ 0 h 173"/>
              <a:gd name="T18" fmla="*/ 5549883 w 120"/>
              <a:gd name="T19" fmla="*/ 0 h 173"/>
              <a:gd name="T20" fmla="*/ 4541037 w 120"/>
              <a:gd name="T21" fmla="*/ 273553 h 173"/>
              <a:gd name="T22" fmla="*/ 4036204 w 120"/>
              <a:gd name="T23" fmla="*/ 820660 h 173"/>
              <a:gd name="T24" fmla="*/ 3531781 w 120"/>
              <a:gd name="T25" fmla="*/ 1367766 h 173"/>
              <a:gd name="T26" fmla="*/ 3195499 w 120"/>
              <a:gd name="T27" fmla="*/ 2188425 h 173"/>
              <a:gd name="T28" fmla="*/ 2691076 w 120"/>
              <a:gd name="T29" fmla="*/ 3283161 h 173"/>
              <a:gd name="T30" fmla="*/ 2522935 w 120"/>
              <a:gd name="T31" fmla="*/ 4103821 h 173"/>
              <a:gd name="T32" fmla="*/ 2522935 w 120"/>
              <a:gd name="T33" fmla="*/ 5471587 h 173"/>
              <a:gd name="T34" fmla="*/ 2354384 w 120"/>
              <a:gd name="T35" fmla="*/ 8207119 h 173"/>
              <a:gd name="T36" fmla="*/ 2018102 w 120"/>
              <a:gd name="T37" fmla="*/ 11490280 h 173"/>
              <a:gd name="T38" fmla="*/ 1681820 w 120"/>
              <a:gd name="T39" fmla="*/ 13131599 h 173"/>
              <a:gd name="T40" fmla="*/ 1345538 w 120"/>
              <a:gd name="T41" fmla="*/ 14772918 h 173"/>
              <a:gd name="T42" fmla="*/ 672564 w 120"/>
              <a:gd name="T43" fmla="*/ 16688313 h 173"/>
              <a:gd name="T44" fmla="*/ 0 w 120"/>
              <a:gd name="T45" fmla="*/ 18603186 h 173"/>
              <a:gd name="T46" fmla="*/ 841115 w 120"/>
              <a:gd name="T47" fmla="*/ 22433453 h 173"/>
              <a:gd name="T48" fmla="*/ 1681820 w 120"/>
              <a:gd name="T49" fmla="*/ 27084381 h 173"/>
              <a:gd name="T50" fmla="*/ 2522935 w 120"/>
              <a:gd name="T51" fmla="*/ 31461232 h 173"/>
              <a:gd name="T52" fmla="*/ 3363640 w 120"/>
              <a:gd name="T53" fmla="*/ 35291499 h 173"/>
              <a:gd name="T54" fmla="*/ 4036204 w 120"/>
              <a:gd name="T55" fmla="*/ 36659265 h 173"/>
              <a:gd name="T56" fmla="*/ 5045460 w 120"/>
              <a:gd name="T57" fmla="*/ 38027031 h 173"/>
              <a:gd name="T58" fmla="*/ 6222857 w 120"/>
              <a:gd name="T59" fmla="*/ 39668873 h 173"/>
              <a:gd name="T60" fmla="*/ 7736537 w 120"/>
              <a:gd name="T61" fmla="*/ 41310192 h 173"/>
              <a:gd name="T62" fmla="*/ 9081665 w 120"/>
              <a:gd name="T63" fmla="*/ 42951511 h 173"/>
              <a:gd name="T64" fmla="*/ 10090921 w 120"/>
              <a:gd name="T65" fmla="*/ 44593354 h 173"/>
              <a:gd name="T66" fmla="*/ 10427203 w 120"/>
              <a:gd name="T67" fmla="*/ 45140460 h 173"/>
              <a:gd name="T68" fmla="*/ 10932036 w 120"/>
              <a:gd name="T69" fmla="*/ 45961119 h 173"/>
              <a:gd name="T70" fmla="*/ 11100177 w 120"/>
              <a:gd name="T71" fmla="*/ 46508226 h 173"/>
              <a:gd name="T72" fmla="*/ 11268318 w 120"/>
              <a:gd name="T73" fmla="*/ 47328885 h 173"/>
              <a:gd name="T74" fmla="*/ 12781997 w 120"/>
              <a:gd name="T75" fmla="*/ 45687566 h 173"/>
              <a:gd name="T76" fmla="*/ 14463817 w 120"/>
              <a:gd name="T77" fmla="*/ 43772171 h 173"/>
              <a:gd name="T78" fmla="*/ 15640804 w 120"/>
              <a:gd name="T79" fmla="*/ 41583745 h 173"/>
              <a:gd name="T80" fmla="*/ 16986342 w 120"/>
              <a:gd name="T81" fmla="*/ 38848214 h 173"/>
              <a:gd name="T82" fmla="*/ 17827457 w 120"/>
              <a:gd name="T83" fmla="*/ 36112159 h 173"/>
              <a:gd name="T84" fmla="*/ 18836303 w 120"/>
              <a:gd name="T85" fmla="*/ 33103074 h 173"/>
              <a:gd name="T86" fmla="*/ 19509277 w 120"/>
              <a:gd name="T87" fmla="*/ 30093466 h 173"/>
              <a:gd name="T88" fmla="*/ 20181841 w 120"/>
              <a:gd name="T89" fmla="*/ 27084381 h 173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0" t="0" r="r" b="b"/>
            <a:pathLst>
              <a:path w="120" h="173">
                <a:moveTo>
                  <a:pt x="120" y="99"/>
                </a:moveTo>
                <a:lnTo>
                  <a:pt x="92" y="60"/>
                </a:lnTo>
                <a:lnTo>
                  <a:pt x="70" y="28"/>
                </a:lnTo>
                <a:lnTo>
                  <a:pt x="60" y="16"/>
                </a:lnTo>
                <a:lnTo>
                  <a:pt x="53" y="8"/>
                </a:lnTo>
                <a:lnTo>
                  <a:pt x="48" y="4"/>
                </a:lnTo>
                <a:lnTo>
                  <a:pt x="45" y="2"/>
                </a:lnTo>
                <a:lnTo>
                  <a:pt x="43" y="1"/>
                </a:lnTo>
                <a:lnTo>
                  <a:pt x="39" y="0"/>
                </a:lnTo>
                <a:lnTo>
                  <a:pt x="33" y="0"/>
                </a:lnTo>
                <a:lnTo>
                  <a:pt x="27" y="1"/>
                </a:lnTo>
                <a:lnTo>
                  <a:pt x="24" y="3"/>
                </a:lnTo>
                <a:lnTo>
                  <a:pt x="21" y="5"/>
                </a:lnTo>
                <a:lnTo>
                  <a:pt x="19" y="8"/>
                </a:lnTo>
                <a:lnTo>
                  <a:pt x="16" y="12"/>
                </a:lnTo>
                <a:lnTo>
                  <a:pt x="15" y="15"/>
                </a:lnTo>
                <a:lnTo>
                  <a:pt x="15" y="20"/>
                </a:lnTo>
                <a:lnTo>
                  <a:pt x="14" y="30"/>
                </a:lnTo>
                <a:lnTo>
                  <a:pt x="12" y="42"/>
                </a:lnTo>
                <a:lnTo>
                  <a:pt x="10" y="48"/>
                </a:lnTo>
                <a:lnTo>
                  <a:pt x="8" y="54"/>
                </a:lnTo>
                <a:lnTo>
                  <a:pt x="4" y="61"/>
                </a:lnTo>
                <a:lnTo>
                  <a:pt x="0" y="68"/>
                </a:lnTo>
                <a:lnTo>
                  <a:pt x="5" y="82"/>
                </a:lnTo>
                <a:lnTo>
                  <a:pt x="10" y="99"/>
                </a:lnTo>
                <a:lnTo>
                  <a:pt x="15" y="115"/>
                </a:lnTo>
                <a:lnTo>
                  <a:pt x="20" y="129"/>
                </a:lnTo>
                <a:lnTo>
                  <a:pt x="24" y="134"/>
                </a:lnTo>
                <a:lnTo>
                  <a:pt x="30" y="139"/>
                </a:lnTo>
                <a:lnTo>
                  <a:pt x="37" y="145"/>
                </a:lnTo>
                <a:lnTo>
                  <a:pt x="46" y="151"/>
                </a:lnTo>
                <a:lnTo>
                  <a:pt x="54" y="157"/>
                </a:lnTo>
                <a:lnTo>
                  <a:pt x="60" y="163"/>
                </a:lnTo>
                <a:lnTo>
                  <a:pt x="62" y="165"/>
                </a:lnTo>
                <a:lnTo>
                  <a:pt x="65" y="168"/>
                </a:lnTo>
                <a:lnTo>
                  <a:pt x="66" y="170"/>
                </a:lnTo>
                <a:lnTo>
                  <a:pt x="67" y="173"/>
                </a:lnTo>
                <a:lnTo>
                  <a:pt x="76" y="167"/>
                </a:lnTo>
                <a:lnTo>
                  <a:pt x="86" y="160"/>
                </a:lnTo>
                <a:lnTo>
                  <a:pt x="93" y="152"/>
                </a:lnTo>
                <a:lnTo>
                  <a:pt x="101" y="142"/>
                </a:lnTo>
                <a:lnTo>
                  <a:pt x="106" y="132"/>
                </a:lnTo>
                <a:lnTo>
                  <a:pt x="112" y="121"/>
                </a:lnTo>
                <a:lnTo>
                  <a:pt x="116" y="110"/>
                </a:lnTo>
                <a:lnTo>
                  <a:pt x="120" y="99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 dirty="0"/>
          </a:p>
        </p:txBody>
      </p:sp>
      <p:sp>
        <p:nvSpPr>
          <p:cNvPr id="45" name="Freeform 229"/>
          <p:cNvSpPr>
            <a:spLocks/>
          </p:cNvSpPr>
          <p:nvPr>
            <p:custDataLst>
              <p:tags r:id="rId26"/>
            </p:custDataLst>
          </p:nvPr>
        </p:nvSpPr>
        <p:spPr bwMode="auto">
          <a:xfrm>
            <a:off x="1207002" y="3910138"/>
            <a:ext cx="104330" cy="80119"/>
          </a:xfrm>
          <a:custGeom>
            <a:avLst/>
            <a:gdLst>
              <a:gd name="T0" fmla="*/ 35395174 w 200"/>
              <a:gd name="T1" fmla="*/ 19758145 h 98"/>
              <a:gd name="T2" fmla="*/ 34510473 w 200"/>
              <a:gd name="T3" fmla="*/ 20117765 h 98"/>
              <a:gd name="T4" fmla="*/ 32917339 w 200"/>
              <a:gd name="T5" fmla="*/ 21554449 h 98"/>
              <a:gd name="T6" fmla="*/ 31324626 w 200"/>
              <a:gd name="T7" fmla="*/ 23350752 h 98"/>
              <a:gd name="T8" fmla="*/ 29378116 w 200"/>
              <a:gd name="T9" fmla="*/ 26224719 h 98"/>
              <a:gd name="T10" fmla="*/ 27431186 w 200"/>
              <a:gd name="T11" fmla="*/ 28739065 h 98"/>
              <a:gd name="T12" fmla="*/ 25661364 w 200"/>
              <a:gd name="T13" fmla="*/ 31254010 h 98"/>
              <a:gd name="T14" fmla="*/ 24245759 w 200"/>
              <a:gd name="T15" fmla="*/ 33409335 h 98"/>
              <a:gd name="T16" fmla="*/ 23537746 w 200"/>
              <a:gd name="T17" fmla="*/ 35205639 h 98"/>
              <a:gd name="T18" fmla="*/ 22475937 w 200"/>
              <a:gd name="T19" fmla="*/ 35205639 h 98"/>
              <a:gd name="T20" fmla="*/ 21591237 w 200"/>
              <a:gd name="T21" fmla="*/ 35205639 h 98"/>
              <a:gd name="T22" fmla="*/ 20529007 w 200"/>
              <a:gd name="T23" fmla="*/ 34846618 h 98"/>
              <a:gd name="T24" fmla="*/ 19644307 w 200"/>
              <a:gd name="T25" fmla="*/ 34127977 h 98"/>
              <a:gd name="T26" fmla="*/ 18759606 w 200"/>
              <a:gd name="T27" fmla="*/ 33409335 h 98"/>
              <a:gd name="T28" fmla="*/ 18228702 w 200"/>
              <a:gd name="T29" fmla="*/ 31613031 h 98"/>
              <a:gd name="T30" fmla="*/ 17874485 w 200"/>
              <a:gd name="T31" fmla="*/ 29457706 h 98"/>
              <a:gd name="T32" fmla="*/ 17697797 w 200"/>
              <a:gd name="T33" fmla="*/ 26583740 h 98"/>
              <a:gd name="T34" fmla="*/ 16104663 w 200"/>
              <a:gd name="T35" fmla="*/ 28739065 h 98"/>
              <a:gd name="T36" fmla="*/ 14511950 w 200"/>
              <a:gd name="T37" fmla="*/ 30894989 h 98"/>
              <a:gd name="T38" fmla="*/ 13803937 w 200"/>
              <a:gd name="T39" fmla="*/ 32331673 h 98"/>
              <a:gd name="T40" fmla="*/ 12742128 w 200"/>
              <a:gd name="T41" fmla="*/ 33409335 h 98"/>
              <a:gd name="T42" fmla="*/ 11857427 w 200"/>
              <a:gd name="T43" fmla="*/ 34486998 h 98"/>
              <a:gd name="T44" fmla="*/ 10618510 w 200"/>
              <a:gd name="T45" fmla="*/ 35205639 h 98"/>
              <a:gd name="T46" fmla="*/ 6902179 w 200"/>
              <a:gd name="T47" fmla="*/ 35205639 h 98"/>
              <a:gd name="T48" fmla="*/ 6017058 w 200"/>
              <a:gd name="T49" fmla="*/ 35205639 h 98"/>
              <a:gd name="T50" fmla="*/ 4955249 w 200"/>
              <a:gd name="T51" fmla="*/ 34127977 h 98"/>
              <a:gd name="T52" fmla="*/ 3893440 w 200"/>
              <a:gd name="T53" fmla="*/ 33050314 h 98"/>
              <a:gd name="T54" fmla="*/ 2654522 w 200"/>
              <a:gd name="T55" fmla="*/ 31972652 h 98"/>
              <a:gd name="T56" fmla="*/ 1592713 w 200"/>
              <a:gd name="T57" fmla="*/ 30535369 h 98"/>
              <a:gd name="T58" fmla="*/ 708013 w 200"/>
              <a:gd name="T59" fmla="*/ 29098685 h 98"/>
              <a:gd name="T60" fmla="*/ 177108 w 200"/>
              <a:gd name="T61" fmla="*/ 27661402 h 98"/>
              <a:gd name="T62" fmla="*/ 0 w 200"/>
              <a:gd name="T63" fmla="*/ 26583740 h 98"/>
              <a:gd name="T64" fmla="*/ 884701 w 200"/>
              <a:gd name="T65" fmla="*/ 25506077 h 98"/>
              <a:gd name="T66" fmla="*/ 1769822 w 200"/>
              <a:gd name="T67" fmla="*/ 24069394 h 98"/>
              <a:gd name="T68" fmla="*/ 2477835 w 200"/>
              <a:gd name="T69" fmla="*/ 21554449 h 98"/>
              <a:gd name="T70" fmla="*/ 3539644 w 200"/>
              <a:gd name="T71" fmla="*/ 19039503 h 98"/>
              <a:gd name="T72" fmla="*/ 4070548 w 200"/>
              <a:gd name="T73" fmla="*/ 16166136 h 98"/>
              <a:gd name="T74" fmla="*/ 4778140 w 200"/>
              <a:gd name="T75" fmla="*/ 13292170 h 98"/>
              <a:gd name="T76" fmla="*/ 5309465 w 200"/>
              <a:gd name="T77" fmla="*/ 10058583 h 98"/>
              <a:gd name="T78" fmla="*/ 5840370 w 200"/>
              <a:gd name="T79" fmla="*/ 6825595 h 98"/>
              <a:gd name="T80" fmla="*/ 11680319 w 200"/>
              <a:gd name="T81" fmla="*/ 5029291 h 98"/>
              <a:gd name="T82" fmla="*/ 18228702 w 200"/>
              <a:gd name="T83" fmla="*/ 3232987 h 98"/>
              <a:gd name="T84" fmla="*/ 25661364 w 200"/>
              <a:gd name="T85" fmla="*/ 1436684 h 98"/>
              <a:gd name="T86" fmla="*/ 34156257 w 200"/>
              <a:gd name="T87" fmla="*/ 0 h 98"/>
              <a:gd name="T88" fmla="*/ 29378116 w 200"/>
              <a:gd name="T89" fmla="*/ 11136245 h 98"/>
              <a:gd name="T90" fmla="*/ 29378116 w 200"/>
              <a:gd name="T91" fmla="*/ 12213908 h 98"/>
              <a:gd name="T92" fmla="*/ 29023900 w 200"/>
              <a:gd name="T93" fmla="*/ 13292170 h 98"/>
              <a:gd name="T94" fmla="*/ 28670103 w 200"/>
              <a:gd name="T95" fmla="*/ 14010212 h 98"/>
              <a:gd name="T96" fmla="*/ 28492995 w 200"/>
              <a:gd name="T97" fmla="*/ 14728853 h 98"/>
              <a:gd name="T98" fmla="*/ 27785403 w 200"/>
              <a:gd name="T99" fmla="*/ 16166136 h 98"/>
              <a:gd name="T100" fmla="*/ 27608294 w 200"/>
              <a:gd name="T101" fmla="*/ 16884178 h 98"/>
              <a:gd name="T102" fmla="*/ 27608294 w 200"/>
              <a:gd name="T103" fmla="*/ 17602820 h 98"/>
              <a:gd name="T104" fmla="*/ 27785403 w 200"/>
              <a:gd name="T105" fmla="*/ 17961841 h 98"/>
              <a:gd name="T106" fmla="*/ 28139199 w 200"/>
              <a:gd name="T107" fmla="*/ 17961841 h 98"/>
              <a:gd name="T108" fmla="*/ 28847212 w 200"/>
              <a:gd name="T109" fmla="*/ 18321461 h 98"/>
              <a:gd name="T110" fmla="*/ 31324626 w 200"/>
              <a:gd name="T111" fmla="*/ 19039503 h 98"/>
              <a:gd name="T112" fmla="*/ 35395174 w 200"/>
              <a:gd name="T113" fmla="*/ 19758145 h 98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0" t="0" r="r" b="b"/>
            <a:pathLst>
              <a:path w="200" h="98">
                <a:moveTo>
                  <a:pt x="200" y="55"/>
                </a:moveTo>
                <a:lnTo>
                  <a:pt x="195" y="56"/>
                </a:lnTo>
                <a:lnTo>
                  <a:pt x="186" y="60"/>
                </a:lnTo>
                <a:lnTo>
                  <a:pt x="177" y="65"/>
                </a:lnTo>
                <a:lnTo>
                  <a:pt x="166" y="73"/>
                </a:lnTo>
                <a:lnTo>
                  <a:pt x="155" y="80"/>
                </a:lnTo>
                <a:lnTo>
                  <a:pt x="145" y="87"/>
                </a:lnTo>
                <a:lnTo>
                  <a:pt x="137" y="93"/>
                </a:lnTo>
                <a:lnTo>
                  <a:pt x="133" y="98"/>
                </a:lnTo>
                <a:lnTo>
                  <a:pt x="127" y="98"/>
                </a:lnTo>
                <a:lnTo>
                  <a:pt x="122" y="98"/>
                </a:lnTo>
                <a:lnTo>
                  <a:pt x="116" y="97"/>
                </a:lnTo>
                <a:lnTo>
                  <a:pt x="111" y="95"/>
                </a:lnTo>
                <a:lnTo>
                  <a:pt x="106" y="93"/>
                </a:lnTo>
                <a:lnTo>
                  <a:pt x="103" y="88"/>
                </a:lnTo>
                <a:lnTo>
                  <a:pt x="101" y="82"/>
                </a:lnTo>
                <a:lnTo>
                  <a:pt x="100" y="74"/>
                </a:lnTo>
                <a:lnTo>
                  <a:pt x="91" y="80"/>
                </a:lnTo>
                <a:lnTo>
                  <a:pt x="82" y="86"/>
                </a:lnTo>
                <a:lnTo>
                  <a:pt x="78" y="90"/>
                </a:lnTo>
                <a:lnTo>
                  <a:pt x="72" y="93"/>
                </a:lnTo>
                <a:lnTo>
                  <a:pt x="67" y="96"/>
                </a:lnTo>
                <a:lnTo>
                  <a:pt x="60" y="98"/>
                </a:lnTo>
                <a:lnTo>
                  <a:pt x="39" y="98"/>
                </a:lnTo>
                <a:lnTo>
                  <a:pt x="34" y="98"/>
                </a:lnTo>
                <a:lnTo>
                  <a:pt x="28" y="95"/>
                </a:lnTo>
                <a:lnTo>
                  <a:pt x="22" y="92"/>
                </a:lnTo>
                <a:lnTo>
                  <a:pt x="15" y="89"/>
                </a:lnTo>
                <a:lnTo>
                  <a:pt x="9" y="85"/>
                </a:lnTo>
                <a:lnTo>
                  <a:pt x="4" y="81"/>
                </a:lnTo>
                <a:lnTo>
                  <a:pt x="1" y="77"/>
                </a:lnTo>
                <a:lnTo>
                  <a:pt x="0" y="74"/>
                </a:lnTo>
                <a:lnTo>
                  <a:pt x="5" y="71"/>
                </a:lnTo>
                <a:lnTo>
                  <a:pt x="10" y="67"/>
                </a:lnTo>
                <a:lnTo>
                  <a:pt x="14" y="60"/>
                </a:lnTo>
                <a:lnTo>
                  <a:pt x="20" y="53"/>
                </a:lnTo>
                <a:lnTo>
                  <a:pt x="23" y="45"/>
                </a:lnTo>
                <a:lnTo>
                  <a:pt x="27" y="37"/>
                </a:lnTo>
                <a:lnTo>
                  <a:pt x="30" y="28"/>
                </a:lnTo>
                <a:lnTo>
                  <a:pt x="33" y="19"/>
                </a:lnTo>
                <a:lnTo>
                  <a:pt x="66" y="14"/>
                </a:lnTo>
                <a:lnTo>
                  <a:pt x="103" y="9"/>
                </a:lnTo>
                <a:lnTo>
                  <a:pt x="145" y="4"/>
                </a:lnTo>
                <a:lnTo>
                  <a:pt x="193" y="0"/>
                </a:lnTo>
                <a:lnTo>
                  <a:pt x="166" y="31"/>
                </a:lnTo>
                <a:lnTo>
                  <a:pt x="166" y="34"/>
                </a:lnTo>
                <a:lnTo>
                  <a:pt x="164" y="37"/>
                </a:lnTo>
                <a:lnTo>
                  <a:pt x="162" y="39"/>
                </a:lnTo>
                <a:lnTo>
                  <a:pt x="161" y="41"/>
                </a:lnTo>
                <a:lnTo>
                  <a:pt x="157" y="45"/>
                </a:lnTo>
                <a:lnTo>
                  <a:pt x="156" y="47"/>
                </a:lnTo>
                <a:lnTo>
                  <a:pt x="156" y="49"/>
                </a:lnTo>
                <a:lnTo>
                  <a:pt x="157" y="50"/>
                </a:lnTo>
                <a:lnTo>
                  <a:pt x="159" y="50"/>
                </a:lnTo>
                <a:lnTo>
                  <a:pt x="163" y="51"/>
                </a:lnTo>
                <a:lnTo>
                  <a:pt x="177" y="53"/>
                </a:lnTo>
                <a:lnTo>
                  <a:pt x="200" y="55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fr-FR" dirty="0"/>
          </a:p>
        </p:txBody>
      </p:sp>
      <p:sp>
        <p:nvSpPr>
          <p:cNvPr id="46" name="Freeform 230"/>
          <p:cNvSpPr>
            <a:spLocks/>
          </p:cNvSpPr>
          <p:nvPr>
            <p:custDataLst>
              <p:tags r:id="rId27"/>
            </p:custDataLst>
          </p:nvPr>
        </p:nvSpPr>
        <p:spPr bwMode="auto">
          <a:xfrm>
            <a:off x="1130230" y="3663288"/>
            <a:ext cx="104331" cy="99606"/>
          </a:xfrm>
          <a:custGeom>
            <a:avLst/>
            <a:gdLst>
              <a:gd name="T0" fmla="*/ 0 w 186"/>
              <a:gd name="T1" fmla="*/ 29619866 h 142"/>
              <a:gd name="T2" fmla="*/ 409381 w 186"/>
              <a:gd name="T3" fmla="*/ 30677700 h 142"/>
              <a:gd name="T4" fmla="*/ 613846 w 186"/>
              <a:gd name="T5" fmla="*/ 28297702 h 142"/>
              <a:gd name="T6" fmla="*/ 613846 w 186"/>
              <a:gd name="T7" fmla="*/ 24595026 h 142"/>
              <a:gd name="T8" fmla="*/ 1841537 w 186"/>
              <a:gd name="T9" fmla="*/ 21685854 h 142"/>
              <a:gd name="T10" fmla="*/ 3478609 w 186"/>
              <a:gd name="T11" fmla="*/ 18248022 h 142"/>
              <a:gd name="T12" fmla="*/ 4092454 w 186"/>
              <a:gd name="T13" fmla="*/ 14810190 h 142"/>
              <a:gd name="T14" fmla="*/ 4706300 w 186"/>
              <a:gd name="T15" fmla="*/ 12165348 h 142"/>
              <a:gd name="T16" fmla="*/ 5729526 w 186"/>
              <a:gd name="T17" fmla="*/ 9785350 h 142"/>
              <a:gd name="T18" fmla="*/ 7161682 w 186"/>
              <a:gd name="T19" fmla="*/ 8462672 h 142"/>
              <a:gd name="T20" fmla="*/ 8389825 w 186"/>
              <a:gd name="T21" fmla="*/ 10049680 h 142"/>
              <a:gd name="T22" fmla="*/ 8798754 w 186"/>
              <a:gd name="T23" fmla="*/ 12958852 h 142"/>
              <a:gd name="T24" fmla="*/ 9617516 w 186"/>
              <a:gd name="T25" fmla="*/ 15338850 h 142"/>
              <a:gd name="T26" fmla="*/ 11254588 w 186"/>
              <a:gd name="T27" fmla="*/ 17190188 h 142"/>
              <a:gd name="T28" fmla="*/ 17802425 w 186"/>
              <a:gd name="T29" fmla="*/ 17718848 h 142"/>
              <a:gd name="T30" fmla="*/ 16165353 w 186"/>
              <a:gd name="T31" fmla="*/ 10843184 h 142"/>
              <a:gd name="T32" fmla="*/ 14118899 w 186"/>
              <a:gd name="T33" fmla="*/ 9520506 h 142"/>
              <a:gd name="T34" fmla="*/ 12891208 w 186"/>
              <a:gd name="T35" fmla="*/ 7934012 h 142"/>
              <a:gd name="T36" fmla="*/ 12482279 w 186"/>
              <a:gd name="T37" fmla="*/ 6082674 h 142"/>
              <a:gd name="T38" fmla="*/ 14323816 w 186"/>
              <a:gd name="T39" fmla="*/ 4495666 h 142"/>
              <a:gd name="T40" fmla="*/ 17802425 w 186"/>
              <a:gd name="T41" fmla="*/ 3702676 h 142"/>
              <a:gd name="T42" fmla="*/ 20053342 w 186"/>
              <a:gd name="T43" fmla="*/ 2644842 h 142"/>
              <a:gd name="T44" fmla="*/ 22713189 w 186"/>
              <a:gd name="T45" fmla="*/ 1587008 h 142"/>
              <a:gd name="T46" fmla="*/ 26601179 w 186"/>
              <a:gd name="T47" fmla="*/ 793504 h 142"/>
              <a:gd name="T48" fmla="*/ 30079787 w 186"/>
              <a:gd name="T49" fmla="*/ 264330 h 142"/>
              <a:gd name="T50" fmla="*/ 32535169 w 186"/>
              <a:gd name="T51" fmla="*/ 529174 h 142"/>
              <a:gd name="T52" fmla="*/ 36013778 w 186"/>
              <a:gd name="T53" fmla="*/ 264330 h 142"/>
              <a:gd name="T54" fmla="*/ 37446386 w 186"/>
              <a:gd name="T55" fmla="*/ 2644842 h 142"/>
              <a:gd name="T56" fmla="*/ 36423159 w 186"/>
              <a:gd name="T57" fmla="*/ 6876178 h 142"/>
              <a:gd name="T58" fmla="*/ 34581623 w 186"/>
              <a:gd name="T59" fmla="*/ 10578340 h 142"/>
              <a:gd name="T60" fmla="*/ 32535169 w 186"/>
              <a:gd name="T61" fmla="*/ 13487512 h 142"/>
              <a:gd name="T62" fmla="*/ 31716860 w 186"/>
              <a:gd name="T63" fmla="*/ 16661014 h 142"/>
              <a:gd name="T64" fmla="*/ 31307478 w 186"/>
              <a:gd name="T65" fmla="*/ 20099360 h 142"/>
              <a:gd name="T66" fmla="*/ 24555178 w 186"/>
              <a:gd name="T67" fmla="*/ 37553878 h 142"/>
              <a:gd name="T68" fmla="*/ 16369817 w 186"/>
              <a:gd name="T69" fmla="*/ 32264708 h 142"/>
              <a:gd name="T70" fmla="*/ 7161682 w 186"/>
              <a:gd name="T71" fmla="*/ 30942030 h 142"/>
              <a:gd name="T72" fmla="*/ 1637072 w 186"/>
              <a:gd name="T73" fmla="*/ 29884196 h 142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0" t="0" r="r" b="b"/>
            <a:pathLst>
              <a:path w="186" h="142">
                <a:moveTo>
                  <a:pt x="0" y="111"/>
                </a:moveTo>
                <a:lnTo>
                  <a:pt x="0" y="112"/>
                </a:lnTo>
                <a:lnTo>
                  <a:pt x="1" y="114"/>
                </a:lnTo>
                <a:lnTo>
                  <a:pt x="2" y="116"/>
                </a:lnTo>
                <a:lnTo>
                  <a:pt x="7" y="117"/>
                </a:lnTo>
                <a:lnTo>
                  <a:pt x="3" y="107"/>
                </a:lnTo>
                <a:lnTo>
                  <a:pt x="2" y="99"/>
                </a:lnTo>
                <a:lnTo>
                  <a:pt x="3" y="93"/>
                </a:lnTo>
                <a:lnTo>
                  <a:pt x="6" y="87"/>
                </a:lnTo>
                <a:lnTo>
                  <a:pt x="9" y="82"/>
                </a:lnTo>
                <a:lnTo>
                  <a:pt x="13" y="76"/>
                </a:lnTo>
                <a:lnTo>
                  <a:pt x="17" y="69"/>
                </a:lnTo>
                <a:lnTo>
                  <a:pt x="20" y="61"/>
                </a:lnTo>
                <a:lnTo>
                  <a:pt x="20" y="56"/>
                </a:lnTo>
                <a:lnTo>
                  <a:pt x="21" y="51"/>
                </a:lnTo>
                <a:lnTo>
                  <a:pt x="23" y="46"/>
                </a:lnTo>
                <a:lnTo>
                  <a:pt x="25" y="42"/>
                </a:lnTo>
                <a:lnTo>
                  <a:pt x="28" y="37"/>
                </a:lnTo>
                <a:lnTo>
                  <a:pt x="31" y="34"/>
                </a:lnTo>
                <a:lnTo>
                  <a:pt x="35" y="32"/>
                </a:lnTo>
                <a:lnTo>
                  <a:pt x="40" y="31"/>
                </a:lnTo>
                <a:lnTo>
                  <a:pt x="41" y="38"/>
                </a:lnTo>
                <a:lnTo>
                  <a:pt x="41" y="43"/>
                </a:lnTo>
                <a:lnTo>
                  <a:pt x="43" y="49"/>
                </a:lnTo>
                <a:lnTo>
                  <a:pt x="45" y="54"/>
                </a:lnTo>
                <a:lnTo>
                  <a:pt x="47" y="58"/>
                </a:lnTo>
                <a:lnTo>
                  <a:pt x="51" y="62"/>
                </a:lnTo>
                <a:lnTo>
                  <a:pt x="55" y="65"/>
                </a:lnTo>
                <a:lnTo>
                  <a:pt x="59" y="67"/>
                </a:lnTo>
                <a:lnTo>
                  <a:pt x="87" y="67"/>
                </a:lnTo>
                <a:lnTo>
                  <a:pt x="87" y="43"/>
                </a:lnTo>
                <a:lnTo>
                  <a:pt x="79" y="41"/>
                </a:lnTo>
                <a:lnTo>
                  <a:pt x="74" y="38"/>
                </a:lnTo>
                <a:lnTo>
                  <a:pt x="69" y="36"/>
                </a:lnTo>
                <a:lnTo>
                  <a:pt x="66" y="33"/>
                </a:lnTo>
                <a:lnTo>
                  <a:pt x="63" y="30"/>
                </a:lnTo>
                <a:lnTo>
                  <a:pt x="62" y="27"/>
                </a:lnTo>
                <a:lnTo>
                  <a:pt x="61" y="23"/>
                </a:lnTo>
                <a:lnTo>
                  <a:pt x="59" y="18"/>
                </a:lnTo>
                <a:lnTo>
                  <a:pt x="70" y="17"/>
                </a:lnTo>
                <a:lnTo>
                  <a:pt x="79" y="16"/>
                </a:lnTo>
                <a:lnTo>
                  <a:pt x="87" y="14"/>
                </a:lnTo>
                <a:lnTo>
                  <a:pt x="92" y="12"/>
                </a:lnTo>
                <a:lnTo>
                  <a:pt x="98" y="10"/>
                </a:lnTo>
                <a:lnTo>
                  <a:pt x="103" y="8"/>
                </a:lnTo>
                <a:lnTo>
                  <a:pt x="111" y="6"/>
                </a:lnTo>
                <a:lnTo>
                  <a:pt x="120" y="6"/>
                </a:lnTo>
                <a:lnTo>
                  <a:pt x="130" y="3"/>
                </a:lnTo>
                <a:lnTo>
                  <a:pt x="140" y="0"/>
                </a:lnTo>
                <a:lnTo>
                  <a:pt x="147" y="1"/>
                </a:lnTo>
                <a:lnTo>
                  <a:pt x="154" y="2"/>
                </a:lnTo>
                <a:lnTo>
                  <a:pt x="159" y="2"/>
                </a:lnTo>
                <a:lnTo>
                  <a:pt x="165" y="2"/>
                </a:lnTo>
                <a:lnTo>
                  <a:pt x="176" y="1"/>
                </a:lnTo>
                <a:lnTo>
                  <a:pt x="186" y="0"/>
                </a:lnTo>
                <a:lnTo>
                  <a:pt x="183" y="10"/>
                </a:lnTo>
                <a:lnTo>
                  <a:pt x="181" y="19"/>
                </a:lnTo>
                <a:lnTo>
                  <a:pt x="178" y="26"/>
                </a:lnTo>
                <a:lnTo>
                  <a:pt x="176" y="32"/>
                </a:lnTo>
                <a:lnTo>
                  <a:pt x="169" y="40"/>
                </a:lnTo>
                <a:lnTo>
                  <a:pt x="165" y="45"/>
                </a:lnTo>
                <a:lnTo>
                  <a:pt x="159" y="51"/>
                </a:lnTo>
                <a:lnTo>
                  <a:pt x="156" y="58"/>
                </a:lnTo>
                <a:lnTo>
                  <a:pt x="155" y="63"/>
                </a:lnTo>
                <a:lnTo>
                  <a:pt x="154" y="69"/>
                </a:lnTo>
                <a:lnTo>
                  <a:pt x="153" y="76"/>
                </a:lnTo>
                <a:lnTo>
                  <a:pt x="153" y="86"/>
                </a:lnTo>
                <a:lnTo>
                  <a:pt x="120" y="142"/>
                </a:lnTo>
                <a:lnTo>
                  <a:pt x="93" y="123"/>
                </a:lnTo>
                <a:lnTo>
                  <a:pt x="80" y="122"/>
                </a:lnTo>
                <a:lnTo>
                  <a:pt x="52" y="119"/>
                </a:lnTo>
                <a:lnTo>
                  <a:pt x="35" y="117"/>
                </a:lnTo>
                <a:lnTo>
                  <a:pt x="20" y="115"/>
                </a:lnTo>
                <a:lnTo>
                  <a:pt x="8" y="113"/>
                </a:lnTo>
                <a:lnTo>
                  <a:pt x="0" y="11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fr-FR" dirty="0"/>
          </a:p>
        </p:txBody>
      </p:sp>
      <p:sp>
        <p:nvSpPr>
          <p:cNvPr id="47" name="Freeform 231"/>
          <p:cNvSpPr>
            <a:spLocks/>
          </p:cNvSpPr>
          <p:nvPr>
            <p:custDataLst>
              <p:tags r:id="rId28"/>
            </p:custDataLst>
          </p:nvPr>
        </p:nvSpPr>
        <p:spPr bwMode="auto">
          <a:xfrm>
            <a:off x="1106608" y="3749902"/>
            <a:ext cx="104331" cy="77953"/>
          </a:xfrm>
          <a:custGeom>
            <a:avLst/>
            <a:gdLst>
              <a:gd name="T0" fmla="*/ 36870849 w 192"/>
              <a:gd name="T1" fmla="*/ 18070830 h 105"/>
              <a:gd name="T2" fmla="*/ 36294592 w 192"/>
              <a:gd name="T3" fmla="*/ 18367466 h 105"/>
              <a:gd name="T4" fmla="*/ 35334454 w 192"/>
              <a:gd name="T5" fmla="*/ 18663557 h 105"/>
              <a:gd name="T6" fmla="*/ 34566257 w 192"/>
              <a:gd name="T7" fmla="*/ 18959649 h 105"/>
              <a:gd name="T8" fmla="*/ 33990437 w 192"/>
              <a:gd name="T9" fmla="*/ 19848467 h 105"/>
              <a:gd name="T10" fmla="*/ 32262103 w 192"/>
              <a:gd name="T11" fmla="*/ 21330013 h 105"/>
              <a:gd name="T12" fmla="*/ 30725708 w 192"/>
              <a:gd name="T13" fmla="*/ 23403741 h 105"/>
              <a:gd name="T14" fmla="*/ 29573631 w 192"/>
              <a:gd name="T15" fmla="*/ 25477470 h 105"/>
              <a:gd name="T16" fmla="*/ 28229175 w 192"/>
              <a:gd name="T17" fmla="*/ 27551199 h 105"/>
              <a:gd name="T18" fmla="*/ 27460978 w 192"/>
              <a:gd name="T19" fmla="*/ 29328291 h 105"/>
              <a:gd name="T20" fmla="*/ 26692781 w 192"/>
              <a:gd name="T21" fmla="*/ 31105929 h 105"/>
              <a:gd name="T22" fmla="*/ 23044171 w 192"/>
              <a:gd name="T23" fmla="*/ 28736109 h 105"/>
              <a:gd name="T24" fmla="*/ 19587502 w 192"/>
              <a:gd name="T25" fmla="*/ 26365744 h 105"/>
              <a:gd name="T26" fmla="*/ 16515150 w 192"/>
              <a:gd name="T27" fmla="*/ 23699833 h 105"/>
              <a:gd name="T28" fmla="*/ 13250420 w 192"/>
              <a:gd name="T29" fmla="*/ 21033377 h 105"/>
              <a:gd name="T30" fmla="*/ 10178069 w 192"/>
              <a:gd name="T31" fmla="*/ 18070830 h 105"/>
              <a:gd name="T32" fmla="*/ 6913339 w 192"/>
              <a:gd name="T33" fmla="*/ 15701010 h 105"/>
              <a:gd name="T34" fmla="*/ 3648609 w 192"/>
              <a:gd name="T35" fmla="*/ 13035099 h 105"/>
              <a:gd name="T36" fmla="*/ 0 w 192"/>
              <a:gd name="T37" fmla="*/ 10961370 h 105"/>
              <a:gd name="T38" fmla="*/ 0 w 192"/>
              <a:gd name="T39" fmla="*/ 3851366 h 105"/>
              <a:gd name="T40" fmla="*/ 1344455 w 192"/>
              <a:gd name="T41" fmla="*/ 2073729 h 105"/>
              <a:gd name="T42" fmla="*/ 3072790 w 192"/>
              <a:gd name="T43" fmla="*/ 1184910 h 105"/>
              <a:gd name="T44" fmla="*/ 5568884 w 192"/>
              <a:gd name="T45" fmla="*/ 296091 h 105"/>
              <a:gd name="T46" fmla="*/ 7681536 w 192"/>
              <a:gd name="T47" fmla="*/ 0 h 105"/>
              <a:gd name="T48" fmla="*/ 11522086 w 192"/>
              <a:gd name="T49" fmla="*/ 592727 h 105"/>
              <a:gd name="T50" fmla="*/ 17859167 w 192"/>
              <a:gd name="T51" fmla="*/ 1481001 h 105"/>
              <a:gd name="T52" fmla="*/ 21315836 w 192"/>
              <a:gd name="T53" fmla="*/ 2073729 h 105"/>
              <a:gd name="T54" fmla="*/ 24580566 w 192"/>
              <a:gd name="T55" fmla="*/ 2073729 h 105"/>
              <a:gd name="T56" fmla="*/ 27460978 w 192"/>
              <a:gd name="T57" fmla="*/ 2073729 h 105"/>
              <a:gd name="T58" fmla="*/ 29381253 w 192"/>
              <a:gd name="T59" fmla="*/ 1777637 h 105"/>
              <a:gd name="T60" fmla="*/ 29765570 w 192"/>
              <a:gd name="T61" fmla="*/ 3258639 h 105"/>
              <a:gd name="T62" fmla="*/ 30533768 w 192"/>
              <a:gd name="T63" fmla="*/ 5036276 h 105"/>
              <a:gd name="T64" fmla="*/ 30917647 w 192"/>
              <a:gd name="T65" fmla="*/ 5925094 h 105"/>
              <a:gd name="T66" fmla="*/ 31493905 w 192"/>
              <a:gd name="T67" fmla="*/ 6813913 h 105"/>
              <a:gd name="T68" fmla="*/ 31685845 w 192"/>
              <a:gd name="T69" fmla="*/ 7998823 h 105"/>
              <a:gd name="T70" fmla="*/ 31877785 w 192"/>
              <a:gd name="T71" fmla="*/ 9183733 h 105"/>
              <a:gd name="T72" fmla="*/ 32645982 w 192"/>
              <a:gd name="T73" fmla="*/ 9479824 h 105"/>
              <a:gd name="T74" fmla="*/ 33990437 w 192"/>
              <a:gd name="T75" fmla="*/ 9775916 h 105"/>
              <a:gd name="T76" fmla="*/ 34566257 w 192"/>
              <a:gd name="T77" fmla="*/ 10072551 h 105"/>
              <a:gd name="T78" fmla="*/ 35142514 w 192"/>
              <a:gd name="T79" fmla="*/ 10072551 h 105"/>
              <a:gd name="T80" fmla="*/ 36102652 w 192"/>
              <a:gd name="T81" fmla="*/ 9775916 h 105"/>
              <a:gd name="T82" fmla="*/ 36870849 w 192"/>
              <a:gd name="T83" fmla="*/ 9183733 h 105"/>
              <a:gd name="T84" fmla="*/ 36870849 w 192"/>
              <a:gd name="T85" fmla="*/ 18070830 h 105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0" t="0" r="r" b="b"/>
            <a:pathLst>
              <a:path w="192" h="105">
                <a:moveTo>
                  <a:pt x="192" y="61"/>
                </a:moveTo>
                <a:lnTo>
                  <a:pt x="189" y="62"/>
                </a:lnTo>
                <a:lnTo>
                  <a:pt x="184" y="63"/>
                </a:lnTo>
                <a:lnTo>
                  <a:pt x="180" y="64"/>
                </a:lnTo>
                <a:lnTo>
                  <a:pt x="177" y="67"/>
                </a:lnTo>
                <a:lnTo>
                  <a:pt x="168" y="72"/>
                </a:lnTo>
                <a:lnTo>
                  <a:pt x="160" y="79"/>
                </a:lnTo>
                <a:lnTo>
                  <a:pt x="154" y="86"/>
                </a:lnTo>
                <a:lnTo>
                  <a:pt x="147" y="93"/>
                </a:lnTo>
                <a:lnTo>
                  <a:pt x="143" y="99"/>
                </a:lnTo>
                <a:lnTo>
                  <a:pt x="139" y="105"/>
                </a:lnTo>
                <a:lnTo>
                  <a:pt x="120" y="97"/>
                </a:lnTo>
                <a:lnTo>
                  <a:pt x="102" y="89"/>
                </a:lnTo>
                <a:lnTo>
                  <a:pt x="86" y="80"/>
                </a:lnTo>
                <a:lnTo>
                  <a:pt x="69" y="71"/>
                </a:lnTo>
                <a:lnTo>
                  <a:pt x="53" y="61"/>
                </a:lnTo>
                <a:lnTo>
                  <a:pt x="36" y="53"/>
                </a:lnTo>
                <a:lnTo>
                  <a:pt x="19" y="44"/>
                </a:lnTo>
                <a:lnTo>
                  <a:pt x="0" y="37"/>
                </a:lnTo>
                <a:lnTo>
                  <a:pt x="0" y="13"/>
                </a:lnTo>
                <a:lnTo>
                  <a:pt x="7" y="7"/>
                </a:lnTo>
                <a:lnTo>
                  <a:pt x="16" y="4"/>
                </a:lnTo>
                <a:lnTo>
                  <a:pt x="29" y="1"/>
                </a:lnTo>
                <a:lnTo>
                  <a:pt x="40" y="0"/>
                </a:lnTo>
                <a:lnTo>
                  <a:pt x="60" y="2"/>
                </a:lnTo>
                <a:lnTo>
                  <a:pt x="93" y="5"/>
                </a:lnTo>
                <a:lnTo>
                  <a:pt x="111" y="7"/>
                </a:lnTo>
                <a:lnTo>
                  <a:pt x="128" y="7"/>
                </a:lnTo>
                <a:lnTo>
                  <a:pt x="143" y="7"/>
                </a:lnTo>
                <a:lnTo>
                  <a:pt x="153" y="6"/>
                </a:lnTo>
                <a:lnTo>
                  <a:pt x="155" y="11"/>
                </a:lnTo>
                <a:lnTo>
                  <a:pt x="159" y="17"/>
                </a:lnTo>
                <a:lnTo>
                  <a:pt x="161" y="20"/>
                </a:lnTo>
                <a:lnTo>
                  <a:pt x="164" y="23"/>
                </a:lnTo>
                <a:lnTo>
                  <a:pt x="165" y="27"/>
                </a:lnTo>
                <a:lnTo>
                  <a:pt x="166" y="31"/>
                </a:lnTo>
                <a:lnTo>
                  <a:pt x="170" y="32"/>
                </a:lnTo>
                <a:lnTo>
                  <a:pt x="177" y="33"/>
                </a:lnTo>
                <a:lnTo>
                  <a:pt x="180" y="34"/>
                </a:lnTo>
                <a:lnTo>
                  <a:pt x="183" y="34"/>
                </a:lnTo>
                <a:lnTo>
                  <a:pt x="188" y="33"/>
                </a:lnTo>
                <a:lnTo>
                  <a:pt x="192" y="31"/>
                </a:lnTo>
                <a:lnTo>
                  <a:pt x="192" y="6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fr-FR" dirty="0"/>
          </a:p>
        </p:txBody>
      </p:sp>
      <p:sp>
        <p:nvSpPr>
          <p:cNvPr id="48" name="Freeform 232"/>
          <p:cNvSpPr>
            <a:spLocks/>
          </p:cNvSpPr>
          <p:nvPr>
            <p:custDataLst>
              <p:tags r:id="rId29"/>
            </p:custDataLst>
          </p:nvPr>
        </p:nvSpPr>
        <p:spPr bwMode="auto">
          <a:xfrm>
            <a:off x="2049521" y="4505610"/>
            <a:ext cx="41338" cy="179723"/>
          </a:xfrm>
          <a:custGeom>
            <a:avLst/>
            <a:gdLst>
              <a:gd name="T0" fmla="*/ 5730630 w 80"/>
              <a:gd name="T1" fmla="*/ 0 h 254"/>
              <a:gd name="T2" fmla="*/ 6424873 w 80"/>
              <a:gd name="T3" fmla="*/ 537942 h 254"/>
              <a:gd name="T4" fmla="*/ 6946181 w 80"/>
              <a:gd name="T5" fmla="*/ 1076402 h 254"/>
              <a:gd name="T6" fmla="*/ 7467071 w 80"/>
              <a:gd name="T7" fmla="*/ 1883574 h 254"/>
              <a:gd name="T8" fmla="*/ 7987962 w 80"/>
              <a:gd name="T9" fmla="*/ 2690746 h 254"/>
              <a:gd name="T10" fmla="*/ 9029743 w 80"/>
              <a:gd name="T11" fmla="*/ 4843550 h 254"/>
              <a:gd name="T12" fmla="*/ 9724403 w 80"/>
              <a:gd name="T13" fmla="*/ 6727643 h 254"/>
              <a:gd name="T14" fmla="*/ 10766184 w 80"/>
              <a:gd name="T15" fmla="*/ 8611217 h 254"/>
              <a:gd name="T16" fmla="*/ 11634613 w 80"/>
              <a:gd name="T17" fmla="*/ 10225561 h 254"/>
              <a:gd name="T18" fmla="*/ 12155504 w 80"/>
              <a:gd name="T19" fmla="*/ 10764022 h 254"/>
              <a:gd name="T20" fmla="*/ 12676394 w 80"/>
              <a:gd name="T21" fmla="*/ 11301963 h 254"/>
              <a:gd name="T22" fmla="*/ 13197285 w 80"/>
              <a:gd name="T23" fmla="*/ 11571194 h 254"/>
              <a:gd name="T24" fmla="*/ 13891945 w 80"/>
              <a:gd name="T25" fmla="*/ 11840424 h 254"/>
              <a:gd name="T26" fmla="*/ 13891945 w 80"/>
              <a:gd name="T27" fmla="*/ 14262458 h 254"/>
              <a:gd name="T28" fmla="*/ 13891945 w 80"/>
              <a:gd name="T29" fmla="*/ 16683974 h 254"/>
              <a:gd name="T30" fmla="*/ 9203512 w 80"/>
              <a:gd name="T31" fmla="*/ 68351278 h 254"/>
              <a:gd name="T32" fmla="*/ 0 w 80"/>
              <a:gd name="T33" fmla="*/ 25026480 h 254"/>
              <a:gd name="T34" fmla="*/ 694660 w 80"/>
              <a:gd name="T35" fmla="*/ 23680848 h 254"/>
              <a:gd name="T36" fmla="*/ 1910210 w 80"/>
              <a:gd name="T37" fmla="*/ 19106009 h 254"/>
              <a:gd name="T38" fmla="*/ 2951991 w 80"/>
              <a:gd name="T39" fmla="*/ 15338861 h 254"/>
              <a:gd name="T40" fmla="*/ 3820420 w 80"/>
              <a:gd name="T41" fmla="*/ 11033252 h 254"/>
              <a:gd name="T42" fmla="*/ 4862201 w 80"/>
              <a:gd name="T43" fmla="*/ 6189183 h 254"/>
              <a:gd name="T44" fmla="*/ 5730630 w 80"/>
              <a:gd name="T45" fmla="*/ 0 h 254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0" t="0" r="r" b="b"/>
            <a:pathLst>
              <a:path w="80" h="254">
                <a:moveTo>
                  <a:pt x="33" y="0"/>
                </a:moveTo>
                <a:lnTo>
                  <a:pt x="37" y="2"/>
                </a:lnTo>
                <a:lnTo>
                  <a:pt x="40" y="4"/>
                </a:lnTo>
                <a:lnTo>
                  <a:pt x="43" y="7"/>
                </a:lnTo>
                <a:lnTo>
                  <a:pt x="46" y="10"/>
                </a:lnTo>
                <a:lnTo>
                  <a:pt x="52" y="18"/>
                </a:lnTo>
                <a:lnTo>
                  <a:pt x="56" y="25"/>
                </a:lnTo>
                <a:lnTo>
                  <a:pt x="62" y="32"/>
                </a:lnTo>
                <a:lnTo>
                  <a:pt x="67" y="38"/>
                </a:lnTo>
                <a:lnTo>
                  <a:pt x="70" y="40"/>
                </a:lnTo>
                <a:lnTo>
                  <a:pt x="73" y="42"/>
                </a:lnTo>
                <a:lnTo>
                  <a:pt x="76" y="43"/>
                </a:lnTo>
                <a:lnTo>
                  <a:pt x="80" y="44"/>
                </a:lnTo>
                <a:lnTo>
                  <a:pt x="80" y="53"/>
                </a:lnTo>
                <a:lnTo>
                  <a:pt x="80" y="62"/>
                </a:lnTo>
                <a:lnTo>
                  <a:pt x="53" y="254"/>
                </a:lnTo>
                <a:lnTo>
                  <a:pt x="0" y="93"/>
                </a:lnTo>
                <a:lnTo>
                  <a:pt x="4" y="88"/>
                </a:lnTo>
                <a:lnTo>
                  <a:pt x="11" y="71"/>
                </a:lnTo>
                <a:lnTo>
                  <a:pt x="17" y="57"/>
                </a:lnTo>
                <a:lnTo>
                  <a:pt x="22" y="41"/>
                </a:lnTo>
                <a:lnTo>
                  <a:pt x="28" y="23"/>
                </a:lnTo>
                <a:lnTo>
                  <a:pt x="33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 dirty="0"/>
          </a:p>
        </p:txBody>
      </p:sp>
      <p:sp>
        <p:nvSpPr>
          <p:cNvPr id="49" name="Freeform 234"/>
          <p:cNvSpPr>
            <a:spLocks/>
          </p:cNvSpPr>
          <p:nvPr>
            <p:custDataLst>
              <p:tags r:id="rId30"/>
            </p:custDataLst>
          </p:nvPr>
        </p:nvSpPr>
        <p:spPr bwMode="auto">
          <a:xfrm>
            <a:off x="748341" y="3559351"/>
            <a:ext cx="120079" cy="197048"/>
          </a:xfrm>
          <a:custGeom>
            <a:avLst/>
            <a:gdLst>
              <a:gd name="T0" fmla="*/ 34268601 w 225"/>
              <a:gd name="T1" fmla="*/ 18761140 h 273"/>
              <a:gd name="T2" fmla="*/ 32046061 w 225"/>
              <a:gd name="T3" fmla="*/ 21841430 h 273"/>
              <a:gd name="T4" fmla="*/ 29452525 w 225"/>
              <a:gd name="T5" fmla="*/ 22961679 h 273"/>
              <a:gd name="T6" fmla="*/ 30193658 w 225"/>
              <a:gd name="T7" fmla="*/ 26041969 h 273"/>
              <a:gd name="T8" fmla="*/ 32231130 w 225"/>
              <a:gd name="T9" fmla="*/ 28281940 h 273"/>
              <a:gd name="T10" fmla="*/ 36121004 w 225"/>
              <a:gd name="T11" fmla="*/ 29402189 h 273"/>
              <a:gd name="T12" fmla="*/ 41678214 w 225"/>
              <a:gd name="T13" fmla="*/ 29682119 h 273"/>
              <a:gd name="T14" fmla="*/ 41678214 w 225"/>
              <a:gd name="T15" fmla="*/ 42563139 h 273"/>
              <a:gd name="T16" fmla="*/ 41493146 w 225"/>
              <a:gd name="T17" fmla="*/ 49283579 h 273"/>
              <a:gd name="T18" fmla="*/ 39825811 w 225"/>
              <a:gd name="T19" fmla="*/ 52363869 h 273"/>
              <a:gd name="T20" fmla="*/ 36491571 w 225"/>
              <a:gd name="T21" fmla="*/ 57404199 h 273"/>
              <a:gd name="T22" fmla="*/ 35565369 w 225"/>
              <a:gd name="T23" fmla="*/ 59924099 h 273"/>
              <a:gd name="T24" fmla="*/ 33157331 w 225"/>
              <a:gd name="T25" fmla="*/ 61044349 h 273"/>
              <a:gd name="T26" fmla="*/ 30378726 w 225"/>
              <a:gd name="T27" fmla="*/ 63004389 h 273"/>
              <a:gd name="T28" fmla="*/ 29452525 w 225"/>
              <a:gd name="T29" fmla="*/ 66084679 h 273"/>
              <a:gd name="T30" fmla="*/ 25933216 w 225"/>
              <a:gd name="T31" fmla="*/ 67764789 h 273"/>
              <a:gd name="T32" fmla="*/ 23710246 w 225"/>
              <a:gd name="T33" fmla="*/ 70564619 h 273"/>
              <a:gd name="T34" fmla="*/ 18709102 w 225"/>
              <a:gd name="T35" fmla="*/ 71404939 h 273"/>
              <a:gd name="T36" fmla="*/ 11113990 w 225"/>
              <a:gd name="T37" fmla="*/ 73085049 h 273"/>
              <a:gd name="T38" fmla="*/ 3519308 w 225"/>
              <a:gd name="T39" fmla="*/ 73085049 h 273"/>
              <a:gd name="T40" fmla="*/ 0 w 225"/>
              <a:gd name="T41" fmla="*/ 60764419 h 273"/>
              <a:gd name="T42" fmla="*/ 3889875 w 225"/>
              <a:gd name="T43" fmla="*/ 59364239 h 273"/>
              <a:gd name="T44" fmla="*/ 4816077 w 225"/>
              <a:gd name="T45" fmla="*/ 57404199 h 273"/>
              <a:gd name="T46" fmla="*/ 11113990 w 225"/>
              <a:gd name="T47" fmla="*/ 56563879 h 273"/>
              <a:gd name="T48" fmla="*/ 13336960 w 225"/>
              <a:gd name="T49" fmla="*/ 54043979 h 273"/>
              <a:gd name="T50" fmla="*/ 8891450 w 225"/>
              <a:gd name="T51" fmla="*/ 55443629 h 273"/>
              <a:gd name="T52" fmla="*/ 7409613 w 225"/>
              <a:gd name="T53" fmla="*/ 55163699 h 273"/>
              <a:gd name="T54" fmla="*/ 7224115 w 225"/>
              <a:gd name="T55" fmla="*/ 52643799 h 273"/>
              <a:gd name="T56" fmla="*/ 8520883 w 225"/>
              <a:gd name="T57" fmla="*/ 48443259 h 273"/>
              <a:gd name="T58" fmla="*/ 7224115 w 225"/>
              <a:gd name="T59" fmla="*/ 44803109 h 273"/>
              <a:gd name="T60" fmla="*/ 2593106 w 225"/>
              <a:gd name="T61" fmla="*/ 42002750 h 273"/>
              <a:gd name="T62" fmla="*/ 1111270 w 225"/>
              <a:gd name="T63" fmla="*/ 36402559 h 273"/>
              <a:gd name="T64" fmla="*/ 4075373 w 225"/>
              <a:gd name="T65" fmla="*/ 32202020 h 273"/>
              <a:gd name="T66" fmla="*/ 6483412 w 225"/>
              <a:gd name="T67" fmla="*/ 28561870 h 273"/>
              <a:gd name="T68" fmla="*/ 12596257 w 225"/>
              <a:gd name="T69" fmla="*/ 26321899 h 273"/>
              <a:gd name="T70" fmla="*/ 16671200 w 225"/>
              <a:gd name="T71" fmla="*/ 26321899 h 273"/>
              <a:gd name="T72" fmla="*/ 18523603 w 225"/>
              <a:gd name="T73" fmla="*/ 24641789 h 273"/>
              <a:gd name="T74" fmla="*/ 20005440 w 225"/>
              <a:gd name="T75" fmla="*/ 14561130 h 273"/>
              <a:gd name="T76" fmla="*/ 22228410 w 225"/>
              <a:gd name="T77" fmla="*/ 8680480 h 273"/>
              <a:gd name="T78" fmla="*/ 24080813 w 225"/>
              <a:gd name="T79" fmla="*/ 5600190 h 273"/>
              <a:gd name="T80" fmla="*/ 26118285 w 225"/>
              <a:gd name="T81" fmla="*/ 1960040 h 273"/>
              <a:gd name="T82" fmla="*/ 28711821 w 225"/>
              <a:gd name="T83" fmla="*/ 279930 h 273"/>
              <a:gd name="T84" fmla="*/ 33157331 w 225"/>
              <a:gd name="T85" fmla="*/ 840320 h 273"/>
              <a:gd name="T86" fmla="*/ 36121004 w 225"/>
              <a:gd name="T87" fmla="*/ 10640520 h 273"/>
              <a:gd name="T88" fmla="*/ 36306503 w 225"/>
              <a:gd name="T89" fmla="*/ 13160950 h 273"/>
              <a:gd name="T90" fmla="*/ 35194803 w 225"/>
              <a:gd name="T91" fmla="*/ 15680850 h 273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</a:gdLst>
            <a:ahLst/>
            <a:cxnLst>
              <a:cxn ang="T92">
                <a:pos x="T0" y="T1"/>
              </a:cxn>
              <a:cxn ang="T93">
                <a:pos x="T2" y="T3"/>
              </a:cxn>
              <a:cxn ang="T94">
                <a:pos x="T4" y="T5"/>
              </a:cxn>
              <a:cxn ang="T95">
                <a:pos x="T6" y="T7"/>
              </a:cxn>
              <a:cxn ang="T96">
                <a:pos x="T8" y="T9"/>
              </a:cxn>
              <a:cxn ang="T97">
                <a:pos x="T10" y="T11"/>
              </a:cxn>
              <a:cxn ang="T98">
                <a:pos x="T12" y="T13"/>
              </a:cxn>
              <a:cxn ang="T99">
                <a:pos x="T14" y="T15"/>
              </a:cxn>
              <a:cxn ang="T100">
                <a:pos x="T16" y="T17"/>
              </a:cxn>
              <a:cxn ang="T101">
                <a:pos x="T18" y="T19"/>
              </a:cxn>
              <a:cxn ang="T102">
                <a:pos x="T20" y="T21"/>
              </a:cxn>
              <a:cxn ang="T103">
                <a:pos x="T22" y="T23"/>
              </a:cxn>
              <a:cxn ang="T104">
                <a:pos x="T24" y="T25"/>
              </a:cxn>
              <a:cxn ang="T105">
                <a:pos x="T26" y="T27"/>
              </a:cxn>
              <a:cxn ang="T106">
                <a:pos x="T28" y="T29"/>
              </a:cxn>
              <a:cxn ang="T107">
                <a:pos x="T30" y="T31"/>
              </a:cxn>
              <a:cxn ang="T108">
                <a:pos x="T32" y="T33"/>
              </a:cxn>
              <a:cxn ang="T109">
                <a:pos x="T34" y="T35"/>
              </a:cxn>
              <a:cxn ang="T110">
                <a:pos x="T36" y="T37"/>
              </a:cxn>
              <a:cxn ang="T111">
                <a:pos x="T38" y="T39"/>
              </a:cxn>
              <a:cxn ang="T112">
                <a:pos x="T40" y="T41"/>
              </a:cxn>
              <a:cxn ang="T113">
                <a:pos x="T42" y="T43"/>
              </a:cxn>
              <a:cxn ang="T114">
                <a:pos x="T44" y="T45"/>
              </a:cxn>
              <a:cxn ang="T115">
                <a:pos x="T46" y="T47"/>
              </a:cxn>
              <a:cxn ang="T116">
                <a:pos x="T48" y="T49"/>
              </a:cxn>
              <a:cxn ang="T117">
                <a:pos x="T50" y="T51"/>
              </a:cxn>
              <a:cxn ang="T118">
                <a:pos x="T52" y="T53"/>
              </a:cxn>
              <a:cxn ang="T119">
                <a:pos x="T54" y="T55"/>
              </a:cxn>
              <a:cxn ang="T120">
                <a:pos x="T56" y="T57"/>
              </a:cxn>
              <a:cxn ang="T121">
                <a:pos x="T58" y="T59"/>
              </a:cxn>
              <a:cxn ang="T122">
                <a:pos x="T60" y="T61"/>
              </a:cxn>
              <a:cxn ang="T123">
                <a:pos x="T62" y="T63"/>
              </a:cxn>
              <a:cxn ang="T124">
                <a:pos x="T64" y="T65"/>
              </a:cxn>
              <a:cxn ang="T125">
                <a:pos x="T66" y="T67"/>
              </a:cxn>
              <a:cxn ang="T126">
                <a:pos x="T68" y="T69"/>
              </a:cxn>
              <a:cxn ang="T127">
                <a:pos x="T70" y="T71"/>
              </a:cxn>
              <a:cxn ang="T128">
                <a:pos x="T72" y="T73"/>
              </a:cxn>
              <a:cxn ang="T129">
                <a:pos x="T74" y="T75"/>
              </a:cxn>
              <a:cxn ang="T130">
                <a:pos x="T76" y="T77"/>
              </a:cxn>
              <a:cxn ang="T131">
                <a:pos x="T78" y="T79"/>
              </a:cxn>
              <a:cxn ang="T132">
                <a:pos x="T80" y="T81"/>
              </a:cxn>
              <a:cxn ang="T133">
                <a:pos x="T82" y="T83"/>
              </a:cxn>
              <a:cxn ang="T134">
                <a:pos x="T84" y="T85"/>
              </a:cxn>
              <a:cxn ang="T135">
                <a:pos x="T86" y="T87"/>
              </a:cxn>
              <a:cxn ang="T136">
                <a:pos x="T88" y="T89"/>
              </a:cxn>
              <a:cxn ang="T137">
                <a:pos x="T90" y="T91"/>
              </a:cxn>
            </a:cxnLst>
            <a:rect l="0" t="0" r="r" b="b"/>
            <a:pathLst>
              <a:path w="225" h="273">
                <a:moveTo>
                  <a:pt x="192" y="58"/>
                </a:moveTo>
                <a:lnTo>
                  <a:pt x="189" y="63"/>
                </a:lnTo>
                <a:lnTo>
                  <a:pt x="185" y="67"/>
                </a:lnTo>
                <a:lnTo>
                  <a:pt x="182" y="71"/>
                </a:lnTo>
                <a:lnTo>
                  <a:pt x="178" y="75"/>
                </a:lnTo>
                <a:lnTo>
                  <a:pt x="173" y="78"/>
                </a:lnTo>
                <a:lnTo>
                  <a:pt x="169" y="80"/>
                </a:lnTo>
                <a:lnTo>
                  <a:pt x="163" y="82"/>
                </a:lnTo>
                <a:lnTo>
                  <a:pt x="159" y="82"/>
                </a:lnTo>
                <a:lnTo>
                  <a:pt x="159" y="86"/>
                </a:lnTo>
                <a:lnTo>
                  <a:pt x="161" y="90"/>
                </a:lnTo>
                <a:lnTo>
                  <a:pt x="163" y="93"/>
                </a:lnTo>
                <a:lnTo>
                  <a:pt x="167" y="96"/>
                </a:lnTo>
                <a:lnTo>
                  <a:pt x="170" y="99"/>
                </a:lnTo>
                <a:lnTo>
                  <a:pt x="174" y="101"/>
                </a:lnTo>
                <a:lnTo>
                  <a:pt x="179" y="102"/>
                </a:lnTo>
                <a:lnTo>
                  <a:pt x="184" y="103"/>
                </a:lnTo>
                <a:lnTo>
                  <a:pt x="195" y="105"/>
                </a:lnTo>
                <a:lnTo>
                  <a:pt x="206" y="106"/>
                </a:lnTo>
                <a:lnTo>
                  <a:pt x="216" y="106"/>
                </a:lnTo>
                <a:lnTo>
                  <a:pt x="225" y="106"/>
                </a:lnTo>
                <a:lnTo>
                  <a:pt x="225" y="124"/>
                </a:lnTo>
                <a:lnTo>
                  <a:pt x="225" y="138"/>
                </a:lnTo>
                <a:lnTo>
                  <a:pt x="225" y="152"/>
                </a:lnTo>
                <a:lnTo>
                  <a:pt x="225" y="169"/>
                </a:lnTo>
                <a:lnTo>
                  <a:pt x="225" y="172"/>
                </a:lnTo>
                <a:lnTo>
                  <a:pt x="224" y="176"/>
                </a:lnTo>
                <a:lnTo>
                  <a:pt x="222" y="179"/>
                </a:lnTo>
                <a:lnTo>
                  <a:pt x="220" y="182"/>
                </a:lnTo>
                <a:lnTo>
                  <a:pt x="215" y="187"/>
                </a:lnTo>
                <a:lnTo>
                  <a:pt x="208" y="193"/>
                </a:lnTo>
                <a:lnTo>
                  <a:pt x="203" y="199"/>
                </a:lnTo>
                <a:lnTo>
                  <a:pt x="197" y="205"/>
                </a:lnTo>
                <a:lnTo>
                  <a:pt x="195" y="208"/>
                </a:lnTo>
                <a:lnTo>
                  <a:pt x="193" y="211"/>
                </a:lnTo>
                <a:lnTo>
                  <a:pt x="192" y="214"/>
                </a:lnTo>
                <a:lnTo>
                  <a:pt x="192" y="217"/>
                </a:lnTo>
                <a:lnTo>
                  <a:pt x="184" y="218"/>
                </a:lnTo>
                <a:lnTo>
                  <a:pt x="179" y="218"/>
                </a:lnTo>
                <a:lnTo>
                  <a:pt x="172" y="220"/>
                </a:lnTo>
                <a:lnTo>
                  <a:pt x="168" y="223"/>
                </a:lnTo>
                <a:lnTo>
                  <a:pt x="164" y="225"/>
                </a:lnTo>
                <a:lnTo>
                  <a:pt x="161" y="229"/>
                </a:lnTo>
                <a:lnTo>
                  <a:pt x="159" y="232"/>
                </a:lnTo>
                <a:lnTo>
                  <a:pt x="159" y="236"/>
                </a:lnTo>
                <a:lnTo>
                  <a:pt x="151" y="237"/>
                </a:lnTo>
                <a:lnTo>
                  <a:pt x="146" y="239"/>
                </a:lnTo>
                <a:lnTo>
                  <a:pt x="140" y="242"/>
                </a:lnTo>
                <a:lnTo>
                  <a:pt x="136" y="246"/>
                </a:lnTo>
                <a:lnTo>
                  <a:pt x="131" y="249"/>
                </a:lnTo>
                <a:lnTo>
                  <a:pt x="128" y="252"/>
                </a:lnTo>
                <a:lnTo>
                  <a:pt x="124" y="254"/>
                </a:lnTo>
                <a:lnTo>
                  <a:pt x="118" y="255"/>
                </a:lnTo>
                <a:lnTo>
                  <a:pt x="101" y="255"/>
                </a:lnTo>
                <a:lnTo>
                  <a:pt x="85" y="257"/>
                </a:lnTo>
                <a:lnTo>
                  <a:pt x="72" y="259"/>
                </a:lnTo>
                <a:lnTo>
                  <a:pt x="60" y="261"/>
                </a:lnTo>
                <a:lnTo>
                  <a:pt x="38" y="267"/>
                </a:lnTo>
                <a:lnTo>
                  <a:pt x="13" y="273"/>
                </a:lnTo>
                <a:lnTo>
                  <a:pt x="19" y="261"/>
                </a:lnTo>
                <a:lnTo>
                  <a:pt x="10" y="261"/>
                </a:lnTo>
                <a:lnTo>
                  <a:pt x="0" y="261"/>
                </a:lnTo>
                <a:lnTo>
                  <a:pt x="0" y="217"/>
                </a:lnTo>
                <a:lnTo>
                  <a:pt x="8" y="216"/>
                </a:lnTo>
                <a:lnTo>
                  <a:pt x="17" y="214"/>
                </a:lnTo>
                <a:lnTo>
                  <a:pt x="21" y="212"/>
                </a:lnTo>
                <a:lnTo>
                  <a:pt x="24" y="210"/>
                </a:lnTo>
                <a:lnTo>
                  <a:pt x="25" y="208"/>
                </a:lnTo>
                <a:lnTo>
                  <a:pt x="26" y="205"/>
                </a:lnTo>
                <a:lnTo>
                  <a:pt x="40" y="205"/>
                </a:lnTo>
                <a:lnTo>
                  <a:pt x="54" y="204"/>
                </a:lnTo>
                <a:lnTo>
                  <a:pt x="60" y="202"/>
                </a:lnTo>
                <a:lnTo>
                  <a:pt x="64" y="200"/>
                </a:lnTo>
                <a:lnTo>
                  <a:pt x="69" y="197"/>
                </a:lnTo>
                <a:lnTo>
                  <a:pt x="72" y="193"/>
                </a:lnTo>
                <a:lnTo>
                  <a:pt x="64" y="195"/>
                </a:lnTo>
                <a:lnTo>
                  <a:pt x="54" y="198"/>
                </a:lnTo>
                <a:lnTo>
                  <a:pt x="48" y="198"/>
                </a:lnTo>
                <a:lnTo>
                  <a:pt x="44" y="198"/>
                </a:lnTo>
                <a:lnTo>
                  <a:pt x="41" y="198"/>
                </a:lnTo>
                <a:lnTo>
                  <a:pt x="40" y="197"/>
                </a:lnTo>
                <a:lnTo>
                  <a:pt x="39" y="195"/>
                </a:lnTo>
                <a:lnTo>
                  <a:pt x="39" y="193"/>
                </a:lnTo>
                <a:lnTo>
                  <a:pt x="39" y="188"/>
                </a:lnTo>
                <a:lnTo>
                  <a:pt x="41" y="183"/>
                </a:lnTo>
                <a:lnTo>
                  <a:pt x="44" y="178"/>
                </a:lnTo>
                <a:lnTo>
                  <a:pt x="46" y="173"/>
                </a:lnTo>
                <a:lnTo>
                  <a:pt x="50" y="166"/>
                </a:lnTo>
                <a:lnTo>
                  <a:pt x="52" y="162"/>
                </a:lnTo>
                <a:lnTo>
                  <a:pt x="39" y="160"/>
                </a:lnTo>
                <a:lnTo>
                  <a:pt x="28" y="157"/>
                </a:lnTo>
                <a:lnTo>
                  <a:pt x="21" y="154"/>
                </a:lnTo>
                <a:lnTo>
                  <a:pt x="14" y="150"/>
                </a:lnTo>
                <a:lnTo>
                  <a:pt x="10" y="145"/>
                </a:lnTo>
                <a:lnTo>
                  <a:pt x="7" y="138"/>
                </a:lnTo>
                <a:lnTo>
                  <a:pt x="6" y="130"/>
                </a:lnTo>
                <a:lnTo>
                  <a:pt x="6" y="120"/>
                </a:lnTo>
                <a:lnTo>
                  <a:pt x="15" y="117"/>
                </a:lnTo>
                <a:lnTo>
                  <a:pt x="22" y="115"/>
                </a:lnTo>
                <a:lnTo>
                  <a:pt x="26" y="112"/>
                </a:lnTo>
                <a:lnTo>
                  <a:pt x="30" y="109"/>
                </a:lnTo>
                <a:lnTo>
                  <a:pt x="35" y="102"/>
                </a:lnTo>
                <a:lnTo>
                  <a:pt x="39" y="94"/>
                </a:lnTo>
                <a:lnTo>
                  <a:pt x="56" y="94"/>
                </a:lnTo>
                <a:lnTo>
                  <a:pt x="68" y="94"/>
                </a:lnTo>
                <a:lnTo>
                  <a:pt x="77" y="94"/>
                </a:lnTo>
                <a:lnTo>
                  <a:pt x="85" y="94"/>
                </a:lnTo>
                <a:lnTo>
                  <a:pt x="90" y="94"/>
                </a:lnTo>
                <a:lnTo>
                  <a:pt x="94" y="93"/>
                </a:lnTo>
                <a:lnTo>
                  <a:pt x="97" y="91"/>
                </a:lnTo>
                <a:lnTo>
                  <a:pt x="100" y="88"/>
                </a:lnTo>
                <a:lnTo>
                  <a:pt x="104" y="82"/>
                </a:lnTo>
                <a:lnTo>
                  <a:pt x="106" y="73"/>
                </a:lnTo>
                <a:lnTo>
                  <a:pt x="108" y="52"/>
                </a:lnTo>
                <a:lnTo>
                  <a:pt x="112" y="33"/>
                </a:lnTo>
                <a:lnTo>
                  <a:pt x="117" y="32"/>
                </a:lnTo>
                <a:lnTo>
                  <a:pt x="120" y="31"/>
                </a:lnTo>
                <a:lnTo>
                  <a:pt x="124" y="29"/>
                </a:lnTo>
                <a:lnTo>
                  <a:pt x="126" y="26"/>
                </a:lnTo>
                <a:lnTo>
                  <a:pt x="130" y="20"/>
                </a:lnTo>
                <a:lnTo>
                  <a:pt x="136" y="13"/>
                </a:lnTo>
                <a:lnTo>
                  <a:pt x="138" y="10"/>
                </a:lnTo>
                <a:lnTo>
                  <a:pt x="141" y="7"/>
                </a:lnTo>
                <a:lnTo>
                  <a:pt x="145" y="4"/>
                </a:lnTo>
                <a:lnTo>
                  <a:pt x="149" y="2"/>
                </a:lnTo>
                <a:lnTo>
                  <a:pt x="155" y="1"/>
                </a:lnTo>
                <a:lnTo>
                  <a:pt x="161" y="0"/>
                </a:lnTo>
                <a:lnTo>
                  <a:pt x="169" y="1"/>
                </a:lnTo>
                <a:lnTo>
                  <a:pt x="179" y="3"/>
                </a:lnTo>
                <a:lnTo>
                  <a:pt x="186" y="20"/>
                </a:lnTo>
                <a:lnTo>
                  <a:pt x="194" y="34"/>
                </a:lnTo>
                <a:lnTo>
                  <a:pt x="195" y="38"/>
                </a:lnTo>
                <a:lnTo>
                  <a:pt x="196" y="41"/>
                </a:lnTo>
                <a:lnTo>
                  <a:pt x="196" y="44"/>
                </a:lnTo>
                <a:lnTo>
                  <a:pt x="196" y="47"/>
                </a:lnTo>
                <a:lnTo>
                  <a:pt x="195" y="50"/>
                </a:lnTo>
                <a:lnTo>
                  <a:pt x="193" y="52"/>
                </a:lnTo>
                <a:lnTo>
                  <a:pt x="190" y="56"/>
                </a:lnTo>
                <a:lnTo>
                  <a:pt x="185" y="58"/>
                </a:lnTo>
                <a:lnTo>
                  <a:pt x="192" y="58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fr-FR" dirty="0"/>
          </a:p>
        </p:txBody>
      </p:sp>
      <p:sp>
        <p:nvSpPr>
          <p:cNvPr id="51" name="Freeform 241"/>
          <p:cNvSpPr>
            <a:spLocks/>
          </p:cNvSpPr>
          <p:nvPr>
            <p:custDataLst>
              <p:tags r:id="rId31"/>
            </p:custDataLst>
          </p:nvPr>
        </p:nvSpPr>
        <p:spPr bwMode="auto">
          <a:xfrm>
            <a:off x="458972" y="3145770"/>
            <a:ext cx="236220" cy="127755"/>
          </a:xfrm>
          <a:custGeom>
            <a:avLst/>
            <a:gdLst>
              <a:gd name="T0" fmla="*/ 6202783 w 446"/>
              <a:gd name="T1" fmla="*/ 16889679 h 178"/>
              <a:gd name="T2" fmla="*/ 7479901 w 446"/>
              <a:gd name="T3" fmla="*/ 11628821 h 178"/>
              <a:gd name="T4" fmla="*/ 12405992 w 446"/>
              <a:gd name="T5" fmla="*/ 10244413 h 178"/>
              <a:gd name="T6" fmla="*/ 14595034 w 446"/>
              <a:gd name="T7" fmla="*/ 4983555 h 178"/>
              <a:gd name="T8" fmla="*/ 13135530 w 446"/>
              <a:gd name="T9" fmla="*/ 3876449 h 178"/>
              <a:gd name="T10" fmla="*/ 10946489 w 446"/>
              <a:gd name="T11" fmla="*/ 0 h 178"/>
              <a:gd name="T12" fmla="*/ 15507383 w 446"/>
              <a:gd name="T13" fmla="*/ 2768817 h 178"/>
              <a:gd name="T14" fmla="*/ 19703509 w 446"/>
              <a:gd name="T15" fmla="*/ 10797966 h 178"/>
              <a:gd name="T16" fmla="*/ 22804900 w 446"/>
              <a:gd name="T17" fmla="*/ 17166456 h 178"/>
              <a:gd name="T18" fmla="*/ 25359138 w 446"/>
              <a:gd name="T19" fmla="*/ 18550864 h 178"/>
              <a:gd name="T20" fmla="*/ 28642914 w 446"/>
              <a:gd name="T21" fmla="*/ 17443232 h 178"/>
              <a:gd name="T22" fmla="*/ 33021851 w 446"/>
              <a:gd name="T23" fmla="*/ 12459677 h 178"/>
              <a:gd name="T24" fmla="*/ 37400361 w 446"/>
              <a:gd name="T25" fmla="*/ 6367964 h 178"/>
              <a:gd name="T26" fmla="*/ 40136983 w 446"/>
              <a:gd name="T27" fmla="*/ 8583228 h 178"/>
              <a:gd name="T28" fmla="*/ 65496121 w 446"/>
              <a:gd name="T29" fmla="*/ 3045594 h 178"/>
              <a:gd name="T30" fmla="*/ 68597512 w 446"/>
              <a:gd name="T31" fmla="*/ 6367964 h 178"/>
              <a:gd name="T32" fmla="*/ 72246057 w 446"/>
              <a:gd name="T33" fmla="*/ 6091187 h 178"/>
              <a:gd name="T34" fmla="*/ 75347876 w 446"/>
              <a:gd name="T35" fmla="*/ 10244413 h 178"/>
              <a:gd name="T36" fmla="*/ 75712645 w 446"/>
              <a:gd name="T37" fmla="*/ 11905598 h 178"/>
              <a:gd name="T38" fmla="*/ 78266882 w 446"/>
              <a:gd name="T39" fmla="*/ 14951191 h 178"/>
              <a:gd name="T40" fmla="*/ 80821120 w 446"/>
              <a:gd name="T41" fmla="*/ 18827641 h 178"/>
              <a:gd name="T42" fmla="*/ 81368274 w 446"/>
              <a:gd name="T43" fmla="*/ 22150011 h 178"/>
              <a:gd name="T44" fmla="*/ 79908770 w 446"/>
              <a:gd name="T45" fmla="*/ 26580013 h 178"/>
              <a:gd name="T46" fmla="*/ 75347876 w 446"/>
              <a:gd name="T47" fmla="*/ 30733238 h 178"/>
              <a:gd name="T48" fmla="*/ 72428869 w 446"/>
              <a:gd name="T49" fmla="*/ 33225279 h 178"/>
              <a:gd name="T50" fmla="*/ 66773240 w 446"/>
              <a:gd name="T51" fmla="*/ 34055608 h 178"/>
              <a:gd name="T52" fmla="*/ 54732017 w 446"/>
              <a:gd name="T53" fmla="*/ 40424098 h 178"/>
              <a:gd name="T54" fmla="*/ 42690794 w 446"/>
              <a:gd name="T55" fmla="*/ 47346141 h 178"/>
              <a:gd name="T56" fmla="*/ 36305627 w 446"/>
              <a:gd name="T57" fmla="*/ 49284102 h 178"/>
              <a:gd name="T58" fmla="*/ 32291886 w 446"/>
              <a:gd name="T59" fmla="*/ 48176470 h 178"/>
              <a:gd name="T60" fmla="*/ 31379536 w 446"/>
              <a:gd name="T61" fmla="*/ 45407653 h 178"/>
              <a:gd name="T62" fmla="*/ 31014767 w 446"/>
              <a:gd name="T63" fmla="*/ 44577324 h 178"/>
              <a:gd name="T64" fmla="*/ 28460529 w 446"/>
              <a:gd name="T65" fmla="*/ 44577324 h 178"/>
              <a:gd name="T66" fmla="*/ 25359138 w 446"/>
              <a:gd name="T67" fmla="*/ 44300547 h 178"/>
              <a:gd name="T68" fmla="*/ 18244006 w 446"/>
              <a:gd name="T69" fmla="*/ 40700875 h 178"/>
              <a:gd name="T70" fmla="*/ 15507383 w 446"/>
              <a:gd name="T71" fmla="*/ 37932058 h 178"/>
              <a:gd name="T72" fmla="*/ 14777845 w 446"/>
              <a:gd name="T73" fmla="*/ 34609688 h 178"/>
              <a:gd name="T74" fmla="*/ 15872152 w 446"/>
              <a:gd name="T75" fmla="*/ 30733238 h 178"/>
              <a:gd name="T76" fmla="*/ 4926091 w 446"/>
              <a:gd name="T77" fmla="*/ 28518500 h 178"/>
              <a:gd name="T78" fmla="*/ 1641888 w 446"/>
              <a:gd name="T79" fmla="*/ 29072053 h 178"/>
              <a:gd name="T80" fmla="*/ 0 w 446"/>
              <a:gd name="T81" fmla="*/ 22150011 h 178"/>
              <a:gd name="T82" fmla="*/ 10946489 w 446"/>
              <a:gd name="T83" fmla="*/ 23811196 h 178"/>
              <a:gd name="T84" fmla="*/ 15872152 w 446"/>
              <a:gd name="T85" fmla="*/ 22150011 h 178"/>
              <a:gd name="T86" fmla="*/ 4196126 w 446"/>
              <a:gd name="T87" fmla="*/ 18827641 h 178"/>
              <a:gd name="T88" fmla="*/ 2919007 w 446"/>
              <a:gd name="T89" fmla="*/ 15228494 h 178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0" t="0" r="r" b="b"/>
            <a:pathLst>
              <a:path w="446" h="178">
                <a:moveTo>
                  <a:pt x="27" y="43"/>
                </a:moveTo>
                <a:lnTo>
                  <a:pt x="31" y="52"/>
                </a:lnTo>
                <a:lnTo>
                  <a:pt x="34" y="61"/>
                </a:lnTo>
                <a:lnTo>
                  <a:pt x="37" y="53"/>
                </a:lnTo>
                <a:lnTo>
                  <a:pt x="40" y="47"/>
                </a:lnTo>
                <a:lnTo>
                  <a:pt x="41" y="42"/>
                </a:lnTo>
                <a:lnTo>
                  <a:pt x="41" y="37"/>
                </a:lnTo>
                <a:lnTo>
                  <a:pt x="55" y="37"/>
                </a:lnTo>
                <a:lnTo>
                  <a:pt x="68" y="37"/>
                </a:lnTo>
                <a:lnTo>
                  <a:pt x="77" y="37"/>
                </a:lnTo>
                <a:lnTo>
                  <a:pt x="80" y="37"/>
                </a:lnTo>
                <a:lnTo>
                  <a:pt x="80" y="18"/>
                </a:lnTo>
                <a:lnTo>
                  <a:pt x="78" y="17"/>
                </a:lnTo>
                <a:lnTo>
                  <a:pt x="75" y="16"/>
                </a:lnTo>
                <a:lnTo>
                  <a:pt x="72" y="14"/>
                </a:lnTo>
                <a:lnTo>
                  <a:pt x="70" y="11"/>
                </a:lnTo>
                <a:lnTo>
                  <a:pt x="65" y="5"/>
                </a:lnTo>
                <a:lnTo>
                  <a:pt x="60" y="0"/>
                </a:lnTo>
                <a:lnTo>
                  <a:pt x="69" y="3"/>
                </a:lnTo>
                <a:lnTo>
                  <a:pt x="78" y="6"/>
                </a:lnTo>
                <a:lnTo>
                  <a:pt x="85" y="10"/>
                </a:lnTo>
                <a:lnTo>
                  <a:pt x="90" y="15"/>
                </a:lnTo>
                <a:lnTo>
                  <a:pt x="100" y="27"/>
                </a:lnTo>
                <a:lnTo>
                  <a:pt x="108" y="39"/>
                </a:lnTo>
                <a:lnTo>
                  <a:pt x="114" y="49"/>
                </a:lnTo>
                <a:lnTo>
                  <a:pt x="121" y="59"/>
                </a:lnTo>
                <a:lnTo>
                  <a:pt x="125" y="62"/>
                </a:lnTo>
                <a:lnTo>
                  <a:pt x="130" y="65"/>
                </a:lnTo>
                <a:lnTo>
                  <a:pt x="134" y="67"/>
                </a:lnTo>
                <a:lnTo>
                  <a:pt x="139" y="67"/>
                </a:lnTo>
                <a:lnTo>
                  <a:pt x="146" y="67"/>
                </a:lnTo>
                <a:lnTo>
                  <a:pt x="152" y="66"/>
                </a:lnTo>
                <a:lnTo>
                  <a:pt x="157" y="63"/>
                </a:lnTo>
                <a:lnTo>
                  <a:pt x="163" y="61"/>
                </a:lnTo>
                <a:lnTo>
                  <a:pt x="172" y="54"/>
                </a:lnTo>
                <a:lnTo>
                  <a:pt x="181" y="45"/>
                </a:lnTo>
                <a:lnTo>
                  <a:pt x="190" y="37"/>
                </a:lnTo>
                <a:lnTo>
                  <a:pt x="198" y="29"/>
                </a:lnTo>
                <a:lnTo>
                  <a:pt x="205" y="23"/>
                </a:lnTo>
                <a:lnTo>
                  <a:pt x="213" y="18"/>
                </a:lnTo>
                <a:lnTo>
                  <a:pt x="216" y="25"/>
                </a:lnTo>
                <a:lnTo>
                  <a:pt x="220" y="31"/>
                </a:lnTo>
                <a:lnTo>
                  <a:pt x="293" y="31"/>
                </a:lnTo>
                <a:lnTo>
                  <a:pt x="352" y="6"/>
                </a:lnTo>
                <a:lnTo>
                  <a:pt x="359" y="11"/>
                </a:lnTo>
                <a:lnTo>
                  <a:pt x="367" y="17"/>
                </a:lnTo>
                <a:lnTo>
                  <a:pt x="371" y="21"/>
                </a:lnTo>
                <a:lnTo>
                  <a:pt x="376" y="23"/>
                </a:lnTo>
                <a:lnTo>
                  <a:pt x="381" y="24"/>
                </a:lnTo>
                <a:lnTo>
                  <a:pt x="385" y="25"/>
                </a:lnTo>
                <a:lnTo>
                  <a:pt x="396" y="22"/>
                </a:lnTo>
                <a:lnTo>
                  <a:pt x="413" y="18"/>
                </a:lnTo>
                <a:lnTo>
                  <a:pt x="413" y="28"/>
                </a:lnTo>
                <a:lnTo>
                  <a:pt x="413" y="37"/>
                </a:lnTo>
                <a:lnTo>
                  <a:pt x="413" y="39"/>
                </a:lnTo>
                <a:lnTo>
                  <a:pt x="414" y="41"/>
                </a:lnTo>
                <a:lnTo>
                  <a:pt x="415" y="43"/>
                </a:lnTo>
                <a:lnTo>
                  <a:pt x="417" y="45"/>
                </a:lnTo>
                <a:lnTo>
                  <a:pt x="423" y="49"/>
                </a:lnTo>
                <a:lnTo>
                  <a:pt x="429" y="54"/>
                </a:lnTo>
                <a:lnTo>
                  <a:pt x="435" y="59"/>
                </a:lnTo>
                <a:lnTo>
                  <a:pt x="440" y="64"/>
                </a:lnTo>
                <a:lnTo>
                  <a:pt x="443" y="68"/>
                </a:lnTo>
                <a:lnTo>
                  <a:pt x="444" y="71"/>
                </a:lnTo>
                <a:lnTo>
                  <a:pt x="445" y="76"/>
                </a:lnTo>
                <a:lnTo>
                  <a:pt x="446" y="80"/>
                </a:lnTo>
                <a:lnTo>
                  <a:pt x="445" y="87"/>
                </a:lnTo>
                <a:lnTo>
                  <a:pt x="443" y="92"/>
                </a:lnTo>
                <a:lnTo>
                  <a:pt x="438" y="96"/>
                </a:lnTo>
                <a:lnTo>
                  <a:pt x="434" y="100"/>
                </a:lnTo>
                <a:lnTo>
                  <a:pt x="423" y="106"/>
                </a:lnTo>
                <a:lnTo>
                  <a:pt x="413" y="111"/>
                </a:lnTo>
                <a:lnTo>
                  <a:pt x="407" y="115"/>
                </a:lnTo>
                <a:lnTo>
                  <a:pt x="402" y="118"/>
                </a:lnTo>
                <a:lnTo>
                  <a:pt x="397" y="120"/>
                </a:lnTo>
                <a:lnTo>
                  <a:pt x="392" y="121"/>
                </a:lnTo>
                <a:lnTo>
                  <a:pt x="380" y="123"/>
                </a:lnTo>
                <a:lnTo>
                  <a:pt x="366" y="123"/>
                </a:lnTo>
                <a:lnTo>
                  <a:pt x="344" y="129"/>
                </a:lnTo>
                <a:lnTo>
                  <a:pt x="322" y="137"/>
                </a:lnTo>
                <a:lnTo>
                  <a:pt x="300" y="146"/>
                </a:lnTo>
                <a:lnTo>
                  <a:pt x="279" y="156"/>
                </a:lnTo>
                <a:lnTo>
                  <a:pt x="257" y="164"/>
                </a:lnTo>
                <a:lnTo>
                  <a:pt x="234" y="171"/>
                </a:lnTo>
                <a:lnTo>
                  <a:pt x="223" y="174"/>
                </a:lnTo>
                <a:lnTo>
                  <a:pt x="211" y="176"/>
                </a:lnTo>
                <a:lnTo>
                  <a:pt x="199" y="178"/>
                </a:lnTo>
                <a:lnTo>
                  <a:pt x="187" y="178"/>
                </a:lnTo>
                <a:lnTo>
                  <a:pt x="181" y="177"/>
                </a:lnTo>
                <a:lnTo>
                  <a:pt x="177" y="174"/>
                </a:lnTo>
                <a:lnTo>
                  <a:pt x="175" y="171"/>
                </a:lnTo>
                <a:lnTo>
                  <a:pt x="173" y="166"/>
                </a:lnTo>
                <a:lnTo>
                  <a:pt x="172" y="164"/>
                </a:lnTo>
                <a:lnTo>
                  <a:pt x="172" y="163"/>
                </a:lnTo>
                <a:lnTo>
                  <a:pt x="171" y="162"/>
                </a:lnTo>
                <a:lnTo>
                  <a:pt x="170" y="161"/>
                </a:lnTo>
                <a:lnTo>
                  <a:pt x="166" y="161"/>
                </a:lnTo>
                <a:lnTo>
                  <a:pt x="161" y="161"/>
                </a:lnTo>
                <a:lnTo>
                  <a:pt x="156" y="161"/>
                </a:lnTo>
                <a:lnTo>
                  <a:pt x="150" y="162"/>
                </a:lnTo>
                <a:lnTo>
                  <a:pt x="145" y="162"/>
                </a:lnTo>
                <a:lnTo>
                  <a:pt x="139" y="160"/>
                </a:lnTo>
                <a:lnTo>
                  <a:pt x="125" y="156"/>
                </a:lnTo>
                <a:lnTo>
                  <a:pt x="112" y="152"/>
                </a:lnTo>
                <a:lnTo>
                  <a:pt x="100" y="147"/>
                </a:lnTo>
                <a:lnTo>
                  <a:pt x="91" y="143"/>
                </a:lnTo>
                <a:lnTo>
                  <a:pt x="87" y="140"/>
                </a:lnTo>
                <a:lnTo>
                  <a:pt x="85" y="137"/>
                </a:lnTo>
                <a:lnTo>
                  <a:pt x="82" y="134"/>
                </a:lnTo>
                <a:lnTo>
                  <a:pt x="81" y="129"/>
                </a:lnTo>
                <a:lnTo>
                  <a:pt x="81" y="125"/>
                </a:lnTo>
                <a:lnTo>
                  <a:pt x="81" y="121"/>
                </a:lnTo>
                <a:lnTo>
                  <a:pt x="83" y="116"/>
                </a:lnTo>
                <a:lnTo>
                  <a:pt x="87" y="111"/>
                </a:lnTo>
                <a:lnTo>
                  <a:pt x="63" y="108"/>
                </a:lnTo>
                <a:lnTo>
                  <a:pt x="38" y="104"/>
                </a:lnTo>
                <a:lnTo>
                  <a:pt x="27" y="103"/>
                </a:lnTo>
                <a:lnTo>
                  <a:pt x="18" y="103"/>
                </a:lnTo>
                <a:lnTo>
                  <a:pt x="13" y="104"/>
                </a:lnTo>
                <a:lnTo>
                  <a:pt x="9" y="105"/>
                </a:lnTo>
                <a:lnTo>
                  <a:pt x="4" y="108"/>
                </a:lnTo>
                <a:lnTo>
                  <a:pt x="0" y="111"/>
                </a:lnTo>
                <a:lnTo>
                  <a:pt x="0" y="80"/>
                </a:lnTo>
                <a:lnTo>
                  <a:pt x="30" y="82"/>
                </a:lnTo>
                <a:lnTo>
                  <a:pt x="51" y="85"/>
                </a:lnTo>
                <a:lnTo>
                  <a:pt x="60" y="86"/>
                </a:lnTo>
                <a:lnTo>
                  <a:pt x="68" y="86"/>
                </a:lnTo>
                <a:lnTo>
                  <a:pt x="77" y="84"/>
                </a:lnTo>
                <a:lnTo>
                  <a:pt x="87" y="80"/>
                </a:lnTo>
                <a:lnTo>
                  <a:pt x="64" y="76"/>
                </a:lnTo>
                <a:lnTo>
                  <a:pt x="44" y="71"/>
                </a:lnTo>
                <a:lnTo>
                  <a:pt x="23" y="68"/>
                </a:lnTo>
                <a:lnTo>
                  <a:pt x="0" y="67"/>
                </a:lnTo>
                <a:lnTo>
                  <a:pt x="9" y="62"/>
                </a:lnTo>
                <a:lnTo>
                  <a:pt x="16" y="55"/>
                </a:lnTo>
                <a:lnTo>
                  <a:pt x="22" y="49"/>
                </a:lnTo>
                <a:lnTo>
                  <a:pt x="27" y="4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 dirty="0"/>
          </a:p>
        </p:txBody>
      </p:sp>
      <p:sp>
        <p:nvSpPr>
          <p:cNvPr id="52" name="Freeform 242"/>
          <p:cNvSpPr>
            <a:spLocks/>
          </p:cNvSpPr>
          <p:nvPr>
            <p:custDataLst>
              <p:tags r:id="rId32"/>
            </p:custDataLst>
          </p:nvPr>
        </p:nvSpPr>
        <p:spPr bwMode="auto">
          <a:xfrm>
            <a:off x="1441254" y="3505218"/>
            <a:ext cx="17717" cy="77953"/>
          </a:xfrm>
          <a:custGeom>
            <a:avLst/>
            <a:gdLst>
              <a:gd name="T0" fmla="*/ 0 w 28"/>
              <a:gd name="T1" fmla="*/ 44741404 h 73"/>
              <a:gd name="T2" fmla="*/ 521002 w 28"/>
              <a:gd name="T3" fmla="*/ 28805949 h 73"/>
              <a:gd name="T4" fmla="*/ 1562495 w 28"/>
              <a:gd name="T5" fmla="*/ 17161440 h 73"/>
              <a:gd name="T6" fmla="*/ 1822741 w 28"/>
              <a:gd name="T7" fmla="*/ 12258284 h 73"/>
              <a:gd name="T8" fmla="*/ 1562495 w 28"/>
              <a:gd name="T9" fmla="*/ 7967336 h 73"/>
              <a:gd name="T10" fmla="*/ 1041493 w 28"/>
              <a:gd name="T11" fmla="*/ 4290164 h 73"/>
              <a:gd name="T12" fmla="*/ 0 w 28"/>
              <a:gd name="T13" fmla="*/ 0 h 73"/>
              <a:gd name="T14" fmla="*/ 7290962 w 28"/>
              <a:gd name="T15" fmla="*/ 0 h 73"/>
              <a:gd name="T16" fmla="*/ 5728467 w 28"/>
              <a:gd name="T17" fmla="*/ 9806314 h 73"/>
              <a:gd name="T18" fmla="*/ 4426729 w 28"/>
              <a:gd name="T19" fmla="*/ 18386642 h 73"/>
              <a:gd name="T20" fmla="*/ 3124479 w 28"/>
              <a:gd name="T21" fmla="*/ 26354762 h 73"/>
              <a:gd name="T22" fmla="*/ 1822741 w 28"/>
              <a:gd name="T23" fmla="*/ 33709105 h 73"/>
              <a:gd name="T24" fmla="*/ 0 w 28"/>
              <a:gd name="T25" fmla="*/ 44741404 h 73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8" h="73">
                <a:moveTo>
                  <a:pt x="0" y="73"/>
                </a:moveTo>
                <a:lnTo>
                  <a:pt x="2" y="47"/>
                </a:lnTo>
                <a:lnTo>
                  <a:pt x="6" y="28"/>
                </a:lnTo>
                <a:lnTo>
                  <a:pt x="7" y="20"/>
                </a:lnTo>
                <a:lnTo>
                  <a:pt x="6" y="13"/>
                </a:lnTo>
                <a:lnTo>
                  <a:pt x="4" y="7"/>
                </a:lnTo>
                <a:lnTo>
                  <a:pt x="0" y="0"/>
                </a:lnTo>
                <a:lnTo>
                  <a:pt x="28" y="0"/>
                </a:lnTo>
                <a:lnTo>
                  <a:pt x="22" y="16"/>
                </a:lnTo>
                <a:lnTo>
                  <a:pt x="17" y="30"/>
                </a:lnTo>
                <a:lnTo>
                  <a:pt x="12" y="43"/>
                </a:lnTo>
                <a:lnTo>
                  <a:pt x="7" y="55"/>
                </a:lnTo>
                <a:lnTo>
                  <a:pt x="0" y="73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fr-FR" dirty="0"/>
          </a:p>
        </p:txBody>
      </p:sp>
      <p:sp>
        <p:nvSpPr>
          <p:cNvPr id="53" name="Freeform 243"/>
          <p:cNvSpPr>
            <a:spLocks/>
          </p:cNvSpPr>
          <p:nvPr>
            <p:custDataLst>
              <p:tags r:id="rId33"/>
            </p:custDataLst>
          </p:nvPr>
        </p:nvSpPr>
        <p:spPr bwMode="auto">
          <a:xfrm>
            <a:off x="1301491" y="3046164"/>
            <a:ext cx="291338" cy="539171"/>
          </a:xfrm>
          <a:custGeom>
            <a:avLst/>
            <a:gdLst>
              <a:gd name="T0" fmla="*/ 82030735 w 531"/>
              <a:gd name="T1" fmla="*/ 55351668 h 757"/>
              <a:gd name="T2" fmla="*/ 79485665 w 531"/>
              <a:gd name="T3" fmla="*/ 60259597 h 757"/>
              <a:gd name="T4" fmla="*/ 79094081 w 531"/>
              <a:gd name="T5" fmla="*/ 64622375 h 757"/>
              <a:gd name="T6" fmla="*/ 74786665 w 531"/>
              <a:gd name="T7" fmla="*/ 74983385 h 757"/>
              <a:gd name="T8" fmla="*/ 63627646 w 531"/>
              <a:gd name="T9" fmla="*/ 83436365 h 757"/>
              <a:gd name="T10" fmla="*/ 49335960 w 531"/>
              <a:gd name="T11" fmla="*/ 96524177 h 757"/>
              <a:gd name="T12" fmla="*/ 46399306 w 531"/>
              <a:gd name="T13" fmla="*/ 100614379 h 757"/>
              <a:gd name="T14" fmla="*/ 47965197 w 531"/>
              <a:gd name="T15" fmla="*/ 103886332 h 757"/>
              <a:gd name="T16" fmla="*/ 46986460 w 531"/>
              <a:gd name="T17" fmla="*/ 115610743 h 757"/>
              <a:gd name="T18" fmla="*/ 46790890 w 531"/>
              <a:gd name="T19" fmla="*/ 122427747 h 757"/>
              <a:gd name="T20" fmla="*/ 51293434 w 531"/>
              <a:gd name="T21" fmla="*/ 127608252 h 757"/>
              <a:gd name="T22" fmla="*/ 62648466 w 531"/>
              <a:gd name="T23" fmla="*/ 132243605 h 757"/>
              <a:gd name="T24" fmla="*/ 64997966 w 531"/>
              <a:gd name="T25" fmla="*/ 137697208 h 757"/>
              <a:gd name="T26" fmla="*/ 60690992 w 531"/>
              <a:gd name="T27" fmla="*/ 144786265 h 757"/>
              <a:gd name="T28" fmla="*/ 53251351 w 531"/>
              <a:gd name="T29" fmla="*/ 149149043 h 757"/>
              <a:gd name="T30" fmla="*/ 51881031 w 531"/>
              <a:gd name="T31" fmla="*/ 152693572 h 757"/>
              <a:gd name="T32" fmla="*/ 49335960 w 531"/>
              <a:gd name="T33" fmla="*/ 172053236 h 757"/>
              <a:gd name="T34" fmla="*/ 46790890 w 531"/>
              <a:gd name="T35" fmla="*/ 196593405 h 757"/>
              <a:gd name="T36" fmla="*/ 33869525 w 531"/>
              <a:gd name="T37" fmla="*/ 198229381 h 757"/>
              <a:gd name="T38" fmla="*/ 29758121 w 531"/>
              <a:gd name="T39" fmla="*/ 201228758 h 757"/>
              <a:gd name="T40" fmla="*/ 29953691 w 531"/>
              <a:gd name="T41" fmla="*/ 206409263 h 757"/>
              <a:gd name="T42" fmla="*/ 20752589 w 531"/>
              <a:gd name="T43" fmla="*/ 206409263 h 757"/>
              <a:gd name="T44" fmla="*/ 18598660 w 531"/>
              <a:gd name="T45" fmla="*/ 205045863 h 757"/>
              <a:gd name="T46" fmla="*/ 13900102 w 531"/>
              <a:gd name="T47" fmla="*/ 195775155 h 757"/>
              <a:gd name="T48" fmla="*/ 8026795 w 531"/>
              <a:gd name="T49" fmla="*/ 174506939 h 757"/>
              <a:gd name="T50" fmla="*/ 6656474 w 531"/>
              <a:gd name="T51" fmla="*/ 162782529 h 757"/>
              <a:gd name="T52" fmla="*/ 2741083 w 531"/>
              <a:gd name="T53" fmla="*/ 159783151 h 757"/>
              <a:gd name="T54" fmla="*/ 3719820 w 531"/>
              <a:gd name="T55" fmla="*/ 152966670 h 757"/>
              <a:gd name="T56" fmla="*/ 7048058 w 531"/>
              <a:gd name="T57" fmla="*/ 146695340 h 757"/>
              <a:gd name="T58" fmla="*/ 10376295 w 531"/>
              <a:gd name="T59" fmla="*/ 137424632 h 757"/>
              <a:gd name="T60" fmla="*/ 11942185 w 531"/>
              <a:gd name="T61" fmla="*/ 128426501 h 757"/>
              <a:gd name="T62" fmla="*/ 12529782 w 531"/>
              <a:gd name="T63" fmla="*/ 120246097 h 757"/>
              <a:gd name="T64" fmla="*/ 11355032 w 531"/>
              <a:gd name="T65" fmla="*/ 111248487 h 757"/>
              <a:gd name="T66" fmla="*/ 8418378 w 531"/>
              <a:gd name="T67" fmla="*/ 102795507 h 757"/>
              <a:gd name="T68" fmla="*/ 14487698 w 531"/>
              <a:gd name="T69" fmla="*/ 75255961 h 757"/>
              <a:gd name="T70" fmla="*/ 20164993 w 531"/>
              <a:gd name="T71" fmla="*/ 74983385 h 757"/>
              <a:gd name="T72" fmla="*/ 22122910 w 531"/>
              <a:gd name="T73" fmla="*/ 63804126 h 757"/>
              <a:gd name="T74" fmla="*/ 26821467 w 531"/>
              <a:gd name="T75" fmla="*/ 52352291 h 757"/>
              <a:gd name="T76" fmla="*/ 35239845 w 531"/>
              <a:gd name="T77" fmla="*/ 39536533 h 757"/>
              <a:gd name="T78" fmla="*/ 38763653 w 531"/>
              <a:gd name="T79" fmla="*/ 30266348 h 757"/>
              <a:gd name="T80" fmla="*/ 44636960 w 531"/>
              <a:gd name="T81" fmla="*/ 16360287 h 757"/>
              <a:gd name="T82" fmla="*/ 48748364 w 531"/>
              <a:gd name="T83" fmla="*/ 11724933 h 757"/>
              <a:gd name="T84" fmla="*/ 60494979 w 531"/>
              <a:gd name="T85" fmla="*/ 7907307 h 757"/>
              <a:gd name="T86" fmla="*/ 72046024 w 531"/>
              <a:gd name="T87" fmla="*/ 3544529 h 757"/>
              <a:gd name="T88" fmla="*/ 78506485 w 531"/>
              <a:gd name="T89" fmla="*/ 1363401 h 757"/>
              <a:gd name="T90" fmla="*/ 84379793 w 531"/>
              <a:gd name="T91" fmla="*/ 8725556 h 757"/>
              <a:gd name="T92" fmla="*/ 89469933 w 531"/>
              <a:gd name="T93" fmla="*/ 11451835 h 757"/>
              <a:gd name="T94" fmla="*/ 100433824 w 531"/>
              <a:gd name="T95" fmla="*/ 30266348 h 757"/>
              <a:gd name="T96" fmla="*/ 103370478 w 531"/>
              <a:gd name="T97" fmla="*/ 40899933 h 757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0" t="0" r="r" b="b"/>
            <a:pathLst>
              <a:path w="531" h="757">
                <a:moveTo>
                  <a:pt x="531" y="190"/>
                </a:moveTo>
                <a:lnTo>
                  <a:pt x="432" y="190"/>
                </a:lnTo>
                <a:lnTo>
                  <a:pt x="428" y="194"/>
                </a:lnTo>
                <a:lnTo>
                  <a:pt x="419" y="203"/>
                </a:lnTo>
                <a:lnTo>
                  <a:pt x="413" y="208"/>
                </a:lnTo>
                <a:lnTo>
                  <a:pt x="409" y="213"/>
                </a:lnTo>
                <a:lnTo>
                  <a:pt x="407" y="218"/>
                </a:lnTo>
                <a:lnTo>
                  <a:pt x="406" y="221"/>
                </a:lnTo>
                <a:lnTo>
                  <a:pt x="404" y="226"/>
                </a:lnTo>
                <a:lnTo>
                  <a:pt x="403" y="230"/>
                </a:lnTo>
                <a:lnTo>
                  <a:pt x="403" y="233"/>
                </a:lnTo>
                <a:lnTo>
                  <a:pt x="404" y="237"/>
                </a:lnTo>
                <a:lnTo>
                  <a:pt x="407" y="244"/>
                </a:lnTo>
                <a:lnTo>
                  <a:pt x="412" y="252"/>
                </a:lnTo>
                <a:lnTo>
                  <a:pt x="397" y="264"/>
                </a:lnTo>
                <a:lnTo>
                  <a:pt x="382" y="275"/>
                </a:lnTo>
                <a:lnTo>
                  <a:pt x="367" y="284"/>
                </a:lnTo>
                <a:lnTo>
                  <a:pt x="353" y="291"/>
                </a:lnTo>
                <a:lnTo>
                  <a:pt x="339" y="299"/>
                </a:lnTo>
                <a:lnTo>
                  <a:pt x="325" y="306"/>
                </a:lnTo>
                <a:lnTo>
                  <a:pt x="311" y="315"/>
                </a:lnTo>
                <a:lnTo>
                  <a:pt x="299" y="325"/>
                </a:lnTo>
                <a:lnTo>
                  <a:pt x="277" y="338"/>
                </a:lnTo>
                <a:lnTo>
                  <a:pt x="252" y="354"/>
                </a:lnTo>
                <a:lnTo>
                  <a:pt x="248" y="358"/>
                </a:lnTo>
                <a:lnTo>
                  <a:pt x="242" y="361"/>
                </a:lnTo>
                <a:lnTo>
                  <a:pt x="239" y="365"/>
                </a:lnTo>
                <a:lnTo>
                  <a:pt x="237" y="369"/>
                </a:lnTo>
                <a:lnTo>
                  <a:pt x="237" y="372"/>
                </a:lnTo>
                <a:lnTo>
                  <a:pt x="238" y="375"/>
                </a:lnTo>
                <a:lnTo>
                  <a:pt x="241" y="378"/>
                </a:lnTo>
                <a:lnTo>
                  <a:pt x="245" y="381"/>
                </a:lnTo>
                <a:lnTo>
                  <a:pt x="245" y="391"/>
                </a:lnTo>
                <a:lnTo>
                  <a:pt x="245" y="400"/>
                </a:lnTo>
                <a:lnTo>
                  <a:pt x="243" y="413"/>
                </a:lnTo>
                <a:lnTo>
                  <a:pt x="240" y="424"/>
                </a:lnTo>
                <a:lnTo>
                  <a:pt x="238" y="430"/>
                </a:lnTo>
                <a:lnTo>
                  <a:pt x="238" y="436"/>
                </a:lnTo>
                <a:lnTo>
                  <a:pt x="238" y="443"/>
                </a:lnTo>
                <a:lnTo>
                  <a:pt x="239" y="449"/>
                </a:lnTo>
                <a:lnTo>
                  <a:pt x="243" y="456"/>
                </a:lnTo>
                <a:lnTo>
                  <a:pt x="249" y="461"/>
                </a:lnTo>
                <a:lnTo>
                  <a:pt x="255" y="465"/>
                </a:lnTo>
                <a:lnTo>
                  <a:pt x="262" y="468"/>
                </a:lnTo>
                <a:lnTo>
                  <a:pt x="277" y="473"/>
                </a:lnTo>
                <a:lnTo>
                  <a:pt x="293" y="477"/>
                </a:lnTo>
                <a:lnTo>
                  <a:pt x="308" y="480"/>
                </a:lnTo>
                <a:lnTo>
                  <a:pt x="320" y="485"/>
                </a:lnTo>
                <a:lnTo>
                  <a:pt x="326" y="488"/>
                </a:lnTo>
                <a:lnTo>
                  <a:pt x="329" y="492"/>
                </a:lnTo>
                <a:lnTo>
                  <a:pt x="331" y="499"/>
                </a:lnTo>
                <a:lnTo>
                  <a:pt x="332" y="505"/>
                </a:lnTo>
                <a:lnTo>
                  <a:pt x="332" y="517"/>
                </a:lnTo>
                <a:lnTo>
                  <a:pt x="332" y="529"/>
                </a:lnTo>
                <a:lnTo>
                  <a:pt x="321" y="530"/>
                </a:lnTo>
                <a:lnTo>
                  <a:pt x="310" y="531"/>
                </a:lnTo>
                <a:lnTo>
                  <a:pt x="299" y="534"/>
                </a:lnTo>
                <a:lnTo>
                  <a:pt x="289" y="537"/>
                </a:lnTo>
                <a:lnTo>
                  <a:pt x="280" y="542"/>
                </a:lnTo>
                <a:lnTo>
                  <a:pt x="272" y="547"/>
                </a:lnTo>
                <a:lnTo>
                  <a:pt x="270" y="551"/>
                </a:lnTo>
                <a:lnTo>
                  <a:pt x="267" y="554"/>
                </a:lnTo>
                <a:lnTo>
                  <a:pt x="266" y="557"/>
                </a:lnTo>
                <a:lnTo>
                  <a:pt x="265" y="560"/>
                </a:lnTo>
                <a:lnTo>
                  <a:pt x="264" y="576"/>
                </a:lnTo>
                <a:lnTo>
                  <a:pt x="262" y="593"/>
                </a:lnTo>
                <a:lnTo>
                  <a:pt x="258" y="612"/>
                </a:lnTo>
                <a:lnTo>
                  <a:pt x="252" y="631"/>
                </a:lnTo>
                <a:lnTo>
                  <a:pt x="248" y="651"/>
                </a:lnTo>
                <a:lnTo>
                  <a:pt x="243" y="673"/>
                </a:lnTo>
                <a:lnTo>
                  <a:pt x="240" y="695"/>
                </a:lnTo>
                <a:lnTo>
                  <a:pt x="239" y="721"/>
                </a:lnTo>
                <a:lnTo>
                  <a:pt x="224" y="721"/>
                </a:lnTo>
                <a:lnTo>
                  <a:pt x="206" y="722"/>
                </a:lnTo>
                <a:lnTo>
                  <a:pt x="189" y="724"/>
                </a:lnTo>
                <a:lnTo>
                  <a:pt x="173" y="727"/>
                </a:lnTo>
                <a:lnTo>
                  <a:pt x="166" y="730"/>
                </a:lnTo>
                <a:lnTo>
                  <a:pt x="161" y="732"/>
                </a:lnTo>
                <a:lnTo>
                  <a:pt x="155" y="735"/>
                </a:lnTo>
                <a:lnTo>
                  <a:pt x="152" y="738"/>
                </a:lnTo>
                <a:lnTo>
                  <a:pt x="150" y="742"/>
                </a:lnTo>
                <a:lnTo>
                  <a:pt x="149" y="747"/>
                </a:lnTo>
                <a:lnTo>
                  <a:pt x="150" y="751"/>
                </a:lnTo>
                <a:lnTo>
                  <a:pt x="153" y="757"/>
                </a:lnTo>
                <a:lnTo>
                  <a:pt x="142" y="757"/>
                </a:lnTo>
                <a:lnTo>
                  <a:pt x="127" y="757"/>
                </a:lnTo>
                <a:lnTo>
                  <a:pt x="113" y="757"/>
                </a:lnTo>
                <a:lnTo>
                  <a:pt x="106" y="757"/>
                </a:lnTo>
                <a:lnTo>
                  <a:pt x="104" y="757"/>
                </a:lnTo>
                <a:lnTo>
                  <a:pt x="101" y="756"/>
                </a:lnTo>
                <a:lnTo>
                  <a:pt x="98" y="754"/>
                </a:lnTo>
                <a:lnTo>
                  <a:pt x="95" y="752"/>
                </a:lnTo>
                <a:lnTo>
                  <a:pt x="90" y="746"/>
                </a:lnTo>
                <a:lnTo>
                  <a:pt x="84" y="738"/>
                </a:lnTo>
                <a:lnTo>
                  <a:pt x="77" y="729"/>
                </a:lnTo>
                <a:lnTo>
                  <a:pt x="71" y="718"/>
                </a:lnTo>
                <a:lnTo>
                  <a:pt x="65" y="706"/>
                </a:lnTo>
                <a:lnTo>
                  <a:pt x="60" y="693"/>
                </a:lnTo>
                <a:lnTo>
                  <a:pt x="49" y="667"/>
                </a:lnTo>
                <a:lnTo>
                  <a:pt x="41" y="640"/>
                </a:lnTo>
                <a:lnTo>
                  <a:pt x="38" y="628"/>
                </a:lnTo>
                <a:lnTo>
                  <a:pt x="35" y="616"/>
                </a:lnTo>
                <a:lnTo>
                  <a:pt x="34" y="606"/>
                </a:lnTo>
                <a:lnTo>
                  <a:pt x="34" y="597"/>
                </a:lnTo>
                <a:lnTo>
                  <a:pt x="27" y="596"/>
                </a:lnTo>
                <a:lnTo>
                  <a:pt x="22" y="594"/>
                </a:lnTo>
                <a:lnTo>
                  <a:pt x="17" y="590"/>
                </a:lnTo>
                <a:lnTo>
                  <a:pt x="14" y="586"/>
                </a:lnTo>
                <a:lnTo>
                  <a:pt x="8" y="576"/>
                </a:lnTo>
                <a:lnTo>
                  <a:pt x="0" y="566"/>
                </a:lnTo>
                <a:lnTo>
                  <a:pt x="9" y="563"/>
                </a:lnTo>
                <a:lnTo>
                  <a:pt x="19" y="561"/>
                </a:lnTo>
                <a:lnTo>
                  <a:pt x="27" y="560"/>
                </a:lnTo>
                <a:lnTo>
                  <a:pt x="34" y="560"/>
                </a:lnTo>
                <a:lnTo>
                  <a:pt x="34" y="548"/>
                </a:lnTo>
                <a:lnTo>
                  <a:pt x="36" y="538"/>
                </a:lnTo>
                <a:lnTo>
                  <a:pt x="38" y="528"/>
                </a:lnTo>
                <a:lnTo>
                  <a:pt x="42" y="519"/>
                </a:lnTo>
                <a:lnTo>
                  <a:pt x="47" y="511"/>
                </a:lnTo>
                <a:lnTo>
                  <a:pt x="53" y="504"/>
                </a:lnTo>
                <a:lnTo>
                  <a:pt x="59" y="498"/>
                </a:lnTo>
                <a:lnTo>
                  <a:pt x="67" y="492"/>
                </a:lnTo>
                <a:lnTo>
                  <a:pt x="62" y="480"/>
                </a:lnTo>
                <a:lnTo>
                  <a:pt x="61" y="471"/>
                </a:lnTo>
                <a:lnTo>
                  <a:pt x="61" y="464"/>
                </a:lnTo>
                <a:lnTo>
                  <a:pt x="61" y="457"/>
                </a:lnTo>
                <a:lnTo>
                  <a:pt x="63" y="450"/>
                </a:lnTo>
                <a:lnTo>
                  <a:pt x="64" y="441"/>
                </a:lnTo>
                <a:lnTo>
                  <a:pt x="65" y="428"/>
                </a:lnTo>
                <a:lnTo>
                  <a:pt x="67" y="412"/>
                </a:lnTo>
                <a:lnTo>
                  <a:pt x="62" y="410"/>
                </a:lnTo>
                <a:lnTo>
                  <a:pt x="58" y="408"/>
                </a:lnTo>
                <a:lnTo>
                  <a:pt x="54" y="404"/>
                </a:lnTo>
                <a:lnTo>
                  <a:pt x="51" y="400"/>
                </a:lnTo>
                <a:lnTo>
                  <a:pt x="47" y="390"/>
                </a:lnTo>
                <a:lnTo>
                  <a:pt x="43" y="377"/>
                </a:lnTo>
                <a:lnTo>
                  <a:pt x="40" y="354"/>
                </a:lnTo>
                <a:lnTo>
                  <a:pt x="40" y="338"/>
                </a:lnTo>
                <a:lnTo>
                  <a:pt x="60" y="277"/>
                </a:lnTo>
                <a:lnTo>
                  <a:pt x="74" y="276"/>
                </a:lnTo>
                <a:lnTo>
                  <a:pt x="88" y="275"/>
                </a:lnTo>
                <a:lnTo>
                  <a:pt x="94" y="274"/>
                </a:lnTo>
                <a:lnTo>
                  <a:pt x="99" y="274"/>
                </a:lnTo>
                <a:lnTo>
                  <a:pt x="103" y="275"/>
                </a:lnTo>
                <a:lnTo>
                  <a:pt x="106" y="277"/>
                </a:lnTo>
                <a:lnTo>
                  <a:pt x="107" y="261"/>
                </a:lnTo>
                <a:lnTo>
                  <a:pt x="109" y="247"/>
                </a:lnTo>
                <a:lnTo>
                  <a:pt x="113" y="234"/>
                </a:lnTo>
                <a:lnTo>
                  <a:pt x="118" y="222"/>
                </a:lnTo>
                <a:lnTo>
                  <a:pt x="124" y="211"/>
                </a:lnTo>
                <a:lnTo>
                  <a:pt x="130" y="201"/>
                </a:lnTo>
                <a:lnTo>
                  <a:pt x="137" y="192"/>
                </a:lnTo>
                <a:lnTo>
                  <a:pt x="144" y="183"/>
                </a:lnTo>
                <a:lnTo>
                  <a:pt x="160" y="168"/>
                </a:lnTo>
                <a:lnTo>
                  <a:pt x="173" y="152"/>
                </a:lnTo>
                <a:lnTo>
                  <a:pt x="180" y="145"/>
                </a:lnTo>
                <a:lnTo>
                  <a:pt x="185" y="138"/>
                </a:lnTo>
                <a:lnTo>
                  <a:pt x="189" y="130"/>
                </a:lnTo>
                <a:lnTo>
                  <a:pt x="193" y="123"/>
                </a:lnTo>
                <a:lnTo>
                  <a:pt x="198" y="111"/>
                </a:lnTo>
                <a:lnTo>
                  <a:pt x="205" y="97"/>
                </a:lnTo>
                <a:lnTo>
                  <a:pt x="213" y="83"/>
                </a:lnTo>
                <a:lnTo>
                  <a:pt x="220" y="71"/>
                </a:lnTo>
                <a:lnTo>
                  <a:pt x="228" y="60"/>
                </a:lnTo>
                <a:lnTo>
                  <a:pt x="237" y="51"/>
                </a:lnTo>
                <a:lnTo>
                  <a:pt x="241" y="47"/>
                </a:lnTo>
                <a:lnTo>
                  <a:pt x="244" y="44"/>
                </a:lnTo>
                <a:lnTo>
                  <a:pt x="249" y="43"/>
                </a:lnTo>
                <a:lnTo>
                  <a:pt x="252" y="42"/>
                </a:lnTo>
                <a:lnTo>
                  <a:pt x="272" y="36"/>
                </a:lnTo>
                <a:lnTo>
                  <a:pt x="291" y="32"/>
                </a:lnTo>
                <a:lnTo>
                  <a:pt x="309" y="29"/>
                </a:lnTo>
                <a:lnTo>
                  <a:pt x="327" y="25"/>
                </a:lnTo>
                <a:lnTo>
                  <a:pt x="344" y="22"/>
                </a:lnTo>
                <a:lnTo>
                  <a:pt x="361" y="16"/>
                </a:lnTo>
                <a:lnTo>
                  <a:pt x="368" y="13"/>
                </a:lnTo>
                <a:lnTo>
                  <a:pt x="376" y="9"/>
                </a:lnTo>
                <a:lnTo>
                  <a:pt x="384" y="5"/>
                </a:lnTo>
                <a:lnTo>
                  <a:pt x="392" y="0"/>
                </a:lnTo>
                <a:lnTo>
                  <a:pt x="401" y="5"/>
                </a:lnTo>
                <a:lnTo>
                  <a:pt x="409" y="11"/>
                </a:lnTo>
                <a:lnTo>
                  <a:pt x="416" y="18"/>
                </a:lnTo>
                <a:lnTo>
                  <a:pt x="423" y="25"/>
                </a:lnTo>
                <a:lnTo>
                  <a:pt x="431" y="32"/>
                </a:lnTo>
                <a:lnTo>
                  <a:pt x="441" y="37"/>
                </a:lnTo>
                <a:lnTo>
                  <a:pt x="445" y="39"/>
                </a:lnTo>
                <a:lnTo>
                  <a:pt x="452" y="41"/>
                </a:lnTo>
                <a:lnTo>
                  <a:pt x="457" y="42"/>
                </a:lnTo>
                <a:lnTo>
                  <a:pt x="465" y="42"/>
                </a:lnTo>
                <a:lnTo>
                  <a:pt x="487" y="72"/>
                </a:lnTo>
                <a:lnTo>
                  <a:pt x="508" y="102"/>
                </a:lnTo>
                <a:lnTo>
                  <a:pt x="513" y="111"/>
                </a:lnTo>
                <a:lnTo>
                  <a:pt x="518" y="120"/>
                </a:lnTo>
                <a:lnTo>
                  <a:pt x="521" y="129"/>
                </a:lnTo>
                <a:lnTo>
                  <a:pt x="524" y="139"/>
                </a:lnTo>
                <a:lnTo>
                  <a:pt x="528" y="150"/>
                </a:lnTo>
                <a:lnTo>
                  <a:pt x="530" y="163"/>
                </a:lnTo>
                <a:lnTo>
                  <a:pt x="531" y="176"/>
                </a:lnTo>
                <a:lnTo>
                  <a:pt x="531" y="19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fr-FR" dirty="0"/>
          </a:p>
        </p:txBody>
      </p:sp>
      <p:sp>
        <p:nvSpPr>
          <p:cNvPr id="54" name="Freeform 244"/>
          <p:cNvSpPr>
            <a:spLocks/>
          </p:cNvSpPr>
          <p:nvPr>
            <p:custDataLst>
              <p:tags r:id="rId34"/>
            </p:custDataLst>
          </p:nvPr>
        </p:nvSpPr>
        <p:spPr bwMode="auto">
          <a:xfrm>
            <a:off x="1472750" y="3474903"/>
            <a:ext cx="33465" cy="77953"/>
          </a:xfrm>
          <a:custGeom>
            <a:avLst/>
            <a:gdLst>
              <a:gd name="T0" fmla="*/ 0 w 60"/>
              <a:gd name="T1" fmla="*/ 46461829 h 51"/>
              <a:gd name="T2" fmla="*/ 1214010 w 60"/>
              <a:gd name="T3" fmla="*/ 37671935 h 51"/>
              <a:gd name="T4" fmla="*/ 3034801 w 60"/>
              <a:gd name="T5" fmla="*/ 23858444 h 51"/>
              <a:gd name="T6" fmla="*/ 4046401 w 60"/>
              <a:gd name="T7" fmla="*/ 16324729 h 51"/>
              <a:gd name="T8" fmla="*/ 5462821 w 60"/>
              <a:gd name="T9" fmla="*/ 10046074 h 51"/>
              <a:gd name="T10" fmla="*/ 6676381 w 60"/>
              <a:gd name="T11" fmla="*/ 5022476 h 51"/>
              <a:gd name="T12" fmla="*/ 8092802 w 60"/>
              <a:gd name="T13" fmla="*/ 0 h 51"/>
              <a:gd name="T14" fmla="*/ 10116002 w 60"/>
              <a:gd name="T15" fmla="*/ 8789894 h 51"/>
              <a:gd name="T16" fmla="*/ 12139202 w 60"/>
              <a:gd name="T17" fmla="*/ 16324729 h 51"/>
              <a:gd name="T18" fmla="*/ 11936792 w 60"/>
              <a:gd name="T19" fmla="*/ 25114624 h 51"/>
              <a:gd name="T20" fmla="*/ 11330012 w 60"/>
              <a:gd name="T21" fmla="*/ 36415756 h 51"/>
              <a:gd name="T22" fmla="*/ 10925192 w 60"/>
              <a:gd name="T23" fmla="*/ 42694412 h 51"/>
              <a:gd name="T24" fmla="*/ 10520822 w 60"/>
              <a:gd name="T25" fmla="*/ 47716888 h 51"/>
              <a:gd name="T26" fmla="*/ 9913592 w 60"/>
              <a:gd name="T27" fmla="*/ 52740485 h 51"/>
              <a:gd name="T28" fmla="*/ 9104402 w 60"/>
              <a:gd name="T29" fmla="*/ 56506782 h 51"/>
              <a:gd name="T30" fmla="*/ 8295212 w 60"/>
              <a:gd name="T31" fmla="*/ 60274200 h 51"/>
              <a:gd name="T32" fmla="*/ 7486021 w 60"/>
              <a:gd name="T33" fmla="*/ 62785438 h 51"/>
              <a:gd name="T34" fmla="*/ 6272011 w 60"/>
              <a:gd name="T35" fmla="*/ 64041618 h 51"/>
              <a:gd name="T36" fmla="*/ 5462821 w 60"/>
              <a:gd name="T37" fmla="*/ 64041618 h 51"/>
              <a:gd name="T38" fmla="*/ 4046401 w 60"/>
              <a:gd name="T39" fmla="*/ 62785438 h 51"/>
              <a:gd name="T40" fmla="*/ 3034801 w 60"/>
              <a:gd name="T41" fmla="*/ 59019141 h 51"/>
              <a:gd name="T42" fmla="*/ 1416420 w 60"/>
              <a:gd name="T43" fmla="*/ 53995544 h 51"/>
              <a:gd name="T44" fmla="*/ 0 w 60"/>
              <a:gd name="T45" fmla="*/ 46461829 h 51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0" t="0" r="r" b="b"/>
            <a:pathLst>
              <a:path w="60" h="51">
                <a:moveTo>
                  <a:pt x="0" y="37"/>
                </a:moveTo>
                <a:lnTo>
                  <a:pt x="6" y="30"/>
                </a:lnTo>
                <a:lnTo>
                  <a:pt x="15" y="19"/>
                </a:lnTo>
                <a:lnTo>
                  <a:pt x="20" y="13"/>
                </a:lnTo>
                <a:lnTo>
                  <a:pt x="27" y="8"/>
                </a:lnTo>
                <a:lnTo>
                  <a:pt x="33" y="4"/>
                </a:lnTo>
                <a:lnTo>
                  <a:pt x="40" y="0"/>
                </a:lnTo>
                <a:lnTo>
                  <a:pt x="50" y="7"/>
                </a:lnTo>
                <a:lnTo>
                  <a:pt x="60" y="13"/>
                </a:lnTo>
                <a:lnTo>
                  <a:pt x="59" y="20"/>
                </a:lnTo>
                <a:lnTo>
                  <a:pt x="56" y="29"/>
                </a:lnTo>
                <a:lnTo>
                  <a:pt x="54" y="34"/>
                </a:lnTo>
                <a:lnTo>
                  <a:pt x="52" y="38"/>
                </a:lnTo>
                <a:lnTo>
                  <a:pt x="49" y="42"/>
                </a:lnTo>
                <a:lnTo>
                  <a:pt x="45" y="45"/>
                </a:lnTo>
                <a:lnTo>
                  <a:pt x="41" y="48"/>
                </a:lnTo>
                <a:lnTo>
                  <a:pt x="37" y="50"/>
                </a:lnTo>
                <a:lnTo>
                  <a:pt x="31" y="51"/>
                </a:lnTo>
                <a:lnTo>
                  <a:pt x="27" y="51"/>
                </a:lnTo>
                <a:lnTo>
                  <a:pt x="20" y="50"/>
                </a:lnTo>
                <a:lnTo>
                  <a:pt x="15" y="47"/>
                </a:lnTo>
                <a:lnTo>
                  <a:pt x="7" y="43"/>
                </a:lnTo>
                <a:lnTo>
                  <a:pt x="0" y="37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fr-FR" dirty="0"/>
          </a:p>
        </p:txBody>
      </p:sp>
      <p:sp>
        <p:nvSpPr>
          <p:cNvPr id="55" name="Freeform 245"/>
          <p:cNvSpPr>
            <a:spLocks/>
          </p:cNvSpPr>
          <p:nvPr>
            <p:custDataLst>
              <p:tags r:id="rId35"/>
            </p:custDataLst>
          </p:nvPr>
        </p:nvSpPr>
        <p:spPr bwMode="auto">
          <a:xfrm>
            <a:off x="783774" y="3695769"/>
            <a:ext cx="35433" cy="77953"/>
          </a:xfrm>
          <a:custGeom>
            <a:avLst/>
            <a:gdLst>
              <a:gd name="T0" fmla="*/ 11059391 w 66"/>
              <a:gd name="T1" fmla="*/ 60274200 h 51"/>
              <a:gd name="T2" fmla="*/ 7872845 w 66"/>
              <a:gd name="T3" fmla="*/ 62785438 h 51"/>
              <a:gd name="T4" fmla="*/ 4123892 w 66"/>
              <a:gd name="T5" fmla="*/ 64041618 h 51"/>
              <a:gd name="T6" fmla="*/ 3186545 w 66"/>
              <a:gd name="T7" fmla="*/ 62785438 h 51"/>
              <a:gd name="T8" fmla="*/ 2436668 w 66"/>
              <a:gd name="T9" fmla="*/ 61530379 h 51"/>
              <a:gd name="T10" fmla="*/ 1874693 w 66"/>
              <a:gd name="T11" fmla="*/ 60274200 h 51"/>
              <a:gd name="T12" fmla="*/ 1312285 w 66"/>
              <a:gd name="T13" fmla="*/ 57762962 h 51"/>
              <a:gd name="T14" fmla="*/ 562408 w 66"/>
              <a:gd name="T15" fmla="*/ 53995544 h 51"/>
              <a:gd name="T16" fmla="*/ 187469 w 66"/>
              <a:gd name="T17" fmla="*/ 50229247 h 51"/>
              <a:gd name="T18" fmla="*/ 0 w 66"/>
              <a:gd name="T19" fmla="*/ 43950591 h 51"/>
              <a:gd name="T20" fmla="*/ 0 w 66"/>
              <a:gd name="T21" fmla="*/ 37671935 h 51"/>
              <a:gd name="T22" fmla="*/ 749877 w 66"/>
              <a:gd name="T23" fmla="*/ 36415756 h 51"/>
              <a:gd name="T24" fmla="*/ 1874693 w 66"/>
              <a:gd name="T25" fmla="*/ 33904518 h 51"/>
              <a:gd name="T26" fmla="*/ 2624138 w 66"/>
              <a:gd name="T27" fmla="*/ 30137100 h 51"/>
              <a:gd name="T28" fmla="*/ 3561484 w 66"/>
              <a:gd name="T29" fmla="*/ 25114624 h 51"/>
              <a:gd name="T30" fmla="*/ 4873769 w 66"/>
              <a:gd name="T31" fmla="*/ 12557312 h 51"/>
              <a:gd name="T32" fmla="*/ 6186055 w 66"/>
              <a:gd name="T33" fmla="*/ 0 h 51"/>
              <a:gd name="T34" fmla="*/ 8622723 w 66"/>
              <a:gd name="T35" fmla="*/ 1256179 h 51"/>
              <a:gd name="T36" fmla="*/ 9747539 w 66"/>
              <a:gd name="T37" fmla="*/ 2511238 h 51"/>
              <a:gd name="T38" fmla="*/ 10496983 w 66"/>
              <a:gd name="T39" fmla="*/ 3767418 h 51"/>
              <a:gd name="T40" fmla="*/ 12371676 w 66"/>
              <a:gd name="T41" fmla="*/ 0 h 51"/>
              <a:gd name="T42" fmla="*/ 12184207 w 66"/>
              <a:gd name="T43" fmla="*/ 16324729 h 51"/>
              <a:gd name="T44" fmla="*/ 11809268 w 66"/>
              <a:gd name="T45" fmla="*/ 30137100 h 51"/>
              <a:gd name="T46" fmla="*/ 11246860 w 66"/>
              <a:gd name="T47" fmla="*/ 45205650 h 51"/>
              <a:gd name="T48" fmla="*/ 11059391 w 66"/>
              <a:gd name="T49" fmla="*/ 60274200 h 51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66" h="51">
                <a:moveTo>
                  <a:pt x="59" y="48"/>
                </a:moveTo>
                <a:lnTo>
                  <a:pt x="42" y="50"/>
                </a:lnTo>
                <a:lnTo>
                  <a:pt x="22" y="51"/>
                </a:lnTo>
                <a:lnTo>
                  <a:pt x="17" y="50"/>
                </a:lnTo>
                <a:lnTo>
                  <a:pt x="13" y="49"/>
                </a:lnTo>
                <a:lnTo>
                  <a:pt x="10" y="48"/>
                </a:lnTo>
                <a:lnTo>
                  <a:pt x="7" y="46"/>
                </a:lnTo>
                <a:lnTo>
                  <a:pt x="3" y="43"/>
                </a:lnTo>
                <a:lnTo>
                  <a:pt x="1" y="40"/>
                </a:lnTo>
                <a:lnTo>
                  <a:pt x="0" y="35"/>
                </a:lnTo>
                <a:lnTo>
                  <a:pt x="0" y="30"/>
                </a:lnTo>
                <a:lnTo>
                  <a:pt x="4" y="29"/>
                </a:lnTo>
                <a:lnTo>
                  <a:pt x="10" y="27"/>
                </a:lnTo>
                <a:lnTo>
                  <a:pt x="14" y="24"/>
                </a:lnTo>
                <a:lnTo>
                  <a:pt x="19" y="20"/>
                </a:lnTo>
                <a:lnTo>
                  <a:pt x="26" y="10"/>
                </a:lnTo>
                <a:lnTo>
                  <a:pt x="33" y="0"/>
                </a:lnTo>
                <a:lnTo>
                  <a:pt x="46" y="1"/>
                </a:lnTo>
                <a:lnTo>
                  <a:pt x="52" y="2"/>
                </a:lnTo>
                <a:lnTo>
                  <a:pt x="56" y="3"/>
                </a:lnTo>
                <a:lnTo>
                  <a:pt x="66" y="0"/>
                </a:lnTo>
                <a:lnTo>
                  <a:pt x="65" y="13"/>
                </a:lnTo>
                <a:lnTo>
                  <a:pt x="63" y="24"/>
                </a:lnTo>
                <a:lnTo>
                  <a:pt x="60" y="36"/>
                </a:lnTo>
                <a:lnTo>
                  <a:pt x="59" y="48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fr-FR" dirty="0"/>
          </a:p>
        </p:txBody>
      </p:sp>
      <p:sp>
        <p:nvSpPr>
          <p:cNvPr id="56" name="Freeform 246"/>
          <p:cNvSpPr>
            <a:spLocks/>
          </p:cNvSpPr>
          <p:nvPr>
            <p:custDataLst>
              <p:tags r:id="rId36"/>
            </p:custDataLst>
          </p:nvPr>
        </p:nvSpPr>
        <p:spPr bwMode="auto">
          <a:xfrm>
            <a:off x="1964875" y="4416830"/>
            <a:ext cx="62992" cy="77953"/>
          </a:xfrm>
          <a:custGeom>
            <a:avLst/>
            <a:gdLst>
              <a:gd name="T0" fmla="*/ 0 w 113"/>
              <a:gd name="T1" fmla="*/ 26243434 h 74"/>
              <a:gd name="T2" fmla="*/ 4041972 w 113"/>
              <a:gd name="T3" fmla="*/ 44136791 h 74"/>
              <a:gd name="T4" fmla="*/ 7477940 w 113"/>
              <a:gd name="T5" fmla="*/ 41154951 h 74"/>
              <a:gd name="T6" fmla="*/ 10307005 w 113"/>
              <a:gd name="T7" fmla="*/ 38768552 h 74"/>
              <a:gd name="T8" fmla="*/ 12934669 w 113"/>
              <a:gd name="T9" fmla="*/ 35190499 h 74"/>
              <a:gd name="T10" fmla="*/ 14955430 w 113"/>
              <a:gd name="T11" fmla="*/ 31611673 h 74"/>
              <a:gd name="T12" fmla="*/ 15763735 w 113"/>
              <a:gd name="T13" fmla="*/ 29226047 h 74"/>
              <a:gd name="T14" fmla="*/ 16774340 w 113"/>
              <a:gd name="T15" fmla="*/ 26839648 h 74"/>
              <a:gd name="T16" fmla="*/ 17380793 w 113"/>
              <a:gd name="T17" fmla="*/ 24454022 h 74"/>
              <a:gd name="T18" fmla="*/ 17784945 w 113"/>
              <a:gd name="T19" fmla="*/ 22068395 h 74"/>
              <a:gd name="T20" fmla="*/ 18189097 w 113"/>
              <a:gd name="T21" fmla="*/ 19086555 h 74"/>
              <a:gd name="T22" fmla="*/ 18391398 w 113"/>
              <a:gd name="T23" fmla="*/ 15507730 h 74"/>
              <a:gd name="T24" fmla="*/ 18795550 w 113"/>
              <a:gd name="T25" fmla="*/ 11332691 h 74"/>
              <a:gd name="T26" fmla="*/ 18997402 w 113"/>
              <a:gd name="T27" fmla="*/ 7753865 h 74"/>
              <a:gd name="T28" fmla="*/ 20008007 w 113"/>
              <a:gd name="T29" fmla="*/ 7157651 h 74"/>
              <a:gd name="T30" fmla="*/ 21422765 w 113"/>
              <a:gd name="T31" fmla="*/ 5368239 h 74"/>
              <a:gd name="T32" fmla="*/ 21826917 w 113"/>
              <a:gd name="T33" fmla="*/ 4175039 h 74"/>
              <a:gd name="T34" fmla="*/ 22433370 w 113"/>
              <a:gd name="T35" fmla="*/ 2981840 h 74"/>
              <a:gd name="T36" fmla="*/ 22635221 w 113"/>
              <a:gd name="T37" fmla="*/ 1789413 h 74"/>
              <a:gd name="T38" fmla="*/ 22837522 w 113"/>
              <a:gd name="T39" fmla="*/ 0 h 74"/>
              <a:gd name="T40" fmla="*/ 19806156 w 113"/>
              <a:gd name="T41" fmla="*/ 2385626 h 74"/>
              <a:gd name="T42" fmla="*/ 16572488 w 113"/>
              <a:gd name="T43" fmla="*/ 4771253 h 74"/>
              <a:gd name="T44" fmla="*/ 13136520 w 113"/>
              <a:gd name="T45" fmla="*/ 7753865 h 74"/>
              <a:gd name="T46" fmla="*/ 9902853 w 113"/>
              <a:gd name="T47" fmla="*/ 11332691 h 74"/>
              <a:gd name="T48" fmla="*/ 4041972 w 113"/>
              <a:gd name="T49" fmla="*/ 19682769 h 74"/>
              <a:gd name="T50" fmla="*/ 0 w 113"/>
              <a:gd name="T51" fmla="*/ 26243434 h 74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</a:gdLst>
            <a:ahLst/>
            <a:cxnLst>
              <a:cxn ang="T52">
                <a:pos x="T0" y="T1"/>
              </a:cxn>
              <a:cxn ang="T53">
                <a:pos x="T2" y="T3"/>
              </a:cxn>
              <a:cxn ang="T54">
                <a:pos x="T4" y="T5"/>
              </a:cxn>
              <a:cxn ang="T55">
                <a:pos x="T6" y="T7"/>
              </a:cxn>
              <a:cxn ang="T56">
                <a:pos x="T8" y="T9"/>
              </a:cxn>
              <a:cxn ang="T57">
                <a:pos x="T10" y="T11"/>
              </a:cxn>
              <a:cxn ang="T58">
                <a:pos x="T12" y="T13"/>
              </a:cxn>
              <a:cxn ang="T59">
                <a:pos x="T14" y="T15"/>
              </a:cxn>
              <a:cxn ang="T60">
                <a:pos x="T16" y="T17"/>
              </a:cxn>
              <a:cxn ang="T61">
                <a:pos x="T18" y="T19"/>
              </a:cxn>
              <a:cxn ang="T62">
                <a:pos x="T20" y="T21"/>
              </a:cxn>
              <a:cxn ang="T63">
                <a:pos x="T22" y="T23"/>
              </a:cxn>
              <a:cxn ang="T64">
                <a:pos x="T24" y="T25"/>
              </a:cxn>
              <a:cxn ang="T65">
                <a:pos x="T26" y="T27"/>
              </a:cxn>
              <a:cxn ang="T66">
                <a:pos x="T28" y="T29"/>
              </a:cxn>
              <a:cxn ang="T67">
                <a:pos x="T30" y="T31"/>
              </a:cxn>
              <a:cxn ang="T68">
                <a:pos x="T32" y="T33"/>
              </a:cxn>
              <a:cxn ang="T69">
                <a:pos x="T34" y="T35"/>
              </a:cxn>
              <a:cxn ang="T70">
                <a:pos x="T36" y="T37"/>
              </a:cxn>
              <a:cxn ang="T71">
                <a:pos x="T38" y="T39"/>
              </a:cxn>
              <a:cxn ang="T72">
                <a:pos x="T40" y="T41"/>
              </a:cxn>
              <a:cxn ang="T73">
                <a:pos x="T42" y="T43"/>
              </a:cxn>
              <a:cxn ang="T74">
                <a:pos x="T44" y="T45"/>
              </a:cxn>
              <a:cxn ang="T75">
                <a:pos x="T46" y="T47"/>
              </a:cxn>
              <a:cxn ang="T76">
                <a:pos x="T48" y="T49"/>
              </a:cxn>
              <a:cxn ang="T77">
                <a:pos x="T50" y="T51"/>
              </a:cxn>
            </a:cxnLst>
            <a:rect l="0" t="0" r="r" b="b"/>
            <a:pathLst>
              <a:path w="113" h="74">
                <a:moveTo>
                  <a:pt x="0" y="44"/>
                </a:moveTo>
                <a:lnTo>
                  <a:pt x="20" y="74"/>
                </a:lnTo>
                <a:lnTo>
                  <a:pt x="37" y="69"/>
                </a:lnTo>
                <a:lnTo>
                  <a:pt x="51" y="65"/>
                </a:lnTo>
                <a:lnTo>
                  <a:pt x="64" y="59"/>
                </a:lnTo>
                <a:lnTo>
                  <a:pt x="74" y="53"/>
                </a:lnTo>
                <a:lnTo>
                  <a:pt x="78" y="49"/>
                </a:lnTo>
                <a:lnTo>
                  <a:pt x="83" y="45"/>
                </a:lnTo>
                <a:lnTo>
                  <a:pt x="86" y="41"/>
                </a:lnTo>
                <a:lnTo>
                  <a:pt x="88" y="37"/>
                </a:lnTo>
                <a:lnTo>
                  <a:pt x="90" y="32"/>
                </a:lnTo>
                <a:lnTo>
                  <a:pt x="91" y="26"/>
                </a:lnTo>
                <a:lnTo>
                  <a:pt x="93" y="19"/>
                </a:lnTo>
                <a:lnTo>
                  <a:pt x="94" y="13"/>
                </a:lnTo>
                <a:lnTo>
                  <a:pt x="99" y="12"/>
                </a:lnTo>
                <a:lnTo>
                  <a:pt x="106" y="9"/>
                </a:lnTo>
                <a:lnTo>
                  <a:pt x="108" y="7"/>
                </a:lnTo>
                <a:lnTo>
                  <a:pt x="111" y="5"/>
                </a:lnTo>
                <a:lnTo>
                  <a:pt x="112" y="3"/>
                </a:lnTo>
                <a:lnTo>
                  <a:pt x="113" y="0"/>
                </a:lnTo>
                <a:lnTo>
                  <a:pt x="98" y="4"/>
                </a:lnTo>
                <a:lnTo>
                  <a:pt x="82" y="8"/>
                </a:lnTo>
                <a:lnTo>
                  <a:pt x="65" y="13"/>
                </a:lnTo>
                <a:lnTo>
                  <a:pt x="49" y="19"/>
                </a:lnTo>
                <a:lnTo>
                  <a:pt x="20" y="33"/>
                </a:lnTo>
                <a:lnTo>
                  <a:pt x="0" y="44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 dirty="0"/>
          </a:p>
        </p:txBody>
      </p:sp>
      <p:sp>
        <p:nvSpPr>
          <p:cNvPr id="57" name="Freeform 256"/>
          <p:cNvSpPr>
            <a:spLocks/>
          </p:cNvSpPr>
          <p:nvPr>
            <p:custDataLst>
              <p:tags r:id="rId37"/>
            </p:custDataLst>
          </p:nvPr>
        </p:nvSpPr>
        <p:spPr bwMode="auto">
          <a:xfrm>
            <a:off x="2311331" y="4232776"/>
            <a:ext cx="624016" cy="645274"/>
          </a:xfrm>
          <a:custGeom>
            <a:avLst/>
            <a:gdLst>
              <a:gd name="T0" fmla="*/ 175864703 w 1156"/>
              <a:gd name="T1" fmla="*/ 52772568 h 900"/>
              <a:gd name="T2" fmla="*/ 162788786 w 1156"/>
              <a:gd name="T3" fmla="*/ 44760254 h 900"/>
              <a:gd name="T4" fmla="*/ 146491015 w 1156"/>
              <a:gd name="T5" fmla="*/ 30668927 h 900"/>
              <a:gd name="T6" fmla="*/ 116927523 w 1156"/>
              <a:gd name="T7" fmla="*/ 28734576 h 900"/>
              <a:gd name="T8" fmla="*/ 104419708 w 1156"/>
              <a:gd name="T9" fmla="*/ 42549417 h 900"/>
              <a:gd name="T10" fmla="*/ 95512918 w 1156"/>
              <a:gd name="T11" fmla="*/ 49456837 h 900"/>
              <a:gd name="T12" fmla="*/ 80730955 w 1156"/>
              <a:gd name="T13" fmla="*/ 54430433 h 900"/>
              <a:gd name="T14" fmla="*/ 72582069 w 1156"/>
              <a:gd name="T15" fmla="*/ 54982879 h 900"/>
              <a:gd name="T16" fmla="*/ 67275868 w 1156"/>
              <a:gd name="T17" fmla="*/ 47799498 h 900"/>
              <a:gd name="T18" fmla="*/ 49272485 w 1156"/>
              <a:gd name="T19" fmla="*/ 37576347 h 900"/>
              <a:gd name="T20" fmla="*/ 43208380 w 1156"/>
              <a:gd name="T21" fmla="*/ 23761506 h 900"/>
              <a:gd name="T22" fmla="*/ 41692136 w 1156"/>
              <a:gd name="T23" fmla="*/ 6354974 h 900"/>
              <a:gd name="T24" fmla="*/ 35627596 w 1156"/>
              <a:gd name="T25" fmla="*/ 276486 h 900"/>
              <a:gd name="T26" fmla="*/ 29374124 w 1156"/>
              <a:gd name="T27" fmla="*/ 5802002 h 900"/>
              <a:gd name="T28" fmla="*/ 25773099 w 1156"/>
              <a:gd name="T29" fmla="*/ 18511950 h 900"/>
              <a:gd name="T30" fmla="*/ 14971331 w 1156"/>
              <a:gd name="T31" fmla="*/ 14920260 h 900"/>
              <a:gd name="T32" fmla="*/ 757904 w 1156"/>
              <a:gd name="T33" fmla="*/ 4420623 h 900"/>
              <a:gd name="T34" fmla="*/ 947707 w 1156"/>
              <a:gd name="T35" fmla="*/ 19893329 h 900"/>
              <a:gd name="T36" fmla="*/ 8528056 w 1156"/>
              <a:gd name="T37" fmla="*/ 40339105 h 900"/>
              <a:gd name="T38" fmla="*/ 13834256 w 1156"/>
              <a:gd name="T39" fmla="*/ 56640744 h 900"/>
              <a:gd name="T40" fmla="*/ 25583732 w 1156"/>
              <a:gd name="T41" fmla="*/ 78467899 h 900"/>
              <a:gd name="T42" fmla="*/ 23120216 w 1156"/>
              <a:gd name="T43" fmla="*/ 87309671 h 900"/>
              <a:gd name="T44" fmla="*/ 25204562 w 1156"/>
              <a:gd name="T45" fmla="*/ 102229405 h 900"/>
              <a:gd name="T46" fmla="*/ 35627596 w 1156"/>
              <a:gd name="T47" fmla="*/ 118254558 h 900"/>
              <a:gd name="T48" fmla="*/ 49083118 w 1156"/>
              <a:gd name="T49" fmla="*/ 125990911 h 900"/>
              <a:gd name="T50" fmla="*/ 49083118 w 1156"/>
              <a:gd name="T51" fmla="*/ 144779347 h 900"/>
              <a:gd name="T52" fmla="*/ 63485912 w 1156"/>
              <a:gd name="T53" fmla="*/ 160528014 h 900"/>
              <a:gd name="T54" fmla="*/ 80162418 w 1156"/>
              <a:gd name="T55" fmla="*/ 183460588 h 900"/>
              <a:gd name="T56" fmla="*/ 89259011 w 1156"/>
              <a:gd name="T57" fmla="*/ 198933294 h 900"/>
              <a:gd name="T58" fmla="*/ 95512918 w 1156"/>
              <a:gd name="T59" fmla="*/ 202524984 h 900"/>
              <a:gd name="T60" fmla="*/ 102714097 w 1156"/>
              <a:gd name="T61" fmla="*/ 208603473 h 900"/>
              <a:gd name="T62" fmla="*/ 113326934 w 1156"/>
              <a:gd name="T63" fmla="*/ 217445244 h 900"/>
              <a:gd name="T64" fmla="*/ 129814073 w 1156"/>
              <a:gd name="T65" fmla="*/ 219655556 h 900"/>
              <a:gd name="T66" fmla="*/ 138720863 w 1156"/>
              <a:gd name="T67" fmla="*/ 215510893 h 900"/>
              <a:gd name="T68" fmla="*/ 147628089 w 1156"/>
              <a:gd name="T69" fmla="*/ 211090270 h 900"/>
              <a:gd name="T70" fmla="*/ 151797215 w 1156"/>
              <a:gd name="T71" fmla="*/ 219932042 h 900"/>
              <a:gd name="T72" fmla="*/ 154071363 w 1156"/>
              <a:gd name="T73" fmla="*/ 236786127 h 900"/>
              <a:gd name="T74" fmla="*/ 165631472 w 1156"/>
              <a:gd name="T75" fmla="*/ 241482711 h 900"/>
              <a:gd name="T76" fmla="*/ 191594373 w 1156"/>
              <a:gd name="T77" fmla="*/ 246456306 h 900"/>
              <a:gd name="T78" fmla="*/ 206755071 w 1156"/>
              <a:gd name="T79" fmla="*/ 242864615 h 900"/>
              <a:gd name="T80" fmla="*/ 208270880 w 1156"/>
              <a:gd name="T81" fmla="*/ 229602221 h 900"/>
              <a:gd name="T82" fmla="*/ 219073084 w 1156"/>
              <a:gd name="T83" fmla="*/ 212748135 h 900"/>
              <a:gd name="T84" fmla="*/ 214524787 w 1156"/>
              <a:gd name="T85" fmla="*/ 207222094 h 900"/>
              <a:gd name="T86" fmla="*/ 207702343 w 1156"/>
              <a:gd name="T87" fmla="*/ 195617564 h 900"/>
              <a:gd name="T88" fmla="*/ 195384330 w 1156"/>
              <a:gd name="T89" fmla="*/ 177658586 h 900"/>
              <a:gd name="T90" fmla="*/ 192920815 w 1156"/>
              <a:gd name="T91" fmla="*/ 166606502 h 900"/>
              <a:gd name="T92" fmla="*/ 197847846 w 1156"/>
              <a:gd name="T93" fmla="*/ 154449526 h 900"/>
              <a:gd name="T94" fmla="*/ 198606185 w 1156"/>
              <a:gd name="T95" fmla="*/ 145331794 h 900"/>
              <a:gd name="T96" fmla="*/ 195194963 w 1156"/>
              <a:gd name="T97" fmla="*/ 141463617 h 900"/>
              <a:gd name="T98" fmla="*/ 186287737 w 1156"/>
              <a:gd name="T99" fmla="*/ 140082238 h 900"/>
              <a:gd name="T100" fmla="*/ 180792169 w 1156"/>
              <a:gd name="T101" fmla="*/ 125161978 h 900"/>
              <a:gd name="T102" fmla="*/ 177570314 w 1156"/>
              <a:gd name="T103" fmla="*/ 103058337 h 900"/>
              <a:gd name="T104" fmla="*/ 175106799 w 1156"/>
              <a:gd name="T105" fmla="*/ 98637714 h 900"/>
              <a:gd name="T106" fmla="*/ 178138851 w 1156"/>
              <a:gd name="T107" fmla="*/ 92282740 h 900"/>
              <a:gd name="T108" fmla="*/ 181929244 w 1156"/>
              <a:gd name="T109" fmla="*/ 80954697 h 900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1156" h="900">
                <a:moveTo>
                  <a:pt x="963" y="271"/>
                </a:moveTo>
                <a:lnTo>
                  <a:pt x="954" y="252"/>
                </a:lnTo>
                <a:lnTo>
                  <a:pt x="948" y="234"/>
                </a:lnTo>
                <a:lnTo>
                  <a:pt x="941" y="213"/>
                </a:lnTo>
                <a:lnTo>
                  <a:pt x="937" y="191"/>
                </a:lnTo>
                <a:lnTo>
                  <a:pt x="928" y="191"/>
                </a:lnTo>
                <a:lnTo>
                  <a:pt x="920" y="190"/>
                </a:lnTo>
                <a:lnTo>
                  <a:pt x="913" y="189"/>
                </a:lnTo>
                <a:lnTo>
                  <a:pt x="906" y="187"/>
                </a:lnTo>
                <a:lnTo>
                  <a:pt x="893" y="183"/>
                </a:lnTo>
                <a:lnTo>
                  <a:pt x="881" y="177"/>
                </a:lnTo>
                <a:lnTo>
                  <a:pt x="859" y="162"/>
                </a:lnTo>
                <a:lnTo>
                  <a:pt x="839" y="145"/>
                </a:lnTo>
                <a:lnTo>
                  <a:pt x="828" y="137"/>
                </a:lnTo>
                <a:lnTo>
                  <a:pt x="816" y="129"/>
                </a:lnTo>
                <a:lnTo>
                  <a:pt x="803" y="122"/>
                </a:lnTo>
                <a:lnTo>
                  <a:pt x="789" y="116"/>
                </a:lnTo>
                <a:lnTo>
                  <a:pt x="773" y="111"/>
                </a:lnTo>
                <a:lnTo>
                  <a:pt x="755" y="106"/>
                </a:lnTo>
                <a:lnTo>
                  <a:pt x="745" y="105"/>
                </a:lnTo>
                <a:lnTo>
                  <a:pt x="734" y="104"/>
                </a:lnTo>
                <a:lnTo>
                  <a:pt x="723" y="104"/>
                </a:lnTo>
                <a:lnTo>
                  <a:pt x="711" y="104"/>
                </a:lnTo>
                <a:lnTo>
                  <a:pt x="617" y="104"/>
                </a:lnTo>
                <a:lnTo>
                  <a:pt x="609" y="113"/>
                </a:lnTo>
                <a:lnTo>
                  <a:pt x="587" y="129"/>
                </a:lnTo>
                <a:lnTo>
                  <a:pt x="576" y="138"/>
                </a:lnTo>
                <a:lnTo>
                  <a:pt x="565" y="146"/>
                </a:lnTo>
                <a:lnTo>
                  <a:pt x="556" y="152"/>
                </a:lnTo>
                <a:lnTo>
                  <a:pt x="551" y="154"/>
                </a:lnTo>
                <a:lnTo>
                  <a:pt x="542" y="155"/>
                </a:lnTo>
                <a:lnTo>
                  <a:pt x="532" y="157"/>
                </a:lnTo>
                <a:lnTo>
                  <a:pt x="522" y="159"/>
                </a:lnTo>
                <a:lnTo>
                  <a:pt x="512" y="160"/>
                </a:lnTo>
                <a:lnTo>
                  <a:pt x="518" y="173"/>
                </a:lnTo>
                <a:lnTo>
                  <a:pt x="504" y="179"/>
                </a:lnTo>
                <a:lnTo>
                  <a:pt x="490" y="184"/>
                </a:lnTo>
                <a:lnTo>
                  <a:pt x="478" y="188"/>
                </a:lnTo>
                <a:lnTo>
                  <a:pt x="465" y="192"/>
                </a:lnTo>
                <a:lnTo>
                  <a:pt x="453" y="194"/>
                </a:lnTo>
                <a:lnTo>
                  <a:pt x="439" y="196"/>
                </a:lnTo>
                <a:lnTo>
                  <a:pt x="426" y="197"/>
                </a:lnTo>
                <a:lnTo>
                  <a:pt x="412" y="197"/>
                </a:lnTo>
                <a:lnTo>
                  <a:pt x="405" y="198"/>
                </a:lnTo>
                <a:lnTo>
                  <a:pt x="398" y="199"/>
                </a:lnTo>
                <a:lnTo>
                  <a:pt x="393" y="200"/>
                </a:lnTo>
                <a:lnTo>
                  <a:pt x="389" y="200"/>
                </a:lnTo>
                <a:lnTo>
                  <a:pt x="383" y="199"/>
                </a:lnTo>
                <a:lnTo>
                  <a:pt x="379" y="197"/>
                </a:lnTo>
                <a:lnTo>
                  <a:pt x="371" y="194"/>
                </a:lnTo>
                <a:lnTo>
                  <a:pt x="367" y="190"/>
                </a:lnTo>
                <a:lnTo>
                  <a:pt x="363" y="184"/>
                </a:lnTo>
                <a:lnTo>
                  <a:pt x="358" y="179"/>
                </a:lnTo>
                <a:lnTo>
                  <a:pt x="355" y="173"/>
                </a:lnTo>
                <a:lnTo>
                  <a:pt x="351" y="168"/>
                </a:lnTo>
                <a:lnTo>
                  <a:pt x="345" y="163"/>
                </a:lnTo>
                <a:lnTo>
                  <a:pt x="338" y="160"/>
                </a:lnTo>
                <a:lnTo>
                  <a:pt x="316" y="153"/>
                </a:lnTo>
                <a:lnTo>
                  <a:pt x="280" y="142"/>
                </a:lnTo>
                <a:lnTo>
                  <a:pt x="260" y="136"/>
                </a:lnTo>
                <a:lnTo>
                  <a:pt x="244" y="128"/>
                </a:lnTo>
                <a:lnTo>
                  <a:pt x="237" y="124"/>
                </a:lnTo>
                <a:lnTo>
                  <a:pt x="232" y="120"/>
                </a:lnTo>
                <a:lnTo>
                  <a:pt x="228" y="116"/>
                </a:lnTo>
                <a:lnTo>
                  <a:pt x="225" y="111"/>
                </a:lnTo>
                <a:lnTo>
                  <a:pt x="228" y="86"/>
                </a:lnTo>
                <a:lnTo>
                  <a:pt x="228" y="65"/>
                </a:lnTo>
                <a:lnTo>
                  <a:pt x="228" y="56"/>
                </a:lnTo>
                <a:lnTo>
                  <a:pt x="226" y="46"/>
                </a:lnTo>
                <a:lnTo>
                  <a:pt x="224" y="37"/>
                </a:lnTo>
                <a:lnTo>
                  <a:pt x="222" y="30"/>
                </a:lnTo>
                <a:lnTo>
                  <a:pt x="220" y="23"/>
                </a:lnTo>
                <a:lnTo>
                  <a:pt x="217" y="17"/>
                </a:lnTo>
                <a:lnTo>
                  <a:pt x="212" y="12"/>
                </a:lnTo>
                <a:lnTo>
                  <a:pt x="207" y="8"/>
                </a:lnTo>
                <a:lnTo>
                  <a:pt x="201" y="5"/>
                </a:lnTo>
                <a:lnTo>
                  <a:pt x="195" y="2"/>
                </a:lnTo>
                <a:lnTo>
                  <a:pt x="188" y="1"/>
                </a:lnTo>
                <a:lnTo>
                  <a:pt x="179" y="0"/>
                </a:lnTo>
                <a:lnTo>
                  <a:pt x="174" y="1"/>
                </a:lnTo>
                <a:lnTo>
                  <a:pt x="168" y="3"/>
                </a:lnTo>
                <a:lnTo>
                  <a:pt x="164" y="7"/>
                </a:lnTo>
                <a:lnTo>
                  <a:pt x="161" y="11"/>
                </a:lnTo>
                <a:lnTo>
                  <a:pt x="155" y="21"/>
                </a:lnTo>
                <a:lnTo>
                  <a:pt x="151" y="34"/>
                </a:lnTo>
                <a:lnTo>
                  <a:pt x="147" y="46"/>
                </a:lnTo>
                <a:lnTo>
                  <a:pt x="144" y="57"/>
                </a:lnTo>
                <a:lnTo>
                  <a:pt x="142" y="62"/>
                </a:lnTo>
                <a:lnTo>
                  <a:pt x="139" y="65"/>
                </a:lnTo>
                <a:lnTo>
                  <a:pt x="136" y="67"/>
                </a:lnTo>
                <a:lnTo>
                  <a:pt x="133" y="68"/>
                </a:lnTo>
                <a:lnTo>
                  <a:pt x="125" y="68"/>
                </a:lnTo>
                <a:lnTo>
                  <a:pt x="118" y="66"/>
                </a:lnTo>
                <a:lnTo>
                  <a:pt x="109" y="64"/>
                </a:lnTo>
                <a:lnTo>
                  <a:pt x="100" y="62"/>
                </a:lnTo>
                <a:lnTo>
                  <a:pt x="79" y="54"/>
                </a:lnTo>
                <a:lnTo>
                  <a:pt x="58" y="46"/>
                </a:lnTo>
                <a:lnTo>
                  <a:pt x="39" y="38"/>
                </a:lnTo>
                <a:lnTo>
                  <a:pt x="21" y="29"/>
                </a:lnTo>
                <a:lnTo>
                  <a:pt x="15" y="24"/>
                </a:lnTo>
                <a:lnTo>
                  <a:pt x="8" y="20"/>
                </a:lnTo>
                <a:lnTo>
                  <a:pt x="4" y="16"/>
                </a:lnTo>
                <a:lnTo>
                  <a:pt x="0" y="12"/>
                </a:lnTo>
                <a:lnTo>
                  <a:pt x="0" y="25"/>
                </a:lnTo>
                <a:lnTo>
                  <a:pt x="0" y="37"/>
                </a:lnTo>
                <a:lnTo>
                  <a:pt x="0" y="49"/>
                </a:lnTo>
                <a:lnTo>
                  <a:pt x="1" y="62"/>
                </a:lnTo>
                <a:lnTo>
                  <a:pt x="5" y="72"/>
                </a:lnTo>
                <a:lnTo>
                  <a:pt x="7" y="81"/>
                </a:lnTo>
                <a:lnTo>
                  <a:pt x="15" y="96"/>
                </a:lnTo>
                <a:lnTo>
                  <a:pt x="24" y="111"/>
                </a:lnTo>
                <a:lnTo>
                  <a:pt x="33" y="124"/>
                </a:lnTo>
                <a:lnTo>
                  <a:pt x="42" y="138"/>
                </a:lnTo>
                <a:lnTo>
                  <a:pt x="45" y="146"/>
                </a:lnTo>
                <a:lnTo>
                  <a:pt x="49" y="156"/>
                </a:lnTo>
                <a:lnTo>
                  <a:pt x="52" y="167"/>
                </a:lnTo>
                <a:lnTo>
                  <a:pt x="53" y="179"/>
                </a:lnTo>
                <a:lnTo>
                  <a:pt x="60" y="179"/>
                </a:lnTo>
                <a:lnTo>
                  <a:pt x="64" y="190"/>
                </a:lnTo>
                <a:lnTo>
                  <a:pt x="73" y="205"/>
                </a:lnTo>
                <a:lnTo>
                  <a:pt x="83" y="223"/>
                </a:lnTo>
                <a:lnTo>
                  <a:pt x="96" y="241"/>
                </a:lnTo>
                <a:lnTo>
                  <a:pt x="109" y="258"/>
                </a:lnTo>
                <a:lnTo>
                  <a:pt x="122" y="273"/>
                </a:lnTo>
                <a:lnTo>
                  <a:pt x="129" y="280"/>
                </a:lnTo>
                <a:lnTo>
                  <a:pt x="135" y="284"/>
                </a:lnTo>
                <a:lnTo>
                  <a:pt x="141" y="288"/>
                </a:lnTo>
                <a:lnTo>
                  <a:pt x="146" y="290"/>
                </a:lnTo>
                <a:lnTo>
                  <a:pt x="139" y="296"/>
                </a:lnTo>
                <a:lnTo>
                  <a:pt x="130" y="304"/>
                </a:lnTo>
                <a:lnTo>
                  <a:pt x="127" y="310"/>
                </a:lnTo>
                <a:lnTo>
                  <a:pt x="122" y="316"/>
                </a:lnTo>
                <a:lnTo>
                  <a:pt x="120" y="324"/>
                </a:lnTo>
                <a:lnTo>
                  <a:pt x="120" y="332"/>
                </a:lnTo>
                <a:lnTo>
                  <a:pt x="120" y="341"/>
                </a:lnTo>
                <a:lnTo>
                  <a:pt x="123" y="350"/>
                </a:lnTo>
                <a:lnTo>
                  <a:pt x="128" y="360"/>
                </a:lnTo>
                <a:lnTo>
                  <a:pt x="133" y="370"/>
                </a:lnTo>
                <a:lnTo>
                  <a:pt x="140" y="380"/>
                </a:lnTo>
                <a:lnTo>
                  <a:pt x="147" y="391"/>
                </a:lnTo>
                <a:lnTo>
                  <a:pt x="157" y="401"/>
                </a:lnTo>
                <a:lnTo>
                  <a:pt x="167" y="410"/>
                </a:lnTo>
                <a:lnTo>
                  <a:pt x="177" y="420"/>
                </a:lnTo>
                <a:lnTo>
                  <a:pt x="188" y="428"/>
                </a:lnTo>
                <a:lnTo>
                  <a:pt x="200" y="436"/>
                </a:lnTo>
                <a:lnTo>
                  <a:pt x="212" y="442"/>
                </a:lnTo>
                <a:lnTo>
                  <a:pt x="224" y="449"/>
                </a:lnTo>
                <a:lnTo>
                  <a:pt x="236" y="453"/>
                </a:lnTo>
                <a:lnTo>
                  <a:pt x="247" y="455"/>
                </a:lnTo>
                <a:lnTo>
                  <a:pt x="259" y="456"/>
                </a:lnTo>
                <a:lnTo>
                  <a:pt x="260" y="469"/>
                </a:lnTo>
                <a:lnTo>
                  <a:pt x="264" y="483"/>
                </a:lnTo>
                <a:lnTo>
                  <a:pt x="265" y="490"/>
                </a:lnTo>
                <a:lnTo>
                  <a:pt x="265" y="500"/>
                </a:lnTo>
                <a:lnTo>
                  <a:pt x="263" y="511"/>
                </a:lnTo>
                <a:lnTo>
                  <a:pt x="259" y="524"/>
                </a:lnTo>
                <a:lnTo>
                  <a:pt x="305" y="573"/>
                </a:lnTo>
                <a:lnTo>
                  <a:pt x="312" y="574"/>
                </a:lnTo>
                <a:lnTo>
                  <a:pt x="319" y="576"/>
                </a:lnTo>
                <a:lnTo>
                  <a:pt x="324" y="578"/>
                </a:lnTo>
                <a:lnTo>
                  <a:pt x="330" y="580"/>
                </a:lnTo>
                <a:lnTo>
                  <a:pt x="335" y="581"/>
                </a:lnTo>
                <a:lnTo>
                  <a:pt x="342" y="581"/>
                </a:lnTo>
                <a:lnTo>
                  <a:pt x="349" y="578"/>
                </a:lnTo>
                <a:lnTo>
                  <a:pt x="358" y="573"/>
                </a:lnTo>
                <a:lnTo>
                  <a:pt x="372" y="593"/>
                </a:lnTo>
                <a:lnTo>
                  <a:pt x="404" y="639"/>
                </a:lnTo>
                <a:lnTo>
                  <a:pt x="423" y="664"/>
                </a:lnTo>
                <a:lnTo>
                  <a:pt x="439" y="687"/>
                </a:lnTo>
                <a:lnTo>
                  <a:pt x="447" y="697"/>
                </a:lnTo>
                <a:lnTo>
                  <a:pt x="455" y="705"/>
                </a:lnTo>
                <a:lnTo>
                  <a:pt x="460" y="711"/>
                </a:lnTo>
                <a:lnTo>
                  <a:pt x="465" y="714"/>
                </a:lnTo>
                <a:lnTo>
                  <a:pt x="471" y="720"/>
                </a:lnTo>
                <a:lnTo>
                  <a:pt x="479" y="727"/>
                </a:lnTo>
                <a:lnTo>
                  <a:pt x="483" y="729"/>
                </a:lnTo>
                <a:lnTo>
                  <a:pt x="488" y="731"/>
                </a:lnTo>
                <a:lnTo>
                  <a:pt x="493" y="733"/>
                </a:lnTo>
                <a:lnTo>
                  <a:pt x="498" y="733"/>
                </a:lnTo>
                <a:lnTo>
                  <a:pt x="504" y="733"/>
                </a:lnTo>
                <a:lnTo>
                  <a:pt x="512" y="733"/>
                </a:lnTo>
                <a:lnTo>
                  <a:pt x="522" y="733"/>
                </a:lnTo>
                <a:lnTo>
                  <a:pt x="532" y="733"/>
                </a:lnTo>
                <a:lnTo>
                  <a:pt x="533" y="741"/>
                </a:lnTo>
                <a:lnTo>
                  <a:pt x="537" y="748"/>
                </a:lnTo>
                <a:lnTo>
                  <a:pt x="542" y="755"/>
                </a:lnTo>
                <a:lnTo>
                  <a:pt x="547" y="761"/>
                </a:lnTo>
                <a:lnTo>
                  <a:pt x="554" y="766"/>
                </a:lnTo>
                <a:lnTo>
                  <a:pt x="561" y="771"/>
                </a:lnTo>
                <a:lnTo>
                  <a:pt x="570" y="776"/>
                </a:lnTo>
                <a:lnTo>
                  <a:pt x="579" y="781"/>
                </a:lnTo>
                <a:lnTo>
                  <a:pt x="598" y="787"/>
                </a:lnTo>
                <a:lnTo>
                  <a:pt x="616" y="791"/>
                </a:lnTo>
                <a:lnTo>
                  <a:pt x="635" y="794"/>
                </a:lnTo>
                <a:lnTo>
                  <a:pt x="651" y="795"/>
                </a:lnTo>
                <a:lnTo>
                  <a:pt x="663" y="795"/>
                </a:lnTo>
                <a:lnTo>
                  <a:pt x="671" y="795"/>
                </a:lnTo>
                <a:lnTo>
                  <a:pt x="685" y="795"/>
                </a:lnTo>
                <a:lnTo>
                  <a:pt x="700" y="793"/>
                </a:lnTo>
                <a:lnTo>
                  <a:pt x="706" y="792"/>
                </a:lnTo>
                <a:lnTo>
                  <a:pt x="713" y="790"/>
                </a:lnTo>
                <a:lnTo>
                  <a:pt x="718" y="787"/>
                </a:lnTo>
                <a:lnTo>
                  <a:pt x="724" y="783"/>
                </a:lnTo>
                <a:lnTo>
                  <a:pt x="732" y="780"/>
                </a:lnTo>
                <a:lnTo>
                  <a:pt x="742" y="773"/>
                </a:lnTo>
                <a:lnTo>
                  <a:pt x="749" y="769"/>
                </a:lnTo>
                <a:lnTo>
                  <a:pt x="756" y="766"/>
                </a:lnTo>
                <a:lnTo>
                  <a:pt x="763" y="764"/>
                </a:lnTo>
                <a:lnTo>
                  <a:pt x="771" y="764"/>
                </a:lnTo>
                <a:lnTo>
                  <a:pt x="779" y="764"/>
                </a:lnTo>
                <a:lnTo>
                  <a:pt x="785" y="767"/>
                </a:lnTo>
                <a:lnTo>
                  <a:pt x="790" y="771"/>
                </a:lnTo>
                <a:lnTo>
                  <a:pt x="794" y="775"/>
                </a:lnTo>
                <a:lnTo>
                  <a:pt x="796" y="782"/>
                </a:lnTo>
                <a:lnTo>
                  <a:pt x="798" y="789"/>
                </a:lnTo>
                <a:lnTo>
                  <a:pt x="801" y="796"/>
                </a:lnTo>
                <a:lnTo>
                  <a:pt x="802" y="804"/>
                </a:lnTo>
                <a:lnTo>
                  <a:pt x="803" y="820"/>
                </a:lnTo>
                <a:lnTo>
                  <a:pt x="805" y="837"/>
                </a:lnTo>
                <a:lnTo>
                  <a:pt x="807" y="845"/>
                </a:lnTo>
                <a:lnTo>
                  <a:pt x="809" y="851"/>
                </a:lnTo>
                <a:lnTo>
                  <a:pt x="813" y="857"/>
                </a:lnTo>
                <a:lnTo>
                  <a:pt x="817" y="862"/>
                </a:lnTo>
                <a:lnTo>
                  <a:pt x="822" y="865"/>
                </a:lnTo>
                <a:lnTo>
                  <a:pt x="828" y="867"/>
                </a:lnTo>
                <a:lnTo>
                  <a:pt x="838" y="869"/>
                </a:lnTo>
                <a:lnTo>
                  <a:pt x="849" y="871"/>
                </a:lnTo>
                <a:lnTo>
                  <a:pt x="874" y="874"/>
                </a:lnTo>
                <a:lnTo>
                  <a:pt x="897" y="875"/>
                </a:lnTo>
                <a:lnTo>
                  <a:pt x="925" y="876"/>
                </a:lnTo>
                <a:lnTo>
                  <a:pt x="948" y="878"/>
                </a:lnTo>
                <a:lnTo>
                  <a:pt x="970" y="882"/>
                </a:lnTo>
                <a:lnTo>
                  <a:pt x="991" y="887"/>
                </a:lnTo>
                <a:lnTo>
                  <a:pt x="1011" y="892"/>
                </a:lnTo>
                <a:lnTo>
                  <a:pt x="1035" y="896"/>
                </a:lnTo>
                <a:lnTo>
                  <a:pt x="1047" y="898"/>
                </a:lnTo>
                <a:lnTo>
                  <a:pt x="1060" y="899"/>
                </a:lnTo>
                <a:lnTo>
                  <a:pt x="1074" y="900"/>
                </a:lnTo>
                <a:lnTo>
                  <a:pt x="1089" y="900"/>
                </a:lnTo>
                <a:lnTo>
                  <a:pt x="1091" y="879"/>
                </a:lnTo>
                <a:lnTo>
                  <a:pt x="1093" y="865"/>
                </a:lnTo>
                <a:lnTo>
                  <a:pt x="1095" y="854"/>
                </a:lnTo>
                <a:lnTo>
                  <a:pt x="1096" y="844"/>
                </a:lnTo>
                <a:lnTo>
                  <a:pt x="1096" y="840"/>
                </a:lnTo>
                <a:lnTo>
                  <a:pt x="1097" y="836"/>
                </a:lnTo>
                <a:lnTo>
                  <a:pt x="1099" y="831"/>
                </a:lnTo>
                <a:lnTo>
                  <a:pt x="1102" y="827"/>
                </a:lnTo>
                <a:lnTo>
                  <a:pt x="1108" y="820"/>
                </a:lnTo>
                <a:lnTo>
                  <a:pt x="1116" y="814"/>
                </a:lnTo>
                <a:lnTo>
                  <a:pt x="1136" y="802"/>
                </a:lnTo>
                <a:lnTo>
                  <a:pt x="1156" y="789"/>
                </a:lnTo>
                <a:lnTo>
                  <a:pt x="1156" y="770"/>
                </a:lnTo>
                <a:lnTo>
                  <a:pt x="1151" y="769"/>
                </a:lnTo>
                <a:lnTo>
                  <a:pt x="1147" y="768"/>
                </a:lnTo>
                <a:lnTo>
                  <a:pt x="1143" y="766"/>
                </a:lnTo>
                <a:lnTo>
                  <a:pt x="1140" y="764"/>
                </a:lnTo>
                <a:lnTo>
                  <a:pt x="1136" y="758"/>
                </a:lnTo>
                <a:lnTo>
                  <a:pt x="1132" y="750"/>
                </a:lnTo>
                <a:lnTo>
                  <a:pt x="1130" y="734"/>
                </a:lnTo>
                <a:lnTo>
                  <a:pt x="1129" y="720"/>
                </a:lnTo>
                <a:lnTo>
                  <a:pt x="1121" y="719"/>
                </a:lnTo>
                <a:lnTo>
                  <a:pt x="1114" y="717"/>
                </a:lnTo>
                <a:lnTo>
                  <a:pt x="1105" y="713"/>
                </a:lnTo>
                <a:lnTo>
                  <a:pt x="1096" y="708"/>
                </a:lnTo>
                <a:lnTo>
                  <a:pt x="1087" y="701"/>
                </a:lnTo>
                <a:lnTo>
                  <a:pt x="1077" y="694"/>
                </a:lnTo>
                <a:lnTo>
                  <a:pt x="1069" y="686"/>
                </a:lnTo>
                <a:lnTo>
                  <a:pt x="1061" y="678"/>
                </a:lnTo>
                <a:lnTo>
                  <a:pt x="1044" y="660"/>
                </a:lnTo>
                <a:lnTo>
                  <a:pt x="1031" y="643"/>
                </a:lnTo>
                <a:lnTo>
                  <a:pt x="1026" y="635"/>
                </a:lnTo>
                <a:lnTo>
                  <a:pt x="1021" y="628"/>
                </a:lnTo>
                <a:lnTo>
                  <a:pt x="1018" y="622"/>
                </a:lnTo>
                <a:lnTo>
                  <a:pt x="1016" y="616"/>
                </a:lnTo>
                <a:lnTo>
                  <a:pt x="1017" y="609"/>
                </a:lnTo>
                <a:lnTo>
                  <a:pt x="1018" y="603"/>
                </a:lnTo>
                <a:lnTo>
                  <a:pt x="1019" y="598"/>
                </a:lnTo>
                <a:lnTo>
                  <a:pt x="1021" y="593"/>
                </a:lnTo>
                <a:lnTo>
                  <a:pt x="1027" y="584"/>
                </a:lnTo>
                <a:lnTo>
                  <a:pt x="1033" y="576"/>
                </a:lnTo>
                <a:lnTo>
                  <a:pt x="1039" y="568"/>
                </a:lnTo>
                <a:lnTo>
                  <a:pt x="1044" y="559"/>
                </a:lnTo>
                <a:lnTo>
                  <a:pt x="1047" y="553"/>
                </a:lnTo>
                <a:lnTo>
                  <a:pt x="1048" y="548"/>
                </a:lnTo>
                <a:lnTo>
                  <a:pt x="1049" y="542"/>
                </a:lnTo>
                <a:lnTo>
                  <a:pt x="1050" y="536"/>
                </a:lnTo>
                <a:lnTo>
                  <a:pt x="1049" y="531"/>
                </a:lnTo>
                <a:lnTo>
                  <a:pt x="1048" y="526"/>
                </a:lnTo>
                <a:lnTo>
                  <a:pt x="1047" y="522"/>
                </a:lnTo>
                <a:lnTo>
                  <a:pt x="1044" y="519"/>
                </a:lnTo>
                <a:lnTo>
                  <a:pt x="1041" y="517"/>
                </a:lnTo>
                <a:lnTo>
                  <a:pt x="1038" y="515"/>
                </a:lnTo>
                <a:lnTo>
                  <a:pt x="1035" y="513"/>
                </a:lnTo>
                <a:lnTo>
                  <a:pt x="1030" y="512"/>
                </a:lnTo>
                <a:lnTo>
                  <a:pt x="1013" y="511"/>
                </a:lnTo>
                <a:lnTo>
                  <a:pt x="996" y="512"/>
                </a:lnTo>
                <a:lnTo>
                  <a:pt x="993" y="511"/>
                </a:lnTo>
                <a:lnTo>
                  <a:pt x="990" y="510"/>
                </a:lnTo>
                <a:lnTo>
                  <a:pt x="986" y="509"/>
                </a:lnTo>
                <a:lnTo>
                  <a:pt x="983" y="507"/>
                </a:lnTo>
                <a:lnTo>
                  <a:pt x="976" y="501"/>
                </a:lnTo>
                <a:lnTo>
                  <a:pt x="971" y="493"/>
                </a:lnTo>
                <a:lnTo>
                  <a:pt x="966" y="485"/>
                </a:lnTo>
                <a:lnTo>
                  <a:pt x="962" y="475"/>
                </a:lnTo>
                <a:lnTo>
                  <a:pt x="958" y="464"/>
                </a:lnTo>
                <a:lnTo>
                  <a:pt x="954" y="453"/>
                </a:lnTo>
                <a:lnTo>
                  <a:pt x="950" y="429"/>
                </a:lnTo>
                <a:lnTo>
                  <a:pt x="946" y="407"/>
                </a:lnTo>
                <a:lnTo>
                  <a:pt x="943" y="389"/>
                </a:lnTo>
                <a:lnTo>
                  <a:pt x="943" y="375"/>
                </a:lnTo>
                <a:lnTo>
                  <a:pt x="940" y="375"/>
                </a:lnTo>
                <a:lnTo>
                  <a:pt x="937" y="373"/>
                </a:lnTo>
                <a:lnTo>
                  <a:pt x="934" y="371"/>
                </a:lnTo>
                <a:lnTo>
                  <a:pt x="931" y="369"/>
                </a:lnTo>
                <a:lnTo>
                  <a:pt x="928" y="366"/>
                </a:lnTo>
                <a:lnTo>
                  <a:pt x="926" y="363"/>
                </a:lnTo>
                <a:lnTo>
                  <a:pt x="924" y="360"/>
                </a:lnTo>
                <a:lnTo>
                  <a:pt x="924" y="357"/>
                </a:lnTo>
                <a:lnTo>
                  <a:pt x="924" y="354"/>
                </a:lnTo>
                <a:lnTo>
                  <a:pt x="925" y="351"/>
                </a:lnTo>
                <a:lnTo>
                  <a:pt x="926" y="348"/>
                </a:lnTo>
                <a:lnTo>
                  <a:pt x="928" y="345"/>
                </a:lnTo>
                <a:lnTo>
                  <a:pt x="934" y="339"/>
                </a:lnTo>
                <a:lnTo>
                  <a:pt x="940" y="334"/>
                </a:lnTo>
                <a:lnTo>
                  <a:pt x="946" y="328"/>
                </a:lnTo>
                <a:lnTo>
                  <a:pt x="951" y="323"/>
                </a:lnTo>
                <a:lnTo>
                  <a:pt x="955" y="318"/>
                </a:lnTo>
                <a:lnTo>
                  <a:pt x="957" y="314"/>
                </a:lnTo>
                <a:lnTo>
                  <a:pt x="958" y="301"/>
                </a:lnTo>
                <a:lnTo>
                  <a:pt x="960" y="293"/>
                </a:lnTo>
                <a:lnTo>
                  <a:pt x="962" y="285"/>
                </a:lnTo>
                <a:lnTo>
                  <a:pt x="963" y="27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 dirty="0"/>
          </a:p>
        </p:txBody>
      </p:sp>
      <p:sp>
        <p:nvSpPr>
          <p:cNvPr id="58" name="Freeform 259"/>
          <p:cNvSpPr>
            <a:spLocks/>
          </p:cNvSpPr>
          <p:nvPr>
            <p:custDataLst>
              <p:tags r:id="rId38"/>
            </p:custDataLst>
          </p:nvPr>
        </p:nvSpPr>
        <p:spPr bwMode="auto">
          <a:xfrm>
            <a:off x="2195190" y="4347538"/>
            <a:ext cx="275590" cy="359448"/>
          </a:xfrm>
          <a:custGeom>
            <a:avLst/>
            <a:gdLst>
              <a:gd name="T0" fmla="*/ 85990391 w 524"/>
              <a:gd name="T1" fmla="*/ 100754218 h 505"/>
              <a:gd name="T2" fmla="*/ 87069406 w 524"/>
              <a:gd name="T3" fmla="*/ 94218798 h 505"/>
              <a:gd name="T4" fmla="*/ 86889571 w 524"/>
              <a:gd name="T5" fmla="*/ 89589629 h 505"/>
              <a:gd name="T6" fmla="*/ 85990391 w 524"/>
              <a:gd name="T7" fmla="*/ 82237020 h 505"/>
              <a:gd name="T8" fmla="*/ 81852469 w 524"/>
              <a:gd name="T9" fmla="*/ 81420354 h 505"/>
              <a:gd name="T10" fmla="*/ 77535136 w 524"/>
              <a:gd name="T11" fmla="*/ 78425040 h 505"/>
              <a:gd name="T12" fmla="*/ 73217378 w 524"/>
              <a:gd name="T13" fmla="*/ 74612538 h 505"/>
              <a:gd name="T14" fmla="*/ 69439977 w 524"/>
              <a:gd name="T15" fmla="*/ 69710973 h 505"/>
              <a:gd name="T16" fmla="*/ 65841987 w 524"/>
              <a:gd name="T17" fmla="*/ 64537012 h 505"/>
              <a:gd name="T18" fmla="*/ 63323436 w 524"/>
              <a:gd name="T19" fmla="*/ 58818780 h 505"/>
              <a:gd name="T20" fmla="*/ 61524229 w 524"/>
              <a:gd name="T21" fmla="*/ 53372423 h 505"/>
              <a:gd name="T22" fmla="*/ 60984721 w 524"/>
              <a:gd name="T23" fmla="*/ 48470858 h 505"/>
              <a:gd name="T24" fmla="*/ 61344393 w 524"/>
              <a:gd name="T25" fmla="*/ 44114085 h 505"/>
              <a:gd name="T26" fmla="*/ 62783504 w 524"/>
              <a:gd name="T27" fmla="*/ 40846375 h 505"/>
              <a:gd name="T28" fmla="*/ 65662151 w 524"/>
              <a:gd name="T29" fmla="*/ 37033873 h 505"/>
              <a:gd name="T30" fmla="*/ 63683108 w 524"/>
              <a:gd name="T31" fmla="*/ 35400018 h 505"/>
              <a:gd name="T32" fmla="*/ 61344393 w 524"/>
              <a:gd name="T33" fmla="*/ 32404704 h 505"/>
              <a:gd name="T34" fmla="*/ 56666964 w 524"/>
              <a:gd name="T35" fmla="*/ 23690637 h 505"/>
              <a:gd name="T36" fmla="*/ 52529466 w 524"/>
              <a:gd name="T37" fmla="*/ 13887507 h 505"/>
              <a:gd name="T38" fmla="*/ 50190751 w 524"/>
              <a:gd name="T39" fmla="*/ 6807816 h 505"/>
              <a:gd name="T40" fmla="*/ 46773021 w 524"/>
              <a:gd name="T41" fmla="*/ 6535420 h 505"/>
              <a:gd name="T42" fmla="*/ 42995196 w 524"/>
              <a:gd name="T43" fmla="*/ 5173961 h 505"/>
              <a:gd name="T44" fmla="*/ 39397206 w 524"/>
              <a:gd name="T45" fmla="*/ 2995314 h 505"/>
              <a:gd name="T46" fmla="*/ 35439544 w 524"/>
              <a:gd name="T47" fmla="*/ 1633855 h 505"/>
              <a:gd name="T48" fmla="*/ 30582279 w 524"/>
              <a:gd name="T49" fmla="*/ 816667 h 505"/>
              <a:gd name="T50" fmla="*/ 26804453 w 524"/>
              <a:gd name="T51" fmla="*/ 2178647 h 505"/>
              <a:gd name="T52" fmla="*/ 20508076 w 524"/>
              <a:gd name="T53" fmla="*/ 11164589 h 505"/>
              <a:gd name="T54" fmla="*/ 17629854 w 524"/>
              <a:gd name="T55" fmla="*/ 15521362 h 505"/>
              <a:gd name="T56" fmla="*/ 16730250 w 524"/>
              <a:gd name="T57" fmla="*/ 17427613 h 505"/>
              <a:gd name="T58" fmla="*/ 16910086 w 524"/>
              <a:gd name="T59" fmla="*/ 25596888 h 505"/>
              <a:gd name="T60" fmla="*/ 17089922 w 524"/>
              <a:gd name="T61" fmla="*/ 38122935 h 505"/>
              <a:gd name="T62" fmla="*/ 16910086 w 524"/>
              <a:gd name="T63" fmla="*/ 44658355 h 505"/>
              <a:gd name="T64" fmla="*/ 15470975 w 524"/>
              <a:gd name="T65" fmla="*/ 49015650 h 505"/>
              <a:gd name="T66" fmla="*/ 12052821 w 524"/>
              <a:gd name="T67" fmla="*/ 53644819 h 505"/>
              <a:gd name="T68" fmla="*/ 7195980 w 524"/>
              <a:gd name="T69" fmla="*/ 58273988 h 505"/>
              <a:gd name="T70" fmla="*/ 2338715 w 524"/>
              <a:gd name="T71" fmla="*/ 62086490 h 505"/>
              <a:gd name="T72" fmla="*/ 359672 w 524"/>
              <a:gd name="T73" fmla="*/ 66988055 h 505"/>
              <a:gd name="T74" fmla="*/ 359672 w 524"/>
              <a:gd name="T75" fmla="*/ 71889620 h 505"/>
              <a:gd name="T76" fmla="*/ 0 w 524"/>
              <a:gd name="T77" fmla="*/ 75701600 h 505"/>
              <a:gd name="T78" fmla="*/ 0 w 524"/>
              <a:gd name="T79" fmla="*/ 78696914 h 505"/>
              <a:gd name="T80" fmla="*/ 1259275 w 524"/>
              <a:gd name="T81" fmla="*/ 81964624 h 505"/>
              <a:gd name="T82" fmla="*/ 4677429 w 524"/>
              <a:gd name="T83" fmla="*/ 85504730 h 505"/>
              <a:gd name="T84" fmla="*/ 11153642 w 524"/>
              <a:gd name="T85" fmla="*/ 90133899 h 505"/>
              <a:gd name="T86" fmla="*/ 21587516 w 524"/>
              <a:gd name="T87" fmla="*/ 96669319 h 505"/>
              <a:gd name="T88" fmla="*/ 32381062 w 524"/>
              <a:gd name="T89" fmla="*/ 101843280 h 505"/>
              <a:gd name="T90" fmla="*/ 38497602 w 524"/>
              <a:gd name="T91" fmla="*/ 104838594 h 505"/>
              <a:gd name="T92" fmla="*/ 42635100 w 524"/>
              <a:gd name="T93" fmla="*/ 108923493 h 505"/>
              <a:gd name="T94" fmla="*/ 45333910 w 524"/>
              <a:gd name="T95" fmla="*/ 113825058 h 505"/>
              <a:gd name="T96" fmla="*/ 47132693 w 524"/>
              <a:gd name="T97" fmla="*/ 118454227 h 505"/>
              <a:gd name="T98" fmla="*/ 47852461 w 524"/>
              <a:gd name="T99" fmla="*/ 122810999 h 505"/>
              <a:gd name="T100" fmla="*/ 48571804 w 524"/>
              <a:gd name="T101" fmla="*/ 127712564 h 505"/>
              <a:gd name="T102" fmla="*/ 49831080 w 524"/>
              <a:gd name="T103" fmla="*/ 130980274 h 505"/>
              <a:gd name="T104" fmla="*/ 51630287 w 524"/>
              <a:gd name="T105" fmla="*/ 133158922 h 505"/>
              <a:gd name="T106" fmla="*/ 55227853 w 524"/>
              <a:gd name="T107" fmla="*/ 135337047 h 505"/>
              <a:gd name="T108" fmla="*/ 59005678 w 524"/>
              <a:gd name="T109" fmla="*/ 136970902 h 505"/>
              <a:gd name="T110" fmla="*/ 60264954 w 524"/>
              <a:gd name="T111" fmla="*/ 136154235 h 505"/>
              <a:gd name="T112" fmla="*/ 62243997 w 524"/>
              <a:gd name="T113" fmla="*/ 135881839 h 505"/>
              <a:gd name="T114" fmla="*/ 65841987 w 524"/>
              <a:gd name="T115" fmla="*/ 136970902 h 505"/>
              <a:gd name="T116" fmla="*/ 68900045 w 524"/>
              <a:gd name="T117" fmla="*/ 137515694 h 505"/>
              <a:gd name="T118" fmla="*/ 78614575 w 524"/>
              <a:gd name="T119" fmla="*/ 137515694 h 505"/>
              <a:gd name="T120" fmla="*/ 83651677 w 524"/>
              <a:gd name="T121" fmla="*/ 122266207 h 505"/>
              <a:gd name="T122" fmla="*/ 88508518 w 524"/>
              <a:gd name="T123" fmla="*/ 118998497 h 505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0" t="0" r="r" b="b"/>
            <a:pathLst>
              <a:path w="524" h="505">
                <a:moveTo>
                  <a:pt x="524" y="419"/>
                </a:moveTo>
                <a:lnTo>
                  <a:pt x="478" y="370"/>
                </a:lnTo>
                <a:lnTo>
                  <a:pt x="482" y="357"/>
                </a:lnTo>
                <a:lnTo>
                  <a:pt x="484" y="346"/>
                </a:lnTo>
                <a:lnTo>
                  <a:pt x="484" y="336"/>
                </a:lnTo>
                <a:lnTo>
                  <a:pt x="483" y="329"/>
                </a:lnTo>
                <a:lnTo>
                  <a:pt x="479" y="315"/>
                </a:lnTo>
                <a:lnTo>
                  <a:pt x="478" y="302"/>
                </a:lnTo>
                <a:lnTo>
                  <a:pt x="466" y="301"/>
                </a:lnTo>
                <a:lnTo>
                  <a:pt x="455" y="299"/>
                </a:lnTo>
                <a:lnTo>
                  <a:pt x="443" y="295"/>
                </a:lnTo>
                <a:lnTo>
                  <a:pt x="431" y="288"/>
                </a:lnTo>
                <a:lnTo>
                  <a:pt x="419" y="282"/>
                </a:lnTo>
                <a:lnTo>
                  <a:pt x="407" y="274"/>
                </a:lnTo>
                <a:lnTo>
                  <a:pt x="396" y="266"/>
                </a:lnTo>
                <a:lnTo>
                  <a:pt x="386" y="256"/>
                </a:lnTo>
                <a:lnTo>
                  <a:pt x="376" y="247"/>
                </a:lnTo>
                <a:lnTo>
                  <a:pt x="366" y="237"/>
                </a:lnTo>
                <a:lnTo>
                  <a:pt x="359" y="226"/>
                </a:lnTo>
                <a:lnTo>
                  <a:pt x="352" y="216"/>
                </a:lnTo>
                <a:lnTo>
                  <a:pt x="347" y="206"/>
                </a:lnTo>
                <a:lnTo>
                  <a:pt x="342" y="196"/>
                </a:lnTo>
                <a:lnTo>
                  <a:pt x="339" y="187"/>
                </a:lnTo>
                <a:lnTo>
                  <a:pt x="339" y="178"/>
                </a:lnTo>
                <a:lnTo>
                  <a:pt x="339" y="170"/>
                </a:lnTo>
                <a:lnTo>
                  <a:pt x="341" y="162"/>
                </a:lnTo>
                <a:lnTo>
                  <a:pt x="346" y="156"/>
                </a:lnTo>
                <a:lnTo>
                  <a:pt x="349" y="150"/>
                </a:lnTo>
                <a:lnTo>
                  <a:pt x="358" y="142"/>
                </a:lnTo>
                <a:lnTo>
                  <a:pt x="365" y="136"/>
                </a:lnTo>
                <a:lnTo>
                  <a:pt x="360" y="134"/>
                </a:lnTo>
                <a:lnTo>
                  <a:pt x="354" y="130"/>
                </a:lnTo>
                <a:lnTo>
                  <a:pt x="348" y="126"/>
                </a:lnTo>
                <a:lnTo>
                  <a:pt x="341" y="119"/>
                </a:lnTo>
                <a:lnTo>
                  <a:pt x="328" y="104"/>
                </a:lnTo>
                <a:lnTo>
                  <a:pt x="315" y="87"/>
                </a:lnTo>
                <a:lnTo>
                  <a:pt x="302" y="69"/>
                </a:lnTo>
                <a:lnTo>
                  <a:pt x="292" y="51"/>
                </a:lnTo>
                <a:lnTo>
                  <a:pt x="283" y="36"/>
                </a:lnTo>
                <a:lnTo>
                  <a:pt x="279" y="25"/>
                </a:lnTo>
                <a:lnTo>
                  <a:pt x="272" y="25"/>
                </a:lnTo>
                <a:lnTo>
                  <a:pt x="260" y="24"/>
                </a:lnTo>
                <a:lnTo>
                  <a:pt x="249" y="22"/>
                </a:lnTo>
                <a:lnTo>
                  <a:pt x="239" y="19"/>
                </a:lnTo>
                <a:lnTo>
                  <a:pt x="229" y="16"/>
                </a:lnTo>
                <a:lnTo>
                  <a:pt x="219" y="11"/>
                </a:lnTo>
                <a:lnTo>
                  <a:pt x="208" y="9"/>
                </a:lnTo>
                <a:lnTo>
                  <a:pt x="197" y="6"/>
                </a:lnTo>
                <a:lnTo>
                  <a:pt x="185" y="6"/>
                </a:lnTo>
                <a:lnTo>
                  <a:pt x="170" y="3"/>
                </a:lnTo>
                <a:lnTo>
                  <a:pt x="159" y="0"/>
                </a:lnTo>
                <a:lnTo>
                  <a:pt x="149" y="8"/>
                </a:lnTo>
                <a:lnTo>
                  <a:pt x="126" y="29"/>
                </a:lnTo>
                <a:lnTo>
                  <a:pt x="114" y="41"/>
                </a:lnTo>
                <a:lnTo>
                  <a:pt x="103" y="52"/>
                </a:lnTo>
                <a:lnTo>
                  <a:pt x="98" y="57"/>
                </a:lnTo>
                <a:lnTo>
                  <a:pt x="95" y="61"/>
                </a:lnTo>
                <a:lnTo>
                  <a:pt x="93" y="64"/>
                </a:lnTo>
                <a:lnTo>
                  <a:pt x="93" y="68"/>
                </a:lnTo>
                <a:lnTo>
                  <a:pt x="94" y="94"/>
                </a:lnTo>
                <a:lnTo>
                  <a:pt x="95" y="125"/>
                </a:lnTo>
                <a:lnTo>
                  <a:pt x="95" y="140"/>
                </a:lnTo>
                <a:lnTo>
                  <a:pt x="95" y="153"/>
                </a:lnTo>
                <a:lnTo>
                  <a:pt x="94" y="164"/>
                </a:lnTo>
                <a:lnTo>
                  <a:pt x="93" y="172"/>
                </a:lnTo>
                <a:lnTo>
                  <a:pt x="86" y="180"/>
                </a:lnTo>
                <a:lnTo>
                  <a:pt x="78" y="188"/>
                </a:lnTo>
                <a:lnTo>
                  <a:pt x="67" y="197"/>
                </a:lnTo>
                <a:lnTo>
                  <a:pt x="53" y="206"/>
                </a:lnTo>
                <a:lnTo>
                  <a:pt x="40" y="214"/>
                </a:lnTo>
                <a:lnTo>
                  <a:pt x="26" y="222"/>
                </a:lnTo>
                <a:lnTo>
                  <a:pt x="13" y="228"/>
                </a:lnTo>
                <a:lnTo>
                  <a:pt x="0" y="235"/>
                </a:lnTo>
                <a:lnTo>
                  <a:pt x="2" y="246"/>
                </a:lnTo>
                <a:lnTo>
                  <a:pt x="3" y="256"/>
                </a:lnTo>
                <a:lnTo>
                  <a:pt x="2" y="264"/>
                </a:lnTo>
                <a:lnTo>
                  <a:pt x="1" y="272"/>
                </a:lnTo>
                <a:lnTo>
                  <a:pt x="0" y="278"/>
                </a:lnTo>
                <a:lnTo>
                  <a:pt x="0" y="284"/>
                </a:lnTo>
                <a:lnTo>
                  <a:pt x="0" y="289"/>
                </a:lnTo>
                <a:lnTo>
                  <a:pt x="2" y="295"/>
                </a:lnTo>
                <a:lnTo>
                  <a:pt x="7" y="301"/>
                </a:lnTo>
                <a:lnTo>
                  <a:pt x="15" y="307"/>
                </a:lnTo>
                <a:lnTo>
                  <a:pt x="26" y="314"/>
                </a:lnTo>
                <a:lnTo>
                  <a:pt x="41" y="321"/>
                </a:lnTo>
                <a:lnTo>
                  <a:pt x="62" y="331"/>
                </a:lnTo>
                <a:lnTo>
                  <a:pt x="89" y="341"/>
                </a:lnTo>
                <a:lnTo>
                  <a:pt x="120" y="355"/>
                </a:lnTo>
                <a:lnTo>
                  <a:pt x="159" y="370"/>
                </a:lnTo>
                <a:lnTo>
                  <a:pt x="180" y="374"/>
                </a:lnTo>
                <a:lnTo>
                  <a:pt x="198" y="379"/>
                </a:lnTo>
                <a:lnTo>
                  <a:pt x="214" y="385"/>
                </a:lnTo>
                <a:lnTo>
                  <a:pt x="226" y="393"/>
                </a:lnTo>
                <a:lnTo>
                  <a:pt x="237" y="400"/>
                </a:lnTo>
                <a:lnTo>
                  <a:pt x="246" y="410"/>
                </a:lnTo>
                <a:lnTo>
                  <a:pt x="252" y="418"/>
                </a:lnTo>
                <a:lnTo>
                  <a:pt x="258" y="427"/>
                </a:lnTo>
                <a:lnTo>
                  <a:pt x="262" y="435"/>
                </a:lnTo>
                <a:lnTo>
                  <a:pt x="265" y="443"/>
                </a:lnTo>
                <a:lnTo>
                  <a:pt x="266" y="451"/>
                </a:lnTo>
                <a:lnTo>
                  <a:pt x="269" y="458"/>
                </a:lnTo>
                <a:lnTo>
                  <a:pt x="270" y="469"/>
                </a:lnTo>
                <a:lnTo>
                  <a:pt x="272" y="475"/>
                </a:lnTo>
                <a:lnTo>
                  <a:pt x="277" y="481"/>
                </a:lnTo>
                <a:lnTo>
                  <a:pt x="282" y="485"/>
                </a:lnTo>
                <a:lnTo>
                  <a:pt x="287" y="489"/>
                </a:lnTo>
                <a:lnTo>
                  <a:pt x="294" y="492"/>
                </a:lnTo>
                <a:lnTo>
                  <a:pt x="307" y="497"/>
                </a:lnTo>
                <a:lnTo>
                  <a:pt x="325" y="505"/>
                </a:lnTo>
                <a:lnTo>
                  <a:pt x="328" y="503"/>
                </a:lnTo>
                <a:lnTo>
                  <a:pt x="331" y="501"/>
                </a:lnTo>
                <a:lnTo>
                  <a:pt x="335" y="500"/>
                </a:lnTo>
                <a:lnTo>
                  <a:pt x="338" y="500"/>
                </a:lnTo>
                <a:lnTo>
                  <a:pt x="346" y="499"/>
                </a:lnTo>
                <a:lnTo>
                  <a:pt x="353" y="500"/>
                </a:lnTo>
                <a:lnTo>
                  <a:pt x="366" y="503"/>
                </a:lnTo>
                <a:lnTo>
                  <a:pt x="372" y="505"/>
                </a:lnTo>
                <a:lnTo>
                  <a:pt x="383" y="505"/>
                </a:lnTo>
                <a:lnTo>
                  <a:pt x="407" y="505"/>
                </a:lnTo>
                <a:lnTo>
                  <a:pt x="437" y="505"/>
                </a:lnTo>
                <a:lnTo>
                  <a:pt x="458" y="505"/>
                </a:lnTo>
                <a:lnTo>
                  <a:pt x="465" y="449"/>
                </a:lnTo>
                <a:lnTo>
                  <a:pt x="478" y="443"/>
                </a:lnTo>
                <a:lnTo>
                  <a:pt x="492" y="437"/>
                </a:lnTo>
                <a:lnTo>
                  <a:pt x="524" y="419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 dirty="0"/>
          </a:p>
        </p:txBody>
      </p:sp>
      <p:sp>
        <p:nvSpPr>
          <p:cNvPr id="59" name="Freeform 260"/>
          <p:cNvSpPr>
            <a:spLocks/>
          </p:cNvSpPr>
          <p:nvPr>
            <p:custDataLst>
              <p:tags r:id="rId39"/>
            </p:custDataLst>
          </p:nvPr>
        </p:nvSpPr>
        <p:spPr bwMode="auto">
          <a:xfrm>
            <a:off x="2815267" y="4293405"/>
            <a:ext cx="411417" cy="396258"/>
          </a:xfrm>
          <a:custGeom>
            <a:avLst/>
            <a:gdLst>
              <a:gd name="T0" fmla="*/ 11692921 w 764"/>
              <a:gd name="T1" fmla="*/ 53702844 h 555"/>
              <a:gd name="T2" fmla="*/ 17539599 w 764"/>
              <a:gd name="T3" fmla="*/ 52059227 h 555"/>
              <a:gd name="T4" fmla="*/ 24140617 w 764"/>
              <a:gd name="T5" fmla="*/ 49867039 h 555"/>
              <a:gd name="T6" fmla="*/ 33004655 w 764"/>
              <a:gd name="T7" fmla="*/ 41373096 h 555"/>
              <a:gd name="T8" fmla="*/ 36587878 w 764"/>
              <a:gd name="T9" fmla="*/ 34523295 h 555"/>
              <a:gd name="T10" fmla="*/ 37530695 w 764"/>
              <a:gd name="T11" fmla="*/ 24111449 h 555"/>
              <a:gd name="T12" fmla="*/ 39228285 w 764"/>
              <a:gd name="T13" fmla="*/ 18905788 h 555"/>
              <a:gd name="T14" fmla="*/ 45263440 w 764"/>
              <a:gd name="T15" fmla="*/ 16439839 h 555"/>
              <a:gd name="T16" fmla="*/ 55447681 w 764"/>
              <a:gd name="T17" fmla="*/ 16987885 h 555"/>
              <a:gd name="T18" fmla="*/ 62048264 w 764"/>
              <a:gd name="T19" fmla="*/ 19453835 h 555"/>
              <a:gd name="T20" fmla="*/ 68271895 w 764"/>
              <a:gd name="T21" fmla="*/ 24659496 h 555"/>
              <a:gd name="T22" fmla="*/ 72798369 w 764"/>
              <a:gd name="T23" fmla="*/ 25481305 h 555"/>
              <a:gd name="T24" fmla="*/ 79022000 w 764"/>
              <a:gd name="T25" fmla="*/ 23015355 h 555"/>
              <a:gd name="T26" fmla="*/ 86754745 w 764"/>
              <a:gd name="T27" fmla="*/ 16713600 h 555"/>
              <a:gd name="T28" fmla="*/ 90337969 w 764"/>
              <a:gd name="T29" fmla="*/ 9041990 h 555"/>
              <a:gd name="T30" fmla="*/ 95807259 w 764"/>
              <a:gd name="T31" fmla="*/ 1096094 h 555"/>
              <a:gd name="T32" fmla="*/ 99956346 w 764"/>
              <a:gd name="T33" fmla="*/ 5205661 h 555"/>
              <a:gd name="T34" fmla="*/ 103728481 w 764"/>
              <a:gd name="T35" fmla="*/ 12329748 h 555"/>
              <a:gd name="T36" fmla="*/ 105803024 w 764"/>
              <a:gd name="T37" fmla="*/ 23837687 h 555"/>
              <a:gd name="T38" fmla="*/ 107500181 w 764"/>
              <a:gd name="T39" fmla="*/ 27673493 h 555"/>
              <a:gd name="T40" fmla="*/ 111083404 w 764"/>
              <a:gd name="T41" fmla="*/ 28495301 h 555"/>
              <a:gd name="T42" fmla="*/ 117307469 w 764"/>
              <a:gd name="T43" fmla="*/ 20001359 h 555"/>
              <a:gd name="T44" fmla="*/ 140127448 w 764"/>
              <a:gd name="T45" fmla="*/ 18083456 h 555"/>
              <a:gd name="T46" fmla="*/ 143145242 w 764"/>
              <a:gd name="T47" fmla="*/ 23837687 h 555"/>
              <a:gd name="T48" fmla="*/ 128057140 w 764"/>
              <a:gd name="T49" fmla="*/ 27399731 h 555"/>
              <a:gd name="T50" fmla="*/ 114101198 w 764"/>
              <a:gd name="T51" fmla="*/ 30687489 h 555"/>
              <a:gd name="T52" fmla="*/ 108254521 w 764"/>
              <a:gd name="T53" fmla="*/ 35619388 h 555"/>
              <a:gd name="T54" fmla="*/ 107688657 w 764"/>
              <a:gd name="T55" fmla="*/ 40277002 h 555"/>
              <a:gd name="T56" fmla="*/ 109763201 w 764"/>
              <a:gd name="T57" fmla="*/ 44935140 h 555"/>
              <a:gd name="T58" fmla="*/ 113346858 w 764"/>
              <a:gd name="T59" fmla="*/ 49318992 h 555"/>
              <a:gd name="T60" fmla="*/ 113912722 w 764"/>
              <a:gd name="T61" fmla="*/ 53429083 h 555"/>
              <a:gd name="T62" fmla="*/ 112026655 w 764"/>
              <a:gd name="T63" fmla="*/ 58360982 h 555"/>
              <a:gd name="T64" fmla="*/ 108254521 w 764"/>
              <a:gd name="T65" fmla="*/ 64936499 h 555"/>
              <a:gd name="T66" fmla="*/ 106557364 w 764"/>
              <a:gd name="T67" fmla="*/ 69868398 h 555"/>
              <a:gd name="T68" fmla="*/ 102219366 w 764"/>
              <a:gd name="T69" fmla="*/ 73704726 h 555"/>
              <a:gd name="T70" fmla="*/ 97881803 w 764"/>
              <a:gd name="T71" fmla="*/ 84938381 h 555"/>
              <a:gd name="T72" fmla="*/ 95807259 w 764"/>
              <a:gd name="T73" fmla="*/ 99460316 h 555"/>
              <a:gd name="T74" fmla="*/ 93732716 w 764"/>
              <a:gd name="T75" fmla="*/ 116447679 h 555"/>
              <a:gd name="T76" fmla="*/ 89960581 w 764"/>
              <a:gd name="T77" fmla="*/ 112885635 h 555"/>
              <a:gd name="T78" fmla="*/ 86754745 w 764"/>
              <a:gd name="T79" fmla="*/ 111515779 h 555"/>
              <a:gd name="T80" fmla="*/ 82794134 w 764"/>
              <a:gd name="T81" fmla="*/ 114529776 h 555"/>
              <a:gd name="T82" fmla="*/ 77513320 w 764"/>
              <a:gd name="T83" fmla="*/ 120557769 h 555"/>
              <a:gd name="T84" fmla="*/ 74118573 w 764"/>
              <a:gd name="T85" fmla="*/ 121653863 h 555"/>
              <a:gd name="T86" fmla="*/ 70723826 w 764"/>
              <a:gd name="T87" fmla="*/ 126859524 h 555"/>
              <a:gd name="T88" fmla="*/ 68837759 w 764"/>
              <a:gd name="T89" fmla="*/ 140011081 h 555"/>
              <a:gd name="T90" fmla="*/ 66008875 w 764"/>
              <a:gd name="T91" fmla="*/ 143847409 h 555"/>
              <a:gd name="T92" fmla="*/ 50921207 w 764"/>
              <a:gd name="T93" fmla="*/ 149601117 h 555"/>
              <a:gd name="T94" fmla="*/ 36587878 w 764"/>
              <a:gd name="T95" fmla="*/ 151793305 h 555"/>
              <a:gd name="T96" fmla="*/ 21311299 w 764"/>
              <a:gd name="T97" fmla="*/ 148505023 h 555"/>
              <a:gd name="T98" fmla="*/ 17916552 w 764"/>
              <a:gd name="T99" fmla="*/ 141929507 h 555"/>
              <a:gd name="T100" fmla="*/ 21688686 w 764"/>
              <a:gd name="T101" fmla="*/ 133709326 h 555"/>
              <a:gd name="T102" fmla="*/ 23574753 w 764"/>
              <a:gd name="T103" fmla="*/ 126585762 h 555"/>
              <a:gd name="T104" fmla="*/ 23197366 w 764"/>
              <a:gd name="T105" fmla="*/ 121105816 h 555"/>
              <a:gd name="T106" fmla="*/ 20934346 w 764"/>
              <a:gd name="T107" fmla="*/ 118639866 h 555"/>
              <a:gd name="T108" fmla="*/ 13013125 w 764"/>
              <a:gd name="T109" fmla="*/ 118091819 h 555"/>
              <a:gd name="T110" fmla="*/ 9806854 w 764"/>
              <a:gd name="T111" fmla="*/ 115351585 h 555"/>
              <a:gd name="T112" fmla="*/ 6412107 w 764"/>
              <a:gd name="T113" fmla="*/ 105214024 h 555"/>
              <a:gd name="T114" fmla="*/ 3583224 w 764"/>
              <a:gd name="T115" fmla="*/ 84664619 h 555"/>
              <a:gd name="T116" fmla="*/ 1886067 w 764"/>
              <a:gd name="T117" fmla="*/ 79732720 h 555"/>
              <a:gd name="T118" fmla="*/ 0 w 764"/>
              <a:gd name="T119" fmla="*/ 76718723 h 555"/>
              <a:gd name="T120" fmla="*/ 377387 w 764"/>
              <a:gd name="T121" fmla="*/ 73430441 h 555"/>
              <a:gd name="T122" fmla="*/ 4149087 w 764"/>
              <a:gd name="T123" fmla="*/ 67950495 h 555"/>
              <a:gd name="T124" fmla="*/ 6412107 w 764"/>
              <a:gd name="T125" fmla="*/ 60552646 h 555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0" t="0" r="r" b="b"/>
            <a:pathLst>
              <a:path w="764" h="555">
                <a:moveTo>
                  <a:pt x="39" y="191"/>
                </a:moveTo>
                <a:lnTo>
                  <a:pt x="48" y="194"/>
                </a:lnTo>
                <a:lnTo>
                  <a:pt x="56" y="196"/>
                </a:lnTo>
                <a:lnTo>
                  <a:pt x="62" y="196"/>
                </a:lnTo>
                <a:lnTo>
                  <a:pt x="68" y="195"/>
                </a:lnTo>
                <a:lnTo>
                  <a:pt x="77" y="192"/>
                </a:lnTo>
                <a:lnTo>
                  <a:pt x="85" y="191"/>
                </a:lnTo>
                <a:lnTo>
                  <a:pt x="93" y="190"/>
                </a:lnTo>
                <a:lnTo>
                  <a:pt x="101" y="190"/>
                </a:lnTo>
                <a:lnTo>
                  <a:pt x="107" y="188"/>
                </a:lnTo>
                <a:lnTo>
                  <a:pt x="114" y="186"/>
                </a:lnTo>
                <a:lnTo>
                  <a:pt x="128" y="182"/>
                </a:lnTo>
                <a:lnTo>
                  <a:pt x="140" y="175"/>
                </a:lnTo>
                <a:lnTo>
                  <a:pt x="152" y="168"/>
                </a:lnTo>
                <a:lnTo>
                  <a:pt x="164" y="160"/>
                </a:lnTo>
                <a:lnTo>
                  <a:pt x="175" y="151"/>
                </a:lnTo>
                <a:lnTo>
                  <a:pt x="185" y="142"/>
                </a:lnTo>
                <a:lnTo>
                  <a:pt x="189" y="136"/>
                </a:lnTo>
                <a:lnTo>
                  <a:pt x="192" y="131"/>
                </a:lnTo>
                <a:lnTo>
                  <a:pt x="194" y="126"/>
                </a:lnTo>
                <a:lnTo>
                  <a:pt x="195" y="120"/>
                </a:lnTo>
                <a:lnTo>
                  <a:pt x="197" y="109"/>
                </a:lnTo>
                <a:lnTo>
                  <a:pt x="198" y="98"/>
                </a:lnTo>
                <a:lnTo>
                  <a:pt x="199" y="88"/>
                </a:lnTo>
                <a:lnTo>
                  <a:pt x="202" y="78"/>
                </a:lnTo>
                <a:lnTo>
                  <a:pt x="204" y="74"/>
                </a:lnTo>
                <a:lnTo>
                  <a:pt x="206" y="71"/>
                </a:lnTo>
                <a:lnTo>
                  <a:pt x="208" y="69"/>
                </a:lnTo>
                <a:lnTo>
                  <a:pt x="212" y="68"/>
                </a:lnTo>
                <a:lnTo>
                  <a:pt x="221" y="64"/>
                </a:lnTo>
                <a:lnTo>
                  <a:pt x="231" y="62"/>
                </a:lnTo>
                <a:lnTo>
                  <a:pt x="240" y="60"/>
                </a:lnTo>
                <a:lnTo>
                  <a:pt x="249" y="60"/>
                </a:lnTo>
                <a:lnTo>
                  <a:pt x="266" y="61"/>
                </a:lnTo>
                <a:lnTo>
                  <a:pt x="285" y="61"/>
                </a:lnTo>
                <a:lnTo>
                  <a:pt x="294" y="62"/>
                </a:lnTo>
                <a:lnTo>
                  <a:pt x="303" y="63"/>
                </a:lnTo>
                <a:lnTo>
                  <a:pt x="310" y="64"/>
                </a:lnTo>
                <a:lnTo>
                  <a:pt x="317" y="66"/>
                </a:lnTo>
                <a:lnTo>
                  <a:pt x="329" y="71"/>
                </a:lnTo>
                <a:lnTo>
                  <a:pt x="339" y="77"/>
                </a:lnTo>
                <a:lnTo>
                  <a:pt x="348" y="82"/>
                </a:lnTo>
                <a:lnTo>
                  <a:pt x="357" y="88"/>
                </a:lnTo>
                <a:lnTo>
                  <a:pt x="362" y="90"/>
                </a:lnTo>
                <a:lnTo>
                  <a:pt x="366" y="91"/>
                </a:lnTo>
                <a:lnTo>
                  <a:pt x="372" y="92"/>
                </a:lnTo>
                <a:lnTo>
                  <a:pt x="378" y="93"/>
                </a:lnTo>
                <a:lnTo>
                  <a:pt x="386" y="93"/>
                </a:lnTo>
                <a:lnTo>
                  <a:pt x="394" y="92"/>
                </a:lnTo>
                <a:lnTo>
                  <a:pt x="402" y="90"/>
                </a:lnTo>
                <a:lnTo>
                  <a:pt x="407" y="89"/>
                </a:lnTo>
                <a:lnTo>
                  <a:pt x="419" y="84"/>
                </a:lnTo>
                <a:lnTo>
                  <a:pt x="429" y="78"/>
                </a:lnTo>
                <a:lnTo>
                  <a:pt x="439" y="72"/>
                </a:lnTo>
                <a:lnTo>
                  <a:pt x="449" y="66"/>
                </a:lnTo>
                <a:lnTo>
                  <a:pt x="460" y="61"/>
                </a:lnTo>
                <a:lnTo>
                  <a:pt x="471" y="55"/>
                </a:lnTo>
                <a:lnTo>
                  <a:pt x="472" y="48"/>
                </a:lnTo>
                <a:lnTo>
                  <a:pt x="475" y="41"/>
                </a:lnTo>
                <a:lnTo>
                  <a:pt x="479" y="33"/>
                </a:lnTo>
                <a:lnTo>
                  <a:pt x="485" y="25"/>
                </a:lnTo>
                <a:lnTo>
                  <a:pt x="496" y="11"/>
                </a:lnTo>
                <a:lnTo>
                  <a:pt x="505" y="0"/>
                </a:lnTo>
                <a:lnTo>
                  <a:pt x="508" y="4"/>
                </a:lnTo>
                <a:lnTo>
                  <a:pt x="512" y="8"/>
                </a:lnTo>
                <a:lnTo>
                  <a:pt x="518" y="12"/>
                </a:lnTo>
                <a:lnTo>
                  <a:pt x="525" y="15"/>
                </a:lnTo>
                <a:lnTo>
                  <a:pt x="530" y="19"/>
                </a:lnTo>
                <a:lnTo>
                  <a:pt x="537" y="22"/>
                </a:lnTo>
                <a:lnTo>
                  <a:pt x="541" y="26"/>
                </a:lnTo>
                <a:lnTo>
                  <a:pt x="544" y="31"/>
                </a:lnTo>
                <a:lnTo>
                  <a:pt x="550" y="45"/>
                </a:lnTo>
                <a:lnTo>
                  <a:pt x="554" y="58"/>
                </a:lnTo>
                <a:lnTo>
                  <a:pt x="556" y="70"/>
                </a:lnTo>
                <a:lnTo>
                  <a:pt x="559" y="81"/>
                </a:lnTo>
                <a:lnTo>
                  <a:pt x="561" y="87"/>
                </a:lnTo>
                <a:lnTo>
                  <a:pt x="562" y="91"/>
                </a:lnTo>
                <a:lnTo>
                  <a:pt x="564" y="95"/>
                </a:lnTo>
                <a:lnTo>
                  <a:pt x="566" y="99"/>
                </a:lnTo>
                <a:lnTo>
                  <a:pt x="570" y="101"/>
                </a:lnTo>
                <a:lnTo>
                  <a:pt x="574" y="103"/>
                </a:lnTo>
                <a:lnTo>
                  <a:pt x="578" y="104"/>
                </a:lnTo>
                <a:lnTo>
                  <a:pt x="584" y="105"/>
                </a:lnTo>
                <a:lnTo>
                  <a:pt x="589" y="104"/>
                </a:lnTo>
                <a:lnTo>
                  <a:pt x="596" y="100"/>
                </a:lnTo>
                <a:lnTo>
                  <a:pt x="602" y="95"/>
                </a:lnTo>
                <a:lnTo>
                  <a:pt x="610" y="88"/>
                </a:lnTo>
                <a:lnTo>
                  <a:pt x="622" y="73"/>
                </a:lnTo>
                <a:lnTo>
                  <a:pt x="631" y="61"/>
                </a:lnTo>
                <a:lnTo>
                  <a:pt x="723" y="61"/>
                </a:lnTo>
                <a:lnTo>
                  <a:pt x="736" y="61"/>
                </a:lnTo>
                <a:lnTo>
                  <a:pt x="743" y="66"/>
                </a:lnTo>
                <a:lnTo>
                  <a:pt x="748" y="70"/>
                </a:lnTo>
                <a:lnTo>
                  <a:pt x="752" y="75"/>
                </a:lnTo>
                <a:lnTo>
                  <a:pt x="755" y="79"/>
                </a:lnTo>
                <a:lnTo>
                  <a:pt x="759" y="87"/>
                </a:lnTo>
                <a:lnTo>
                  <a:pt x="764" y="93"/>
                </a:lnTo>
                <a:lnTo>
                  <a:pt x="740" y="95"/>
                </a:lnTo>
                <a:lnTo>
                  <a:pt x="711" y="97"/>
                </a:lnTo>
                <a:lnTo>
                  <a:pt x="679" y="100"/>
                </a:lnTo>
                <a:lnTo>
                  <a:pt x="647" y="103"/>
                </a:lnTo>
                <a:lnTo>
                  <a:pt x="632" y="106"/>
                </a:lnTo>
                <a:lnTo>
                  <a:pt x="618" y="109"/>
                </a:lnTo>
                <a:lnTo>
                  <a:pt x="605" y="112"/>
                </a:lnTo>
                <a:lnTo>
                  <a:pt x="594" y="117"/>
                </a:lnTo>
                <a:lnTo>
                  <a:pt x="584" y="122"/>
                </a:lnTo>
                <a:lnTo>
                  <a:pt x="577" y="127"/>
                </a:lnTo>
                <a:lnTo>
                  <a:pt x="574" y="130"/>
                </a:lnTo>
                <a:lnTo>
                  <a:pt x="572" y="134"/>
                </a:lnTo>
                <a:lnTo>
                  <a:pt x="571" y="137"/>
                </a:lnTo>
                <a:lnTo>
                  <a:pt x="571" y="142"/>
                </a:lnTo>
                <a:lnTo>
                  <a:pt x="571" y="147"/>
                </a:lnTo>
                <a:lnTo>
                  <a:pt x="572" y="152"/>
                </a:lnTo>
                <a:lnTo>
                  <a:pt x="574" y="156"/>
                </a:lnTo>
                <a:lnTo>
                  <a:pt x="576" y="159"/>
                </a:lnTo>
                <a:lnTo>
                  <a:pt x="582" y="164"/>
                </a:lnTo>
                <a:lnTo>
                  <a:pt x="587" y="169"/>
                </a:lnTo>
                <a:lnTo>
                  <a:pt x="594" y="173"/>
                </a:lnTo>
                <a:lnTo>
                  <a:pt x="599" y="177"/>
                </a:lnTo>
                <a:lnTo>
                  <a:pt x="601" y="180"/>
                </a:lnTo>
                <a:lnTo>
                  <a:pt x="602" y="183"/>
                </a:lnTo>
                <a:lnTo>
                  <a:pt x="604" y="186"/>
                </a:lnTo>
                <a:lnTo>
                  <a:pt x="604" y="191"/>
                </a:lnTo>
                <a:lnTo>
                  <a:pt x="604" y="195"/>
                </a:lnTo>
                <a:lnTo>
                  <a:pt x="602" y="200"/>
                </a:lnTo>
                <a:lnTo>
                  <a:pt x="601" y="204"/>
                </a:lnTo>
                <a:lnTo>
                  <a:pt x="599" y="207"/>
                </a:lnTo>
                <a:lnTo>
                  <a:pt x="594" y="213"/>
                </a:lnTo>
                <a:lnTo>
                  <a:pt x="587" y="220"/>
                </a:lnTo>
                <a:lnTo>
                  <a:pt x="582" y="226"/>
                </a:lnTo>
                <a:lnTo>
                  <a:pt x="576" y="233"/>
                </a:lnTo>
                <a:lnTo>
                  <a:pt x="574" y="237"/>
                </a:lnTo>
                <a:lnTo>
                  <a:pt x="572" y="242"/>
                </a:lnTo>
                <a:lnTo>
                  <a:pt x="571" y="247"/>
                </a:lnTo>
                <a:lnTo>
                  <a:pt x="571" y="252"/>
                </a:lnTo>
                <a:lnTo>
                  <a:pt x="565" y="255"/>
                </a:lnTo>
                <a:lnTo>
                  <a:pt x="560" y="256"/>
                </a:lnTo>
                <a:lnTo>
                  <a:pt x="555" y="259"/>
                </a:lnTo>
                <a:lnTo>
                  <a:pt x="551" y="262"/>
                </a:lnTo>
                <a:lnTo>
                  <a:pt x="542" y="269"/>
                </a:lnTo>
                <a:lnTo>
                  <a:pt x="535" y="277"/>
                </a:lnTo>
                <a:lnTo>
                  <a:pt x="529" y="287"/>
                </a:lnTo>
                <a:lnTo>
                  <a:pt x="523" y="298"/>
                </a:lnTo>
                <a:lnTo>
                  <a:pt x="519" y="310"/>
                </a:lnTo>
                <a:lnTo>
                  <a:pt x="515" y="323"/>
                </a:lnTo>
                <a:lnTo>
                  <a:pt x="512" y="336"/>
                </a:lnTo>
                <a:lnTo>
                  <a:pt x="509" y="349"/>
                </a:lnTo>
                <a:lnTo>
                  <a:pt x="508" y="363"/>
                </a:lnTo>
                <a:lnTo>
                  <a:pt x="506" y="377"/>
                </a:lnTo>
                <a:lnTo>
                  <a:pt x="505" y="402"/>
                </a:lnTo>
                <a:lnTo>
                  <a:pt x="505" y="425"/>
                </a:lnTo>
                <a:lnTo>
                  <a:pt x="497" y="425"/>
                </a:lnTo>
                <a:lnTo>
                  <a:pt x="492" y="423"/>
                </a:lnTo>
                <a:lnTo>
                  <a:pt x="486" y="420"/>
                </a:lnTo>
                <a:lnTo>
                  <a:pt x="482" y="415"/>
                </a:lnTo>
                <a:lnTo>
                  <a:pt x="477" y="412"/>
                </a:lnTo>
                <a:lnTo>
                  <a:pt x="473" y="409"/>
                </a:lnTo>
                <a:lnTo>
                  <a:pt x="470" y="407"/>
                </a:lnTo>
                <a:lnTo>
                  <a:pt x="464" y="406"/>
                </a:lnTo>
                <a:lnTo>
                  <a:pt x="460" y="407"/>
                </a:lnTo>
                <a:lnTo>
                  <a:pt x="455" y="408"/>
                </a:lnTo>
                <a:lnTo>
                  <a:pt x="451" y="410"/>
                </a:lnTo>
                <a:lnTo>
                  <a:pt x="447" y="412"/>
                </a:lnTo>
                <a:lnTo>
                  <a:pt x="439" y="418"/>
                </a:lnTo>
                <a:lnTo>
                  <a:pt x="431" y="425"/>
                </a:lnTo>
                <a:lnTo>
                  <a:pt x="423" y="432"/>
                </a:lnTo>
                <a:lnTo>
                  <a:pt x="416" y="438"/>
                </a:lnTo>
                <a:lnTo>
                  <a:pt x="411" y="440"/>
                </a:lnTo>
                <a:lnTo>
                  <a:pt x="407" y="442"/>
                </a:lnTo>
                <a:lnTo>
                  <a:pt x="403" y="443"/>
                </a:lnTo>
                <a:lnTo>
                  <a:pt x="398" y="444"/>
                </a:lnTo>
                <a:lnTo>
                  <a:pt x="393" y="444"/>
                </a:lnTo>
                <a:lnTo>
                  <a:pt x="388" y="446"/>
                </a:lnTo>
                <a:lnTo>
                  <a:pt x="385" y="449"/>
                </a:lnTo>
                <a:lnTo>
                  <a:pt x="382" y="453"/>
                </a:lnTo>
                <a:lnTo>
                  <a:pt x="375" y="463"/>
                </a:lnTo>
                <a:lnTo>
                  <a:pt x="372" y="476"/>
                </a:lnTo>
                <a:lnTo>
                  <a:pt x="369" y="489"/>
                </a:lnTo>
                <a:lnTo>
                  <a:pt x="366" y="501"/>
                </a:lnTo>
                <a:lnTo>
                  <a:pt x="365" y="511"/>
                </a:lnTo>
                <a:lnTo>
                  <a:pt x="365" y="517"/>
                </a:lnTo>
                <a:lnTo>
                  <a:pt x="362" y="520"/>
                </a:lnTo>
                <a:lnTo>
                  <a:pt x="358" y="522"/>
                </a:lnTo>
                <a:lnTo>
                  <a:pt x="350" y="525"/>
                </a:lnTo>
                <a:lnTo>
                  <a:pt x="342" y="528"/>
                </a:lnTo>
                <a:lnTo>
                  <a:pt x="320" y="535"/>
                </a:lnTo>
                <a:lnTo>
                  <a:pt x="296" y="541"/>
                </a:lnTo>
                <a:lnTo>
                  <a:pt x="270" y="546"/>
                </a:lnTo>
                <a:lnTo>
                  <a:pt x="246" y="551"/>
                </a:lnTo>
                <a:lnTo>
                  <a:pt x="226" y="554"/>
                </a:lnTo>
                <a:lnTo>
                  <a:pt x="212" y="555"/>
                </a:lnTo>
                <a:lnTo>
                  <a:pt x="194" y="554"/>
                </a:lnTo>
                <a:lnTo>
                  <a:pt x="176" y="553"/>
                </a:lnTo>
                <a:lnTo>
                  <a:pt x="159" y="550"/>
                </a:lnTo>
                <a:lnTo>
                  <a:pt x="142" y="548"/>
                </a:lnTo>
                <a:lnTo>
                  <a:pt x="113" y="542"/>
                </a:lnTo>
                <a:lnTo>
                  <a:pt x="92" y="536"/>
                </a:lnTo>
                <a:lnTo>
                  <a:pt x="93" y="529"/>
                </a:lnTo>
                <a:lnTo>
                  <a:pt x="94" y="523"/>
                </a:lnTo>
                <a:lnTo>
                  <a:pt x="95" y="518"/>
                </a:lnTo>
                <a:lnTo>
                  <a:pt x="97" y="513"/>
                </a:lnTo>
                <a:lnTo>
                  <a:pt x="103" y="504"/>
                </a:lnTo>
                <a:lnTo>
                  <a:pt x="109" y="496"/>
                </a:lnTo>
                <a:lnTo>
                  <a:pt x="115" y="488"/>
                </a:lnTo>
                <a:lnTo>
                  <a:pt x="120" y="479"/>
                </a:lnTo>
                <a:lnTo>
                  <a:pt x="123" y="473"/>
                </a:lnTo>
                <a:lnTo>
                  <a:pt x="124" y="468"/>
                </a:lnTo>
                <a:lnTo>
                  <a:pt x="125" y="462"/>
                </a:lnTo>
                <a:lnTo>
                  <a:pt x="126" y="456"/>
                </a:lnTo>
                <a:lnTo>
                  <a:pt x="125" y="451"/>
                </a:lnTo>
                <a:lnTo>
                  <a:pt x="124" y="446"/>
                </a:lnTo>
                <a:lnTo>
                  <a:pt x="123" y="442"/>
                </a:lnTo>
                <a:lnTo>
                  <a:pt x="120" y="439"/>
                </a:lnTo>
                <a:lnTo>
                  <a:pt x="117" y="437"/>
                </a:lnTo>
                <a:lnTo>
                  <a:pt x="114" y="435"/>
                </a:lnTo>
                <a:lnTo>
                  <a:pt x="111" y="433"/>
                </a:lnTo>
                <a:lnTo>
                  <a:pt x="106" y="432"/>
                </a:lnTo>
                <a:lnTo>
                  <a:pt x="89" y="431"/>
                </a:lnTo>
                <a:lnTo>
                  <a:pt x="72" y="432"/>
                </a:lnTo>
                <a:lnTo>
                  <a:pt x="69" y="431"/>
                </a:lnTo>
                <a:lnTo>
                  <a:pt x="66" y="430"/>
                </a:lnTo>
                <a:lnTo>
                  <a:pt x="62" y="429"/>
                </a:lnTo>
                <a:lnTo>
                  <a:pt x="59" y="427"/>
                </a:lnTo>
                <a:lnTo>
                  <a:pt x="52" y="421"/>
                </a:lnTo>
                <a:lnTo>
                  <a:pt x="47" y="413"/>
                </a:lnTo>
                <a:lnTo>
                  <a:pt x="42" y="405"/>
                </a:lnTo>
                <a:lnTo>
                  <a:pt x="38" y="395"/>
                </a:lnTo>
                <a:lnTo>
                  <a:pt x="34" y="384"/>
                </a:lnTo>
                <a:lnTo>
                  <a:pt x="30" y="373"/>
                </a:lnTo>
                <a:lnTo>
                  <a:pt x="26" y="349"/>
                </a:lnTo>
                <a:lnTo>
                  <a:pt x="22" y="327"/>
                </a:lnTo>
                <a:lnTo>
                  <a:pt x="19" y="309"/>
                </a:lnTo>
                <a:lnTo>
                  <a:pt x="19" y="295"/>
                </a:lnTo>
                <a:lnTo>
                  <a:pt x="16" y="295"/>
                </a:lnTo>
                <a:lnTo>
                  <a:pt x="13" y="293"/>
                </a:lnTo>
                <a:lnTo>
                  <a:pt x="10" y="291"/>
                </a:lnTo>
                <a:lnTo>
                  <a:pt x="7" y="289"/>
                </a:lnTo>
                <a:lnTo>
                  <a:pt x="4" y="286"/>
                </a:lnTo>
                <a:lnTo>
                  <a:pt x="2" y="283"/>
                </a:lnTo>
                <a:lnTo>
                  <a:pt x="0" y="280"/>
                </a:lnTo>
                <a:lnTo>
                  <a:pt x="0" y="277"/>
                </a:lnTo>
                <a:lnTo>
                  <a:pt x="0" y="274"/>
                </a:lnTo>
                <a:lnTo>
                  <a:pt x="1" y="271"/>
                </a:lnTo>
                <a:lnTo>
                  <a:pt x="2" y="268"/>
                </a:lnTo>
                <a:lnTo>
                  <a:pt x="4" y="265"/>
                </a:lnTo>
                <a:lnTo>
                  <a:pt x="10" y="259"/>
                </a:lnTo>
                <a:lnTo>
                  <a:pt x="16" y="254"/>
                </a:lnTo>
                <a:lnTo>
                  <a:pt x="22" y="248"/>
                </a:lnTo>
                <a:lnTo>
                  <a:pt x="27" y="243"/>
                </a:lnTo>
                <a:lnTo>
                  <a:pt x="31" y="238"/>
                </a:lnTo>
                <a:lnTo>
                  <a:pt x="33" y="234"/>
                </a:lnTo>
                <a:lnTo>
                  <a:pt x="34" y="221"/>
                </a:lnTo>
                <a:lnTo>
                  <a:pt x="36" y="213"/>
                </a:lnTo>
                <a:lnTo>
                  <a:pt x="38" y="205"/>
                </a:lnTo>
                <a:lnTo>
                  <a:pt x="39" y="19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 dirty="0"/>
          </a:p>
        </p:txBody>
      </p:sp>
      <p:sp>
        <p:nvSpPr>
          <p:cNvPr id="60" name="Freeform 261"/>
          <p:cNvSpPr>
            <a:spLocks/>
          </p:cNvSpPr>
          <p:nvPr>
            <p:custDataLst>
              <p:tags r:id="rId40"/>
            </p:custDataLst>
          </p:nvPr>
        </p:nvSpPr>
        <p:spPr bwMode="auto">
          <a:xfrm>
            <a:off x="2854637" y="4360531"/>
            <a:ext cx="452755" cy="578149"/>
          </a:xfrm>
          <a:custGeom>
            <a:avLst/>
            <a:gdLst>
              <a:gd name="T0" fmla="*/ 150389759 w 831"/>
              <a:gd name="T1" fmla="*/ 22343635 h 812"/>
              <a:gd name="T2" fmla="*/ 136489964 w 831"/>
              <a:gd name="T3" fmla="*/ 7902017 h 812"/>
              <a:gd name="T4" fmla="*/ 108497048 w 831"/>
              <a:gd name="T5" fmla="*/ 2724834 h 812"/>
              <a:gd name="T6" fmla="*/ 96334562 w 831"/>
              <a:gd name="T7" fmla="*/ 7902017 h 812"/>
              <a:gd name="T8" fmla="*/ 93824822 w 831"/>
              <a:gd name="T9" fmla="*/ 13351684 h 812"/>
              <a:gd name="T10" fmla="*/ 95948347 w 831"/>
              <a:gd name="T11" fmla="*/ 19346318 h 812"/>
              <a:gd name="T12" fmla="*/ 99809621 w 831"/>
              <a:gd name="T13" fmla="*/ 24523502 h 812"/>
              <a:gd name="T14" fmla="*/ 99616294 w 831"/>
              <a:gd name="T15" fmla="*/ 30245653 h 812"/>
              <a:gd name="T16" fmla="*/ 94790141 w 831"/>
              <a:gd name="T17" fmla="*/ 38147670 h 812"/>
              <a:gd name="T18" fmla="*/ 92666616 w 831"/>
              <a:gd name="T19" fmla="*/ 44142304 h 812"/>
              <a:gd name="T20" fmla="*/ 86874705 w 831"/>
              <a:gd name="T21" fmla="*/ 50136938 h 812"/>
              <a:gd name="T22" fmla="*/ 82434328 w 831"/>
              <a:gd name="T23" fmla="*/ 66213456 h 812"/>
              <a:gd name="T24" fmla="*/ 81083234 w 831"/>
              <a:gd name="T25" fmla="*/ 90464475 h 812"/>
              <a:gd name="T26" fmla="*/ 75677539 w 831"/>
              <a:gd name="T27" fmla="*/ 86922191 h 812"/>
              <a:gd name="T28" fmla="*/ 71430489 w 831"/>
              <a:gd name="T29" fmla="*/ 85832258 h 812"/>
              <a:gd name="T30" fmla="*/ 65252802 w 831"/>
              <a:gd name="T31" fmla="*/ 92371858 h 812"/>
              <a:gd name="T32" fmla="*/ 60426210 w 831"/>
              <a:gd name="T33" fmla="*/ 95641658 h 812"/>
              <a:gd name="T34" fmla="*/ 55985833 w 831"/>
              <a:gd name="T35" fmla="*/ 100818842 h 812"/>
              <a:gd name="T36" fmla="*/ 54055196 w 831"/>
              <a:gd name="T37" fmla="*/ 115532421 h 812"/>
              <a:gd name="T38" fmla="*/ 45367770 w 831"/>
              <a:gd name="T39" fmla="*/ 120437122 h 812"/>
              <a:gd name="T40" fmla="*/ 24517858 w 831"/>
              <a:gd name="T41" fmla="*/ 125886789 h 812"/>
              <a:gd name="T42" fmla="*/ 5019480 w 831"/>
              <a:gd name="T43" fmla="*/ 122344505 h 812"/>
              <a:gd name="T44" fmla="*/ 9845633 w 831"/>
              <a:gd name="T45" fmla="*/ 137603573 h 812"/>
              <a:gd name="T46" fmla="*/ 18533499 w 831"/>
              <a:gd name="T47" fmla="*/ 147140491 h 812"/>
              <a:gd name="T48" fmla="*/ 23745867 w 831"/>
              <a:gd name="T49" fmla="*/ 157222375 h 812"/>
              <a:gd name="T50" fmla="*/ 27413813 w 831"/>
              <a:gd name="T51" fmla="*/ 162399559 h 812"/>
              <a:gd name="T52" fmla="*/ 19112602 w 831"/>
              <a:gd name="T53" fmla="*/ 176296210 h 812"/>
              <a:gd name="T54" fmla="*/ 16795750 w 831"/>
              <a:gd name="T55" fmla="*/ 182835811 h 812"/>
              <a:gd name="T56" fmla="*/ 21042800 w 831"/>
              <a:gd name="T57" fmla="*/ 196187495 h 812"/>
              <a:gd name="T58" fmla="*/ 42858030 w 831"/>
              <a:gd name="T59" fmla="*/ 193462662 h 812"/>
              <a:gd name="T60" fmla="*/ 58302685 w 831"/>
              <a:gd name="T61" fmla="*/ 192100245 h 812"/>
              <a:gd name="T62" fmla="*/ 63707941 w 831"/>
              <a:gd name="T63" fmla="*/ 196459979 h 812"/>
              <a:gd name="T64" fmla="*/ 69306964 w 831"/>
              <a:gd name="T65" fmla="*/ 205996896 h 812"/>
              <a:gd name="T66" fmla="*/ 78766382 w 831"/>
              <a:gd name="T67" fmla="*/ 213898913 h 812"/>
              <a:gd name="T68" fmla="*/ 86681817 w 831"/>
              <a:gd name="T69" fmla="*/ 218803614 h 812"/>
              <a:gd name="T70" fmla="*/ 88805342 w 831"/>
              <a:gd name="T71" fmla="*/ 215533814 h 812"/>
              <a:gd name="T72" fmla="*/ 94017710 w 831"/>
              <a:gd name="T73" fmla="*/ 210901596 h 812"/>
              <a:gd name="T74" fmla="*/ 106952626 w 831"/>
              <a:gd name="T75" fmla="*/ 208176763 h 812"/>
              <a:gd name="T76" fmla="*/ 115253837 w 831"/>
              <a:gd name="T77" fmla="*/ 204361996 h 812"/>
              <a:gd name="T78" fmla="*/ 119307999 w 831"/>
              <a:gd name="T79" fmla="*/ 198094879 h 812"/>
              <a:gd name="T80" fmla="*/ 112744097 w 831"/>
              <a:gd name="T81" fmla="*/ 190737828 h 812"/>
              <a:gd name="T82" fmla="*/ 104635774 w 831"/>
              <a:gd name="T83" fmla="*/ 174661310 h 812"/>
              <a:gd name="T84" fmla="*/ 101546931 w 831"/>
              <a:gd name="T85" fmla="*/ 170029093 h 812"/>
              <a:gd name="T86" fmla="*/ 101546931 w 831"/>
              <a:gd name="T87" fmla="*/ 157494858 h 812"/>
              <a:gd name="T88" fmla="*/ 112357882 w 831"/>
              <a:gd name="T89" fmla="*/ 153407608 h 812"/>
              <a:gd name="T90" fmla="*/ 120080429 w 831"/>
              <a:gd name="T91" fmla="*/ 144688141 h 812"/>
              <a:gd name="T92" fmla="*/ 132822018 w 831"/>
              <a:gd name="T93" fmla="*/ 113625038 h 812"/>
              <a:gd name="T94" fmla="*/ 140930341 w 831"/>
              <a:gd name="T95" fmla="*/ 100273875 h 812"/>
              <a:gd name="T96" fmla="*/ 139965023 w 831"/>
              <a:gd name="T97" fmla="*/ 89919508 h 812"/>
              <a:gd name="T98" fmla="*/ 140737014 w 831"/>
              <a:gd name="T99" fmla="*/ 83107424 h 812"/>
              <a:gd name="T100" fmla="*/ 144984503 w 831"/>
              <a:gd name="T101" fmla="*/ 78747690 h 812"/>
              <a:gd name="T102" fmla="*/ 129346959 w 831"/>
              <a:gd name="T103" fmla="*/ 56404055 h 812"/>
              <a:gd name="T104" fmla="*/ 146335597 w 831"/>
              <a:gd name="T105" fmla="*/ 38147670 h 812"/>
              <a:gd name="T106" fmla="*/ 155409239 w 831"/>
              <a:gd name="T107" fmla="*/ 33515453 h 812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831" h="812">
                <a:moveTo>
                  <a:pt x="831" y="98"/>
                </a:moveTo>
                <a:lnTo>
                  <a:pt x="817" y="95"/>
                </a:lnTo>
                <a:lnTo>
                  <a:pt x="803" y="91"/>
                </a:lnTo>
                <a:lnTo>
                  <a:pt x="791" y="87"/>
                </a:lnTo>
                <a:lnTo>
                  <a:pt x="779" y="82"/>
                </a:lnTo>
                <a:lnTo>
                  <a:pt x="769" y="77"/>
                </a:lnTo>
                <a:lnTo>
                  <a:pt x="758" y="71"/>
                </a:lnTo>
                <a:lnTo>
                  <a:pt x="749" y="65"/>
                </a:lnTo>
                <a:lnTo>
                  <a:pt x="740" y="58"/>
                </a:lnTo>
                <a:lnTo>
                  <a:pt x="707" y="29"/>
                </a:lnTo>
                <a:lnTo>
                  <a:pt x="679" y="0"/>
                </a:lnTo>
                <a:lnTo>
                  <a:pt x="655" y="2"/>
                </a:lnTo>
                <a:lnTo>
                  <a:pt x="626" y="4"/>
                </a:lnTo>
                <a:lnTo>
                  <a:pt x="594" y="7"/>
                </a:lnTo>
                <a:lnTo>
                  <a:pt x="562" y="10"/>
                </a:lnTo>
                <a:lnTo>
                  <a:pt x="547" y="13"/>
                </a:lnTo>
                <a:lnTo>
                  <a:pt x="533" y="16"/>
                </a:lnTo>
                <a:lnTo>
                  <a:pt x="520" y="19"/>
                </a:lnTo>
                <a:lnTo>
                  <a:pt x="509" y="24"/>
                </a:lnTo>
                <a:lnTo>
                  <a:pt x="499" y="29"/>
                </a:lnTo>
                <a:lnTo>
                  <a:pt x="492" y="34"/>
                </a:lnTo>
                <a:lnTo>
                  <a:pt x="489" y="37"/>
                </a:lnTo>
                <a:lnTo>
                  <a:pt x="487" y="41"/>
                </a:lnTo>
                <a:lnTo>
                  <a:pt x="486" y="44"/>
                </a:lnTo>
                <a:lnTo>
                  <a:pt x="486" y="49"/>
                </a:lnTo>
                <a:lnTo>
                  <a:pt x="486" y="54"/>
                </a:lnTo>
                <a:lnTo>
                  <a:pt x="487" y="59"/>
                </a:lnTo>
                <a:lnTo>
                  <a:pt x="489" y="63"/>
                </a:lnTo>
                <a:lnTo>
                  <a:pt x="491" y="66"/>
                </a:lnTo>
                <a:lnTo>
                  <a:pt x="497" y="71"/>
                </a:lnTo>
                <a:lnTo>
                  <a:pt x="502" y="76"/>
                </a:lnTo>
                <a:lnTo>
                  <a:pt x="509" y="80"/>
                </a:lnTo>
                <a:lnTo>
                  <a:pt x="514" y="84"/>
                </a:lnTo>
                <a:lnTo>
                  <a:pt x="516" y="87"/>
                </a:lnTo>
                <a:lnTo>
                  <a:pt x="517" y="90"/>
                </a:lnTo>
                <a:lnTo>
                  <a:pt x="519" y="93"/>
                </a:lnTo>
                <a:lnTo>
                  <a:pt x="519" y="98"/>
                </a:lnTo>
                <a:lnTo>
                  <a:pt x="519" y="102"/>
                </a:lnTo>
                <a:lnTo>
                  <a:pt x="517" y="107"/>
                </a:lnTo>
                <a:lnTo>
                  <a:pt x="516" y="111"/>
                </a:lnTo>
                <a:lnTo>
                  <a:pt x="514" y="114"/>
                </a:lnTo>
                <a:lnTo>
                  <a:pt x="509" y="120"/>
                </a:lnTo>
                <a:lnTo>
                  <a:pt x="502" y="127"/>
                </a:lnTo>
                <a:lnTo>
                  <a:pt x="497" y="133"/>
                </a:lnTo>
                <a:lnTo>
                  <a:pt x="491" y="140"/>
                </a:lnTo>
                <a:lnTo>
                  <a:pt x="489" y="144"/>
                </a:lnTo>
                <a:lnTo>
                  <a:pt x="487" y="149"/>
                </a:lnTo>
                <a:lnTo>
                  <a:pt x="486" y="154"/>
                </a:lnTo>
                <a:lnTo>
                  <a:pt x="486" y="159"/>
                </a:lnTo>
                <a:lnTo>
                  <a:pt x="480" y="162"/>
                </a:lnTo>
                <a:lnTo>
                  <a:pt x="475" y="163"/>
                </a:lnTo>
                <a:lnTo>
                  <a:pt x="470" y="166"/>
                </a:lnTo>
                <a:lnTo>
                  <a:pt x="466" y="169"/>
                </a:lnTo>
                <a:lnTo>
                  <a:pt x="457" y="176"/>
                </a:lnTo>
                <a:lnTo>
                  <a:pt x="450" y="184"/>
                </a:lnTo>
                <a:lnTo>
                  <a:pt x="444" y="194"/>
                </a:lnTo>
                <a:lnTo>
                  <a:pt x="438" y="205"/>
                </a:lnTo>
                <a:lnTo>
                  <a:pt x="434" y="217"/>
                </a:lnTo>
                <a:lnTo>
                  <a:pt x="430" y="230"/>
                </a:lnTo>
                <a:lnTo>
                  <a:pt x="427" y="243"/>
                </a:lnTo>
                <a:lnTo>
                  <a:pt x="424" y="256"/>
                </a:lnTo>
                <a:lnTo>
                  <a:pt x="423" y="270"/>
                </a:lnTo>
                <a:lnTo>
                  <a:pt x="421" y="284"/>
                </a:lnTo>
                <a:lnTo>
                  <a:pt x="420" y="309"/>
                </a:lnTo>
                <a:lnTo>
                  <a:pt x="420" y="332"/>
                </a:lnTo>
                <a:lnTo>
                  <a:pt x="412" y="332"/>
                </a:lnTo>
                <a:lnTo>
                  <a:pt x="407" y="330"/>
                </a:lnTo>
                <a:lnTo>
                  <a:pt x="401" y="327"/>
                </a:lnTo>
                <a:lnTo>
                  <a:pt x="397" y="322"/>
                </a:lnTo>
                <a:lnTo>
                  <a:pt x="392" y="319"/>
                </a:lnTo>
                <a:lnTo>
                  <a:pt x="388" y="316"/>
                </a:lnTo>
                <a:lnTo>
                  <a:pt x="385" y="314"/>
                </a:lnTo>
                <a:lnTo>
                  <a:pt x="379" y="313"/>
                </a:lnTo>
                <a:lnTo>
                  <a:pt x="375" y="314"/>
                </a:lnTo>
                <a:lnTo>
                  <a:pt x="370" y="315"/>
                </a:lnTo>
                <a:lnTo>
                  <a:pt x="366" y="317"/>
                </a:lnTo>
                <a:lnTo>
                  <a:pt x="362" y="319"/>
                </a:lnTo>
                <a:lnTo>
                  <a:pt x="354" y="325"/>
                </a:lnTo>
                <a:lnTo>
                  <a:pt x="346" y="332"/>
                </a:lnTo>
                <a:lnTo>
                  <a:pt x="338" y="339"/>
                </a:lnTo>
                <a:lnTo>
                  <a:pt x="331" y="345"/>
                </a:lnTo>
                <a:lnTo>
                  <a:pt x="326" y="347"/>
                </a:lnTo>
                <a:lnTo>
                  <a:pt x="322" y="349"/>
                </a:lnTo>
                <a:lnTo>
                  <a:pt x="318" y="350"/>
                </a:lnTo>
                <a:lnTo>
                  <a:pt x="313" y="351"/>
                </a:lnTo>
                <a:lnTo>
                  <a:pt x="308" y="351"/>
                </a:lnTo>
                <a:lnTo>
                  <a:pt x="303" y="353"/>
                </a:lnTo>
                <a:lnTo>
                  <a:pt x="300" y="356"/>
                </a:lnTo>
                <a:lnTo>
                  <a:pt x="297" y="360"/>
                </a:lnTo>
                <a:lnTo>
                  <a:pt x="290" y="370"/>
                </a:lnTo>
                <a:lnTo>
                  <a:pt x="287" y="383"/>
                </a:lnTo>
                <a:lnTo>
                  <a:pt x="284" y="396"/>
                </a:lnTo>
                <a:lnTo>
                  <a:pt x="281" y="408"/>
                </a:lnTo>
                <a:lnTo>
                  <a:pt x="280" y="418"/>
                </a:lnTo>
                <a:lnTo>
                  <a:pt x="280" y="424"/>
                </a:lnTo>
                <a:lnTo>
                  <a:pt x="277" y="427"/>
                </a:lnTo>
                <a:lnTo>
                  <a:pt x="273" y="429"/>
                </a:lnTo>
                <a:lnTo>
                  <a:pt x="265" y="432"/>
                </a:lnTo>
                <a:lnTo>
                  <a:pt x="257" y="435"/>
                </a:lnTo>
                <a:lnTo>
                  <a:pt x="235" y="442"/>
                </a:lnTo>
                <a:lnTo>
                  <a:pt x="211" y="448"/>
                </a:lnTo>
                <a:lnTo>
                  <a:pt x="185" y="453"/>
                </a:lnTo>
                <a:lnTo>
                  <a:pt x="161" y="458"/>
                </a:lnTo>
                <a:lnTo>
                  <a:pt x="141" y="461"/>
                </a:lnTo>
                <a:lnTo>
                  <a:pt x="127" y="462"/>
                </a:lnTo>
                <a:lnTo>
                  <a:pt x="109" y="461"/>
                </a:lnTo>
                <a:lnTo>
                  <a:pt x="91" y="460"/>
                </a:lnTo>
                <a:lnTo>
                  <a:pt x="74" y="457"/>
                </a:lnTo>
                <a:lnTo>
                  <a:pt x="56" y="455"/>
                </a:lnTo>
                <a:lnTo>
                  <a:pt x="26" y="449"/>
                </a:lnTo>
                <a:lnTo>
                  <a:pt x="0" y="443"/>
                </a:lnTo>
                <a:lnTo>
                  <a:pt x="8" y="455"/>
                </a:lnTo>
                <a:lnTo>
                  <a:pt x="19" y="470"/>
                </a:lnTo>
                <a:lnTo>
                  <a:pt x="34" y="487"/>
                </a:lnTo>
                <a:lnTo>
                  <a:pt x="51" y="505"/>
                </a:lnTo>
                <a:lnTo>
                  <a:pt x="60" y="513"/>
                </a:lnTo>
                <a:lnTo>
                  <a:pt x="68" y="521"/>
                </a:lnTo>
                <a:lnTo>
                  <a:pt x="77" y="528"/>
                </a:lnTo>
                <a:lnTo>
                  <a:pt x="87" y="535"/>
                </a:lnTo>
                <a:lnTo>
                  <a:pt x="96" y="540"/>
                </a:lnTo>
                <a:lnTo>
                  <a:pt x="105" y="544"/>
                </a:lnTo>
                <a:lnTo>
                  <a:pt x="112" y="546"/>
                </a:lnTo>
                <a:lnTo>
                  <a:pt x="120" y="547"/>
                </a:lnTo>
                <a:lnTo>
                  <a:pt x="121" y="561"/>
                </a:lnTo>
                <a:lnTo>
                  <a:pt x="123" y="577"/>
                </a:lnTo>
                <a:lnTo>
                  <a:pt x="127" y="585"/>
                </a:lnTo>
                <a:lnTo>
                  <a:pt x="131" y="591"/>
                </a:lnTo>
                <a:lnTo>
                  <a:pt x="134" y="593"/>
                </a:lnTo>
                <a:lnTo>
                  <a:pt x="138" y="595"/>
                </a:lnTo>
                <a:lnTo>
                  <a:pt x="142" y="596"/>
                </a:lnTo>
                <a:lnTo>
                  <a:pt x="147" y="597"/>
                </a:lnTo>
                <a:lnTo>
                  <a:pt x="147" y="616"/>
                </a:lnTo>
                <a:lnTo>
                  <a:pt x="127" y="629"/>
                </a:lnTo>
                <a:lnTo>
                  <a:pt x="107" y="641"/>
                </a:lnTo>
                <a:lnTo>
                  <a:pt x="99" y="647"/>
                </a:lnTo>
                <a:lnTo>
                  <a:pt x="93" y="654"/>
                </a:lnTo>
                <a:lnTo>
                  <a:pt x="90" y="658"/>
                </a:lnTo>
                <a:lnTo>
                  <a:pt x="88" y="663"/>
                </a:lnTo>
                <a:lnTo>
                  <a:pt x="87" y="667"/>
                </a:lnTo>
                <a:lnTo>
                  <a:pt x="87" y="671"/>
                </a:lnTo>
                <a:lnTo>
                  <a:pt x="87" y="680"/>
                </a:lnTo>
                <a:lnTo>
                  <a:pt x="87" y="689"/>
                </a:lnTo>
                <a:lnTo>
                  <a:pt x="87" y="701"/>
                </a:lnTo>
                <a:lnTo>
                  <a:pt x="87" y="721"/>
                </a:lnTo>
                <a:lnTo>
                  <a:pt x="109" y="720"/>
                </a:lnTo>
                <a:lnTo>
                  <a:pt x="132" y="719"/>
                </a:lnTo>
                <a:lnTo>
                  <a:pt x="154" y="717"/>
                </a:lnTo>
                <a:lnTo>
                  <a:pt x="177" y="714"/>
                </a:lnTo>
                <a:lnTo>
                  <a:pt x="199" y="711"/>
                </a:lnTo>
                <a:lnTo>
                  <a:pt x="222" y="710"/>
                </a:lnTo>
                <a:lnTo>
                  <a:pt x="244" y="708"/>
                </a:lnTo>
                <a:lnTo>
                  <a:pt x="266" y="708"/>
                </a:lnTo>
                <a:lnTo>
                  <a:pt x="284" y="707"/>
                </a:lnTo>
                <a:lnTo>
                  <a:pt x="297" y="705"/>
                </a:lnTo>
                <a:lnTo>
                  <a:pt x="302" y="705"/>
                </a:lnTo>
                <a:lnTo>
                  <a:pt x="310" y="705"/>
                </a:lnTo>
                <a:lnTo>
                  <a:pt x="318" y="706"/>
                </a:lnTo>
                <a:lnTo>
                  <a:pt x="326" y="708"/>
                </a:lnTo>
                <a:lnTo>
                  <a:pt x="328" y="714"/>
                </a:lnTo>
                <a:lnTo>
                  <a:pt x="330" y="721"/>
                </a:lnTo>
                <a:lnTo>
                  <a:pt x="333" y="728"/>
                </a:lnTo>
                <a:lnTo>
                  <a:pt x="338" y="735"/>
                </a:lnTo>
                <a:lnTo>
                  <a:pt x="345" y="742"/>
                </a:lnTo>
                <a:lnTo>
                  <a:pt x="352" y="749"/>
                </a:lnTo>
                <a:lnTo>
                  <a:pt x="359" y="756"/>
                </a:lnTo>
                <a:lnTo>
                  <a:pt x="368" y="762"/>
                </a:lnTo>
                <a:lnTo>
                  <a:pt x="378" y="769"/>
                </a:lnTo>
                <a:lnTo>
                  <a:pt x="388" y="776"/>
                </a:lnTo>
                <a:lnTo>
                  <a:pt x="398" y="781"/>
                </a:lnTo>
                <a:lnTo>
                  <a:pt x="408" y="785"/>
                </a:lnTo>
                <a:lnTo>
                  <a:pt x="418" y="789"/>
                </a:lnTo>
                <a:lnTo>
                  <a:pt x="427" y="792"/>
                </a:lnTo>
                <a:lnTo>
                  <a:pt x="437" y="794"/>
                </a:lnTo>
                <a:lnTo>
                  <a:pt x="446" y="794"/>
                </a:lnTo>
                <a:lnTo>
                  <a:pt x="449" y="803"/>
                </a:lnTo>
                <a:lnTo>
                  <a:pt x="453" y="812"/>
                </a:lnTo>
                <a:lnTo>
                  <a:pt x="454" y="806"/>
                </a:lnTo>
                <a:lnTo>
                  <a:pt x="455" y="800"/>
                </a:lnTo>
                <a:lnTo>
                  <a:pt x="457" y="795"/>
                </a:lnTo>
                <a:lnTo>
                  <a:pt x="460" y="791"/>
                </a:lnTo>
                <a:lnTo>
                  <a:pt x="464" y="787"/>
                </a:lnTo>
                <a:lnTo>
                  <a:pt x="467" y="783"/>
                </a:lnTo>
                <a:lnTo>
                  <a:pt x="471" y="780"/>
                </a:lnTo>
                <a:lnTo>
                  <a:pt x="477" y="778"/>
                </a:lnTo>
                <a:lnTo>
                  <a:pt x="487" y="774"/>
                </a:lnTo>
                <a:lnTo>
                  <a:pt x="499" y="770"/>
                </a:lnTo>
                <a:lnTo>
                  <a:pt x="512" y="768"/>
                </a:lnTo>
                <a:lnTo>
                  <a:pt x="525" y="767"/>
                </a:lnTo>
                <a:lnTo>
                  <a:pt x="539" y="765"/>
                </a:lnTo>
                <a:lnTo>
                  <a:pt x="554" y="764"/>
                </a:lnTo>
                <a:lnTo>
                  <a:pt x="567" y="761"/>
                </a:lnTo>
                <a:lnTo>
                  <a:pt x="580" y="758"/>
                </a:lnTo>
                <a:lnTo>
                  <a:pt x="586" y="756"/>
                </a:lnTo>
                <a:lnTo>
                  <a:pt x="591" y="753"/>
                </a:lnTo>
                <a:lnTo>
                  <a:pt x="597" y="750"/>
                </a:lnTo>
                <a:lnTo>
                  <a:pt x="602" y="747"/>
                </a:lnTo>
                <a:lnTo>
                  <a:pt x="606" y="743"/>
                </a:lnTo>
                <a:lnTo>
                  <a:pt x="611" y="738"/>
                </a:lnTo>
                <a:lnTo>
                  <a:pt x="615" y="733"/>
                </a:lnTo>
                <a:lnTo>
                  <a:pt x="618" y="727"/>
                </a:lnTo>
                <a:lnTo>
                  <a:pt x="614" y="725"/>
                </a:lnTo>
                <a:lnTo>
                  <a:pt x="610" y="722"/>
                </a:lnTo>
                <a:lnTo>
                  <a:pt x="604" y="718"/>
                </a:lnTo>
                <a:lnTo>
                  <a:pt x="598" y="712"/>
                </a:lnTo>
                <a:lnTo>
                  <a:pt x="584" y="700"/>
                </a:lnTo>
                <a:lnTo>
                  <a:pt x="571" y="686"/>
                </a:lnTo>
                <a:lnTo>
                  <a:pt x="559" y="671"/>
                </a:lnTo>
                <a:lnTo>
                  <a:pt x="548" y="655"/>
                </a:lnTo>
                <a:lnTo>
                  <a:pt x="545" y="648"/>
                </a:lnTo>
                <a:lnTo>
                  <a:pt x="542" y="641"/>
                </a:lnTo>
                <a:lnTo>
                  <a:pt x="539" y="634"/>
                </a:lnTo>
                <a:lnTo>
                  <a:pt x="538" y="628"/>
                </a:lnTo>
                <a:lnTo>
                  <a:pt x="534" y="627"/>
                </a:lnTo>
                <a:lnTo>
                  <a:pt x="530" y="626"/>
                </a:lnTo>
                <a:lnTo>
                  <a:pt x="526" y="624"/>
                </a:lnTo>
                <a:lnTo>
                  <a:pt x="523" y="620"/>
                </a:lnTo>
                <a:lnTo>
                  <a:pt x="517" y="613"/>
                </a:lnTo>
                <a:lnTo>
                  <a:pt x="512" y="603"/>
                </a:lnTo>
                <a:lnTo>
                  <a:pt x="512" y="579"/>
                </a:lnTo>
                <a:lnTo>
                  <a:pt x="526" y="578"/>
                </a:lnTo>
                <a:lnTo>
                  <a:pt x="539" y="577"/>
                </a:lnTo>
                <a:lnTo>
                  <a:pt x="551" y="575"/>
                </a:lnTo>
                <a:lnTo>
                  <a:pt x="562" y="571"/>
                </a:lnTo>
                <a:lnTo>
                  <a:pt x="572" y="568"/>
                </a:lnTo>
                <a:lnTo>
                  <a:pt x="582" y="563"/>
                </a:lnTo>
                <a:lnTo>
                  <a:pt x="591" y="558"/>
                </a:lnTo>
                <a:lnTo>
                  <a:pt x="600" y="552"/>
                </a:lnTo>
                <a:lnTo>
                  <a:pt x="607" y="545"/>
                </a:lnTo>
                <a:lnTo>
                  <a:pt x="615" y="538"/>
                </a:lnTo>
                <a:lnTo>
                  <a:pt x="622" y="531"/>
                </a:lnTo>
                <a:lnTo>
                  <a:pt x="628" y="523"/>
                </a:lnTo>
                <a:lnTo>
                  <a:pt x="639" y="507"/>
                </a:lnTo>
                <a:lnTo>
                  <a:pt x="650" y="489"/>
                </a:lnTo>
                <a:lnTo>
                  <a:pt x="669" y="453"/>
                </a:lnTo>
                <a:lnTo>
                  <a:pt x="688" y="417"/>
                </a:lnTo>
                <a:lnTo>
                  <a:pt x="699" y="401"/>
                </a:lnTo>
                <a:lnTo>
                  <a:pt x="710" y="387"/>
                </a:lnTo>
                <a:lnTo>
                  <a:pt x="716" y="379"/>
                </a:lnTo>
                <a:lnTo>
                  <a:pt x="723" y="373"/>
                </a:lnTo>
                <a:lnTo>
                  <a:pt x="730" y="368"/>
                </a:lnTo>
                <a:lnTo>
                  <a:pt x="738" y="363"/>
                </a:lnTo>
                <a:lnTo>
                  <a:pt x="732" y="351"/>
                </a:lnTo>
                <a:lnTo>
                  <a:pt x="727" y="340"/>
                </a:lnTo>
                <a:lnTo>
                  <a:pt x="726" y="335"/>
                </a:lnTo>
                <a:lnTo>
                  <a:pt x="725" y="330"/>
                </a:lnTo>
                <a:lnTo>
                  <a:pt x="725" y="324"/>
                </a:lnTo>
                <a:lnTo>
                  <a:pt x="725" y="319"/>
                </a:lnTo>
                <a:lnTo>
                  <a:pt x="726" y="314"/>
                </a:lnTo>
                <a:lnTo>
                  <a:pt x="727" y="309"/>
                </a:lnTo>
                <a:lnTo>
                  <a:pt x="729" y="305"/>
                </a:lnTo>
                <a:lnTo>
                  <a:pt x="733" y="301"/>
                </a:lnTo>
                <a:lnTo>
                  <a:pt x="736" y="298"/>
                </a:lnTo>
                <a:lnTo>
                  <a:pt x="740" y="295"/>
                </a:lnTo>
                <a:lnTo>
                  <a:pt x="746" y="292"/>
                </a:lnTo>
                <a:lnTo>
                  <a:pt x="751" y="289"/>
                </a:lnTo>
                <a:lnTo>
                  <a:pt x="722" y="262"/>
                </a:lnTo>
                <a:lnTo>
                  <a:pt x="700" y="242"/>
                </a:lnTo>
                <a:lnTo>
                  <a:pt x="690" y="232"/>
                </a:lnTo>
                <a:lnTo>
                  <a:pt x="680" y="221"/>
                </a:lnTo>
                <a:lnTo>
                  <a:pt x="670" y="207"/>
                </a:lnTo>
                <a:lnTo>
                  <a:pt x="658" y="190"/>
                </a:lnTo>
                <a:lnTo>
                  <a:pt x="658" y="147"/>
                </a:lnTo>
                <a:lnTo>
                  <a:pt x="701" y="145"/>
                </a:lnTo>
                <a:lnTo>
                  <a:pt x="733" y="143"/>
                </a:lnTo>
                <a:lnTo>
                  <a:pt x="758" y="140"/>
                </a:lnTo>
                <a:lnTo>
                  <a:pt x="778" y="136"/>
                </a:lnTo>
                <a:lnTo>
                  <a:pt x="785" y="134"/>
                </a:lnTo>
                <a:lnTo>
                  <a:pt x="792" y="131"/>
                </a:lnTo>
                <a:lnTo>
                  <a:pt x="799" y="127"/>
                </a:lnTo>
                <a:lnTo>
                  <a:pt x="805" y="123"/>
                </a:lnTo>
                <a:lnTo>
                  <a:pt x="817" y="113"/>
                </a:lnTo>
                <a:lnTo>
                  <a:pt x="831" y="98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 dirty="0"/>
          </a:p>
        </p:txBody>
      </p:sp>
      <p:sp>
        <p:nvSpPr>
          <p:cNvPr id="61" name="Freeform 272"/>
          <p:cNvSpPr>
            <a:spLocks/>
          </p:cNvSpPr>
          <p:nvPr>
            <p:custDataLst>
              <p:tags r:id="rId41"/>
            </p:custDataLst>
          </p:nvPr>
        </p:nvSpPr>
        <p:spPr bwMode="auto">
          <a:xfrm>
            <a:off x="4590856" y="4089863"/>
            <a:ext cx="149606" cy="233858"/>
          </a:xfrm>
          <a:custGeom>
            <a:avLst/>
            <a:gdLst>
              <a:gd name="T0" fmla="*/ 49374425 w 266"/>
              <a:gd name="T1" fmla="*/ 2489181 h 326"/>
              <a:gd name="T2" fmla="*/ 49374425 w 266"/>
              <a:gd name="T3" fmla="*/ 7744702 h 326"/>
              <a:gd name="T4" fmla="*/ 51225904 w 266"/>
              <a:gd name="T5" fmla="*/ 11617052 h 326"/>
              <a:gd name="T6" fmla="*/ 50403125 w 266"/>
              <a:gd name="T7" fmla="*/ 15212769 h 326"/>
              <a:gd name="T8" fmla="*/ 46288779 w 266"/>
              <a:gd name="T9" fmla="*/ 13829599 h 326"/>
              <a:gd name="T10" fmla="*/ 43202679 w 266"/>
              <a:gd name="T11" fmla="*/ 14106233 h 326"/>
              <a:gd name="T12" fmla="*/ 40116579 w 266"/>
              <a:gd name="T13" fmla="*/ 17978584 h 326"/>
              <a:gd name="T14" fmla="*/ 39705189 w 266"/>
              <a:gd name="T15" fmla="*/ 21574300 h 326"/>
              <a:gd name="T16" fmla="*/ 40733889 w 266"/>
              <a:gd name="T17" fmla="*/ 24616749 h 326"/>
              <a:gd name="T18" fmla="*/ 44231379 w 266"/>
              <a:gd name="T19" fmla="*/ 30425012 h 326"/>
              <a:gd name="T20" fmla="*/ 46082857 w 266"/>
              <a:gd name="T21" fmla="*/ 33744095 h 326"/>
              <a:gd name="T22" fmla="*/ 46288779 w 266"/>
              <a:gd name="T23" fmla="*/ 36786543 h 326"/>
              <a:gd name="T24" fmla="*/ 45671468 w 266"/>
              <a:gd name="T25" fmla="*/ 39552884 h 326"/>
              <a:gd name="T26" fmla="*/ 42585368 w 266"/>
              <a:gd name="T27" fmla="*/ 42595333 h 326"/>
              <a:gd name="T28" fmla="*/ 41145279 w 266"/>
              <a:gd name="T29" fmla="*/ 44254611 h 326"/>
              <a:gd name="T30" fmla="*/ 37236400 w 266"/>
              <a:gd name="T31" fmla="*/ 45914415 h 326"/>
              <a:gd name="T32" fmla="*/ 33739364 w 266"/>
              <a:gd name="T33" fmla="*/ 49233498 h 326"/>
              <a:gd name="T34" fmla="*/ 32916132 w 266"/>
              <a:gd name="T35" fmla="*/ 52829215 h 326"/>
              <a:gd name="T36" fmla="*/ 35590843 w 266"/>
              <a:gd name="T37" fmla="*/ 57254308 h 326"/>
              <a:gd name="T38" fmla="*/ 38882411 w 266"/>
              <a:gd name="T39" fmla="*/ 59467380 h 326"/>
              <a:gd name="T40" fmla="*/ 44025457 w 266"/>
              <a:gd name="T41" fmla="*/ 62786463 h 326"/>
              <a:gd name="T42" fmla="*/ 50403125 w 266"/>
              <a:gd name="T43" fmla="*/ 71637174 h 326"/>
              <a:gd name="T44" fmla="*/ 51637293 w 266"/>
              <a:gd name="T45" fmla="*/ 78828608 h 326"/>
              <a:gd name="T46" fmla="*/ 45260079 w 266"/>
              <a:gd name="T47" fmla="*/ 80488412 h 326"/>
              <a:gd name="T48" fmla="*/ 42585368 w 266"/>
              <a:gd name="T49" fmla="*/ 82424325 h 326"/>
              <a:gd name="T50" fmla="*/ 40733889 w 266"/>
              <a:gd name="T51" fmla="*/ 86296675 h 326"/>
              <a:gd name="T52" fmla="*/ 38882411 w 266"/>
              <a:gd name="T53" fmla="*/ 90169026 h 326"/>
              <a:gd name="T54" fmla="*/ 34973532 w 266"/>
              <a:gd name="T55" fmla="*/ 88785856 h 326"/>
              <a:gd name="T56" fmla="*/ 34356221 w 266"/>
              <a:gd name="T57" fmla="*/ 87403212 h 326"/>
              <a:gd name="T58" fmla="*/ 31681964 w 266"/>
              <a:gd name="T59" fmla="*/ 85743407 h 326"/>
              <a:gd name="T60" fmla="*/ 28595864 w 266"/>
              <a:gd name="T61" fmla="*/ 83254227 h 326"/>
              <a:gd name="T62" fmla="*/ 25921607 w 266"/>
              <a:gd name="T63" fmla="*/ 81594422 h 326"/>
              <a:gd name="T64" fmla="*/ 20161250 w 266"/>
              <a:gd name="T65" fmla="*/ 80211778 h 326"/>
              <a:gd name="T66" fmla="*/ 12960804 w 266"/>
              <a:gd name="T67" fmla="*/ 76616061 h 326"/>
              <a:gd name="T68" fmla="*/ 11109325 w 266"/>
              <a:gd name="T69" fmla="*/ 74126881 h 326"/>
              <a:gd name="T70" fmla="*/ 11314793 w 266"/>
              <a:gd name="T71" fmla="*/ 70807798 h 326"/>
              <a:gd name="T72" fmla="*/ 14400893 w 266"/>
              <a:gd name="T73" fmla="*/ 67488715 h 326"/>
              <a:gd name="T74" fmla="*/ 12138025 w 266"/>
              <a:gd name="T75" fmla="*/ 61126658 h 326"/>
              <a:gd name="T76" fmla="*/ 6994525 w 266"/>
              <a:gd name="T77" fmla="*/ 53659117 h 326"/>
              <a:gd name="T78" fmla="*/ 2674257 w 266"/>
              <a:gd name="T79" fmla="*/ 50339508 h 326"/>
              <a:gd name="T80" fmla="*/ 822779 w 266"/>
              <a:gd name="T81" fmla="*/ 47297060 h 326"/>
              <a:gd name="T82" fmla="*/ 3908879 w 266"/>
              <a:gd name="T83" fmla="*/ 42042064 h 326"/>
              <a:gd name="T84" fmla="*/ 11109325 w 266"/>
              <a:gd name="T85" fmla="*/ 34297363 h 326"/>
              <a:gd name="T86" fmla="*/ 15018204 w 266"/>
              <a:gd name="T87" fmla="*/ 29042368 h 326"/>
              <a:gd name="T88" fmla="*/ 18103850 w 266"/>
              <a:gd name="T89" fmla="*/ 25446651 h 326"/>
              <a:gd name="T90" fmla="*/ 22630039 w 266"/>
              <a:gd name="T91" fmla="*/ 24340115 h 326"/>
              <a:gd name="T92" fmla="*/ 29624564 w 266"/>
              <a:gd name="T93" fmla="*/ 19361228 h 326"/>
              <a:gd name="T94" fmla="*/ 34562143 w 266"/>
              <a:gd name="T95" fmla="*/ 12723063 h 326"/>
              <a:gd name="T96" fmla="*/ 39293800 w 266"/>
              <a:gd name="T97" fmla="*/ 5808263 h 326"/>
              <a:gd name="T98" fmla="*/ 45260079 w 266"/>
              <a:gd name="T99" fmla="*/ 1106536 h 326"/>
              <a:gd name="T100" fmla="*/ 48963036 w 266"/>
              <a:gd name="T101" fmla="*/ 0 h 32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0" t="0" r="r" b="b"/>
            <a:pathLst>
              <a:path w="266" h="326">
                <a:moveTo>
                  <a:pt x="246" y="0"/>
                </a:moveTo>
                <a:lnTo>
                  <a:pt x="241" y="4"/>
                </a:lnTo>
                <a:lnTo>
                  <a:pt x="240" y="9"/>
                </a:lnTo>
                <a:lnTo>
                  <a:pt x="239" y="16"/>
                </a:lnTo>
                <a:lnTo>
                  <a:pt x="239" y="24"/>
                </a:lnTo>
                <a:lnTo>
                  <a:pt x="240" y="28"/>
                </a:lnTo>
                <a:lnTo>
                  <a:pt x="243" y="33"/>
                </a:lnTo>
                <a:lnTo>
                  <a:pt x="246" y="38"/>
                </a:lnTo>
                <a:lnTo>
                  <a:pt x="249" y="42"/>
                </a:lnTo>
                <a:lnTo>
                  <a:pt x="256" y="50"/>
                </a:lnTo>
                <a:lnTo>
                  <a:pt x="259" y="55"/>
                </a:lnTo>
                <a:lnTo>
                  <a:pt x="245" y="55"/>
                </a:lnTo>
                <a:lnTo>
                  <a:pt x="234" y="54"/>
                </a:lnTo>
                <a:lnTo>
                  <a:pt x="229" y="52"/>
                </a:lnTo>
                <a:lnTo>
                  <a:pt x="225" y="50"/>
                </a:lnTo>
                <a:lnTo>
                  <a:pt x="222" y="47"/>
                </a:lnTo>
                <a:lnTo>
                  <a:pt x="220" y="43"/>
                </a:lnTo>
                <a:lnTo>
                  <a:pt x="210" y="51"/>
                </a:lnTo>
                <a:lnTo>
                  <a:pt x="201" y="58"/>
                </a:lnTo>
                <a:lnTo>
                  <a:pt x="198" y="62"/>
                </a:lnTo>
                <a:lnTo>
                  <a:pt x="195" y="65"/>
                </a:lnTo>
                <a:lnTo>
                  <a:pt x="193" y="69"/>
                </a:lnTo>
                <a:lnTo>
                  <a:pt x="192" y="73"/>
                </a:lnTo>
                <a:lnTo>
                  <a:pt x="193" y="78"/>
                </a:lnTo>
                <a:lnTo>
                  <a:pt x="194" y="82"/>
                </a:lnTo>
                <a:lnTo>
                  <a:pt x="195" y="86"/>
                </a:lnTo>
                <a:lnTo>
                  <a:pt x="198" y="89"/>
                </a:lnTo>
                <a:lnTo>
                  <a:pt x="203" y="97"/>
                </a:lnTo>
                <a:lnTo>
                  <a:pt x="210" y="104"/>
                </a:lnTo>
                <a:lnTo>
                  <a:pt x="215" y="110"/>
                </a:lnTo>
                <a:lnTo>
                  <a:pt x="221" y="116"/>
                </a:lnTo>
                <a:lnTo>
                  <a:pt x="223" y="119"/>
                </a:lnTo>
                <a:lnTo>
                  <a:pt x="224" y="122"/>
                </a:lnTo>
                <a:lnTo>
                  <a:pt x="225" y="125"/>
                </a:lnTo>
                <a:lnTo>
                  <a:pt x="226" y="129"/>
                </a:lnTo>
                <a:lnTo>
                  <a:pt x="225" y="133"/>
                </a:lnTo>
                <a:lnTo>
                  <a:pt x="225" y="137"/>
                </a:lnTo>
                <a:lnTo>
                  <a:pt x="223" y="140"/>
                </a:lnTo>
                <a:lnTo>
                  <a:pt x="222" y="143"/>
                </a:lnTo>
                <a:lnTo>
                  <a:pt x="217" y="148"/>
                </a:lnTo>
                <a:lnTo>
                  <a:pt x="213" y="152"/>
                </a:lnTo>
                <a:lnTo>
                  <a:pt x="207" y="154"/>
                </a:lnTo>
                <a:lnTo>
                  <a:pt x="203" y="156"/>
                </a:lnTo>
                <a:lnTo>
                  <a:pt x="201" y="158"/>
                </a:lnTo>
                <a:lnTo>
                  <a:pt x="200" y="160"/>
                </a:lnTo>
                <a:lnTo>
                  <a:pt x="193" y="161"/>
                </a:lnTo>
                <a:lnTo>
                  <a:pt x="188" y="163"/>
                </a:lnTo>
                <a:lnTo>
                  <a:pt x="181" y="166"/>
                </a:lnTo>
                <a:lnTo>
                  <a:pt x="175" y="170"/>
                </a:lnTo>
                <a:lnTo>
                  <a:pt x="168" y="174"/>
                </a:lnTo>
                <a:lnTo>
                  <a:pt x="164" y="178"/>
                </a:lnTo>
                <a:lnTo>
                  <a:pt x="160" y="181"/>
                </a:lnTo>
                <a:lnTo>
                  <a:pt x="159" y="184"/>
                </a:lnTo>
                <a:lnTo>
                  <a:pt x="160" y="191"/>
                </a:lnTo>
                <a:lnTo>
                  <a:pt x="164" y="197"/>
                </a:lnTo>
                <a:lnTo>
                  <a:pt x="168" y="203"/>
                </a:lnTo>
                <a:lnTo>
                  <a:pt x="173" y="207"/>
                </a:lnTo>
                <a:lnTo>
                  <a:pt x="179" y="211"/>
                </a:lnTo>
                <a:lnTo>
                  <a:pt x="184" y="213"/>
                </a:lnTo>
                <a:lnTo>
                  <a:pt x="189" y="215"/>
                </a:lnTo>
                <a:lnTo>
                  <a:pt x="192" y="215"/>
                </a:lnTo>
                <a:lnTo>
                  <a:pt x="204" y="221"/>
                </a:lnTo>
                <a:lnTo>
                  <a:pt x="214" y="227"/>
                </a:lnTo>
                <a:lnTo>
                  <a:pt x="223" y="234"/>
                </a:lnTo>
                <a:lnTo>
                  <a:pt x="231" y="241"/>
                </a:lnTo>
                <a:lnTo>
                  <a:pt x="245" y="259"/>
                </a:lnTo>
                <a:lnTo>
                  <a:pt x="259" y="277"/>
                </a:lnTo>
                <a:lnTo>
                  <a:pt x="266" y="283"/>
                </a:lnTo>
                <a:lnTo>
                  <a:pt x="251" y="285"/>
                </a:lnTo>
                <a:lnTo>
                  <a:pt x="239" y="286"/>
                </a:lnTo>
                <a:lnTo>
                  <a:pt x="228" y="288"/>
                </a:lnTo>
                <a:lnTo>
                  <a:pt x="220" y="291"/>
                </a:lnTo>
                <a:lnTo>
                  <a:pt x="215" y="293"/>
                </a:lnTo>
                <a:lnTo>
                  <a:pt x="211" y="295"/>
                </a:lnTo>
                <a:lnTo>
                  <a:pt x="207" y="298"/>
                </a:lnTo>
                <a:lnTo>
                  <a:pt x="204" y="302"/>
                </a:lnTo>
                <a:lnTo>
                  <a:pt x="201" y="306"/>
                </a:lnTo>
                <a:lnTo>
                  <a:pt x="198" y="312"/>
                </a:lnTo>
                <a:lnTo>
                  <a:pt x="195" y="319"/>
                </a:lnTo>
                <a:lnTo>
                  <a:pt x="192" y="326"/>
                </a:lnTo>
                <a:lnTo>
                  <a:pt x="189" y="326"/>
                </a:lnTo>
                <a:lnTo>
                  <a:pt x="179" y="325"/>
                </a:lnTo>
                <a:lnTo>
                  <a:pt x="175" y="323"/>
                </a:lnTo>
                <a:lnTo>
                  <a:pt x="170" y="321"/>
                </a:lnTo>
                <a:lnTo>
                  <a:pt x="168" y="320"/>
                </a:lnTo>
                <a:lnTo>
                  <a:pt x="167" y="318"/>
                </a:lnTo>
                <a:lnTo>
                  <a:pt x="167" y="316"/>
                </a:lnTo>
                <a:lnTo>
                  <a:pt x="166" y="314"/>
                </a:lnTo>
                <a:lnTo>
                  <a:pt x="159" y="314"/>
                </a:lnTo>
                <a:lnTo>
                  <a:pt x="154" y="310"/>
                </a:lnTo>
                <a:lnTo>
                  <a:pt x="148" y="308"/>
                </a:lnTo>
                <a:lnTo>
                  <a:pt x="144" y="304"/>
                </a:lnTo>
                <a:lnTo>
                  <a:pt x="139" y="301"/>
                </a:lnTo>
                <a:lnTo>
                  <a:pt x="135" y="298"/>
                </a:lnTo>
                <a:lnTo>
                  <a:pt x="131" y="296"/>
                </a:lnTo>
                <a:lnTo>
                  <a:pt x="126" y="295"/>
                </a:lnTo>
                <a:lnTo>
                  <a:pt x="120" y="295"/>
                </a:lnTo>
                <a:lnTo>
                  <a:pt x="109" y="293"/>
                </a:lnTo>
                <a:lnTo>
                  <a:pt x="98" y="290"/>
                </a:lnTo>
                <a:lnTo>
                  <a:pt x="84" y="287"/>
                </a:lnTo>
                <a:lnTo>
                  <a:pt x="72" y="282"/>
                </a:lnTo>
                <a:lnTo>
                  <a:pt x="63" y="277"/>
                </a:lnTo>
                <a:lnTo>
                  <a:pt x="58" y="274"/>
                </a:lnTo>
                <a:lnTo>
                  <a:pt x="56" y="271"/>
                </a:lnTo>
                <a:lnTo>
                  <a:pt x="54" y="268"/>
                </a:lnTo>
                <a:lnTo>
                  <a:pt x="53" y="265"/>
                </a:lnTo>
                <a:lnTo>
                  <a:pt x="54" y="261"/>
                </a:lnTo>
                <a:lnTo>
                  <a:pt x="55" y="256"/>
                </a:lnTo>
                <a:lnTo>
                  <a:pt x="58" y="252"/>
                </a:lnTo>
                <a:lnTo>
                  <a:pt x="61" y="249"/>
                </a:lnTo>
                <a:lnTo>
                  <a:pt x="70" y="244"/>
                </a:lnTo>
                <a:lnTo>
                  <a:pt x="80" y="240"/>
                </a:lnTo>
                <a:lnTo>
                  <a:pt x="68" y="230"/>
                </a:lnTo>
                <a:lnTo>
                  <a:pt x="59" y="221"/>
                </a:lnTo>
                <a:lnTo>
                  <a:pt x="50" y="211"/>
                </a:lnTo>
                <a:lnTo>
                  <a:pt x="43" y="203"/>
                </a:lnTo>
                <a:lnTo>
                  <a:pt x="34" y="194"/>
                </a:lnTo>
                <a:lnTo>
                  <a:pt x="24" y="187"/>
                </a:lnTo>
                <a:lnTo>
                  <a:pt x="20" y="184"/>
                </a:lnTo>
                <a:lnTo>
                  <a:pt x="13" y="182"/>
                </a:lnTo>
                <a:lnTo>
                  <a:pt x="7" y="180"/>
                </a:lnTo>
                <a:lnTo>
                  <a:pt x="0" y="178"/>
                </a:lnTo>
                <a:lnTo>
                  <a:pt x="4" y="171"/>
                </a:lnTo>
                <a:lnTo>
                  <a:pt x="9" y="164"/>
                </a:lnTo>
                <a:lnTo>
                  <a:pt x="13" y="158"/>
                </a:lnTo>
                <a:lnTo>
                  <a:pt x="19" y="152"/>
                </a:lnTo>
                <a:lnTo>
                  <a:pt x="31" y="141"/>
                </a:lnTo>
                <a:lnTo>
                  <a:pt x="43" y="133"/>
                </a:lnTo>
                <a:lnTo>
                  <a:pt x="54" y="124"/>
                </a:lnTo>
                <a:lnTo>
                  <a:pt x="65" y="115"/>
                </a:lnTo>
                <a:lnTo>
                  <a:pt x="69" y="110"/>
                </a:lnTo>
                <a:lnTo>
                  <a:pt x="73" y="105"/>
                </a:lnTo>
                <a:lnTo>
                  <a:pt x="77" y="99"/>
                </a:lnTo>
                <a:lnTo>
                  <a:pt x="80" y="92"/>
                </a:lnTo>
                <a:lnTo>
                  <a:pt x="88" y="92"/>
                </a:lnTo>
                <a:lnTo>
                  <a:pt x="95" y="90"/>
                </a:lnTo>
                <a:lnTo>
                  <a:pt x="103" y="89"/>
                </a:lnTo>
                <a:lnTo>
                  <a:pt x="110" y="88"/>
                </a:lnTo>
                <a:lnTo>
                  <a:pt x="123" y="83"/>
                </a:lnTo>
                <a:lnTo>
                  <a:pt x="134" y="77"/>
                </a:lnTo>
                <a:lnTo>
                  <a:pt x="144" y="70"/>
                </a:lnTo>
                <a:lnTo>
                  <a:pt x="153" y="63"/>
                </a:lnTo>
                <a:lnTo>
                  <a:pt x="160" y="55"/>
                </a:lnTo>
                <a:lnTo>
                  <a:pt x="168" y="46"/>
                </a:lnTo>
                <a:lnTo>
                  <a:pt x="176" y="38"/>
                </a:lnTo>
                <a:lnTo>
                  <a:pt x="182" y="28"/>
                </a:lnTo>
                <a:lnTo>
                  <a:pt x="191" y="21"/>
                </a:lnTo>
                <a:lnTo>
                  <a:pt x="199" y="14"/>
                </a:lnTo>
                <a:lnTo>
                  <a:pt x="209" y="8"/>
                </a:lnTo>
                <a:lnTo>
                  <a:pt x="220" y="4"/>
                </a:lnTo>
                <a:lnTo>
                  <a:pt x="225" y="2"/>
                </a:lnTo>
                <a:lnTo>
                  <a:pt x="232" y="1"/>
                </a:lnTo>
                <a:lnTo>
                  <a:pt x="238" y="0"/>
                </a:lnTo>
                <a:lnTo>
                  <a:pt x="246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 dirty="0"/>
          </a:p>
        </p:txBody>
      </p:sp>
      <p:sp>
        <p:nvSpPr>
          <p:cNvPr id="62" name="Freeform 278"/>
          <p:cNvSpPr>
            <a:spLocks/>
          </p:cNvSpPr>
          <p:nvPr>
            <p:custDataLst>
              <p:tags r:id="rId42"/>
            </p:custDataLst>
          </p:nvPr>
        </p:nvSpPr>
        <p:spPr bwMode="auto">
          <a:xfrm>
            <a:off x="4689281" y="4286909"/>
            <a:ext cx="106299" cy="177559"/>
          </a:xfrm>
          <a:custGeom>
            <a:avLst/>
            <a:gdLst>
              <a:gd name="T0" fmla="*/ 3306842 w 200"/>
              <a:gd name="T1" fmla="*/ 11480800 h 246"/>
              <a:gd name="T2" fmla="*/ 5144357 w 200"/>
              <a:gd name="T3" fmla="*/ 7280275 h 246"/>
              <a:gd name="T4" fmla="*/ 6981444 w 200"/>
              <a:gd name="T5" fmla="*/ 4480454 h 246"/>
              <a:gd name="T6" fmla="*/ 9185862 w 200"/>
              <a:gd name="T7" fmla="*/ 2520421 h 246"/>
              <a:gd name="T8" fmla="*/ 13411676 w 200"/>
              <a:gd name="T9" fmla="*/ 279929 h 246"/>
              <a:gd name="T10" fmla="*/ 16167306 w 200"/>
              <a:gd name="T11" fmla="*/ 3360208 h 246"/>
              <a:gd name="T12" fmla="*/ 19841909 w 200"/>
              <a:gd name="T13" fmla="*/ 9520767 h 246"/>
              <a:gd name="T14" fmla="*/ 22964870 w 200"/>
              <a:gd name="T15" fmla="*/ 14000692 h 246"/>
              <a:gd name="T16" fmla="*/ 25537049 w 200"/>
              <a:gd name="T17" fmla="*/ 16241183 h 246"/>
              <a:gd name="T18" fmla="*/ 27925347 w 200"/>
              <a:gd name="T19" fmla="*/ 17921288 h 246"/>
              <a:gd name="T20" fmla="*/ 30497526 w 200"/>
              <a:gd name="T21" fmla="*/ 18761075 h 246"/>
              <a:gd name="T22" fmla="*/ 33804368 w 200"/>
              <a:gd name="T23" fmla="*/ 26881667 h 246"/>
              <a:gd name="T24" fmla="*/ 35825335 w 200"/>
              <a:gd name="T25" fmla="*/ 38362467 h 246"/>
              <a:gd name="T26" fmla="*/ 36559998 w 200"/>
              <a:gd name="T27" fmla="*/ 46203129 h 246"/>
              <a:gd name="T28" fmla="*/ 36743878 w 200"/>
              <a:gd name="T29" fmla="*/ 51803300 h 246"/>
              <a:gd name="T30" fmla="*/ 36376547 w 200"/>
              <a:gd name="T31" fmla="*/ 55163508 h 246"/>
              <a:gd name="T32" fmla="*/ 35825335 w 200"/>
              <a:gd name="T33" fmla="*/ 57963329 h 246"/>
              <a:gd name="T34" fmla="*/ 34722911 w 200"/>
              <a:gd name="T35" fmla="*/ 59923892 h 246"/>
              <a:gd name="T36" fmla="*/ 32885825 w 200"/>
              <a:gd name="T37" fmla="*/ 61603996 h 246"/>
              <a:gd name="T38" fmla="*/ 30130194 w 200"/>
              <a:gd name="T39" fmla="*/ 62723712 h 246"/>
              <a:gd name="T40" fmla="*/ 25720929 w 200"/>
              <a:gd name="T41" fmla="*/ 62723712 h 246"/>
              <a:gd name="T42" fmla="*/ 21678995 w 200"/>
              <a:gd name="T43" fmla="*/ 64123887 h 246"/>
              <a:gd name="T44" fmla="*/ 20392692 w 200"/>
              <a:gd name="T45" fmla="*/ 65803992 h 246"/>
              <a:gd name="T46" fmla="*/ 19841909 w 200"/>
              <a:gd name="T47" fmla="*/ 67764025 h 246"/>
              <a:gd name="T48" fmla="*/ 18004393 w 200"/>
              <a:gd name="T49" fmla="*/ 68604342 h 246"/>
              <a:gd name="T50" fmla="*/ 15616095 w 200"/>
              <a:gd name="T51" fmla="*/ 67204167 h 246"/>
              <a:gd name="T52" fmla="*/ 14146340 w 200"/>
              <a:gd name="T53" fmla="*/ 64403817 h 246"/>
              <a:gd name="T54" fmla="*/ 13411676 w 200"/>
              <a:gd name="T55" fmla="*/ 60483750 h 246"/>
              <a:gd name="T56" fmla="*/ 13227796 w 200"/>
              <a:gd name="T57" fmla="*/ 53763333 h 246"/>
              <a:gd name="T58" fmla="*/ 13043916 w 200"/>
              <a:gd name="T59" fmla="*/ 47042917 h 246"/>
              <a:gd name="T60" fmla="*/ 12676584 w 200"/>
              <a:gd name="T61" fmla="*/ 43122850 h 246"/>
              <a:gd name="T62" fmla="*/ 11758041 w 200"/>
              <a:gd name="T63" fmla="*/ 39762642 h 246"/>
              <a:gd name="T64" fmla="*/ 10288286 w 200"/>
              <a:gd name="T65" fmla="*/ 37522150 h 246"/>
              <a:gd name="T66" fmla="*/ 7348776 w 200"/>
              <a:gd name="T67" fmla="*/ 35002258 h 246"/>
              <a:gd name="T68" fmla="*/ 3306842 w 200"/>
              <a:gd name="T69" fmla="*/ 32201908 h 246"/>
              <a:gd name="T70" fmla="*/ 1102424 w 200"/>
              <a:gd name="T71" fmla="*/ 29682017 h 246"/>
              <a:gd name="T72" fmla="*/ 183880 w 200"/>
              <a:gd name="T73" fmla="*/ 27441525 h 246"/>
              <a:gd name="T74" fmla="*/ 183880 w 200"/>
              <a:gd name="T75" fmla="*/ 24361775 h 246"/>
              <a:gd name="T76" fmla="*/ 918543 w 200"/>
              <a:gd name="T77" fmla="*/ 21841354 h 246"/>
              <a:gd name="T78" fmla="*/ 1837087 w 200"/>
              <a:gd name="T79" fmla="*/ 19041004 h 246"/>
              <a:gd name="T80" fmla="*/ 2388299 w 200"/>
              <a:gd name="T81" fmla="*/ 15680796 h 24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</a:gdLst>
            <a:ahLst/>
            <a:cxnLst>
              <a:cxn ang="T82">
                <a:pos x="T0" y="T1"/>
              </a:cxn>
              <a:cxn ang="T83">
                <a:pos x="T2" y="T3"/>
              </a:cxn>
              <a:cxn ang="T84">
                <a:pos x="T4" y="T5"/>
              </a:cxn>
              <a:cxn ang="T85">
                <a:pos x="T6" y="T7"/>
              </a:cxn>
              <a:cxn ang="T86">
                <a:pos x="T8" y="T9"/>
              </a:cxn>
              <a:cxn ang="T87">
                <a:pos x="T10" y="T11"/>
              </a:cxn>
              <a:cxn ang="T88">
                <a:pos x="T12" y="T13"/>
              </a:cxn>
              <a:cxn ang="T89">
                <a:pos x="T14" y="T15"/>
              </a:cxn>
              <a:cxn ang="T90">
                <a:pos x="T16" y="T17"/>
              </a:cxn>
              <a:cxn ang="T91">
                <a:pos x="T18" y="T19"/>
              </a:cxn>
              <a:cxn ang="T92">
                <a:pos x="T20" y="T21"/>
              </a:cxn>
              <a:cxn ang="T93">
                <a:pos x="T22" y="T23"/>
              </a:cxn>
              <a:cxn ang="T94">
                <a:pos x="T24" y="T25"/>
              </a:cxn>
              <a:cxn ang="T95">
                <a:pos x="T26" y="T27"/>
              </a:cxn>
              <a:cxn ang="T96">
                <a:pos x="T28" y="T29"/>
              </a:cxn>
              <a:cxn ang="T97">
                <a:pos x="T30" y="T31"/>
              </a:cxn>
              <a:cxn ang="T98">
                <a:pos x="T32" y="T33"/>
              </a:cxn>
              <a:cxn ang="T99">
                <a:pos x="T34" y="T35"/>
              </a:cxn>
              <a:cxn ang="T100">
                <a:pos x="T36" y="T37"/>
              </a:cxn>
              <a:cxn ang="T101">
                <a:pos x="T38" y="T39"/>
              </a:cxn>
              <a:cxn ang="T102">
                <a:pos x="T40" y="T41"/>
              </a:cxn>
              <a:cxn ang="T103">
                <a:pos x="T42" y="T43"/>
              </a:cxn>
              <a:cxn ang="T104">
                <a:pos x="T44" y="T45"/>
              </a:cxn>
              <a:cxn ang="T105">
                <a:pos x="T46" y="T47"/>
              </a:cxn>
              <a:cxn ang="T106">
                <a:pos x="T48" y="T49"/>
              </a:cxn>
              <a:cxn ang="T107">
                <a:pos x="T50" y="T51"/>
              </a:cxn>
              <a:cxn ang="T108">
                <a:pos x="T52" y="T53"/>
              </a:cxn>
              <a:cxn ang="T109">
                <a:pos x="T54" y="T55"/>
              </a:cxn>
              <a:cxn ang="T110">
                <a:pos x="T56" y="T57"/>
              </a:cxn>
              <a:cxn ang="T111">
                <a:pos x="T58" y="T59"/>
              </a:cxn>
              <a:cxn ang="T112">
                <a:pos x="T60" y="T61"/>
              </a:cxn>
              <a:cxn ang="T113">
                <a:pos x="T62" y="T63"/>
              </a:cxn>
              <a:cxn ang="T114">
                <a:pos x="T64" y="T65"/>
              </a:cxn>
              <a:cxn ang="T115">
                <a:pos x="T66" y="T67"/>
              </a:cxn>
              <a:cxn ang="T116">
                <a:pos x="T68" y="T69"/>
              </a:cxn>
              <a:cxn ang="T117">
                <a:pos x="T70" y="T71"/>
              </a:cxn>
              <a:cxn ang="T118">
                <a:pos x="T72" y="T73"/>
              </a:cxn>
              <a:cxn ang="T119">
                <a:pos x="T74" y="T75"/>
              </a:cxn>
              <a:cxn ang="T120">
                <a:pos x="T76" y="T77"/>
              </a:cxn>
              <a:cxn ang="T121">
                <a:pos x="T78" y="T79"/>
              </a:cxn>
              <a:cxn ang="T122">
                <a:pos x="T80" y="T81"/>
              </a:cxn>
            </a:cxnLst>
            <a:rect l="0" t="0" r="r" b="b"/>
            <a:pathLst>
              <a:path w="200" h="246">
                <a:moveTo>
                  <a:pt x="13" y="49"/>
                </a:moveTo>
                <a:lnTo>
                  <a:pt x="18" y="41"/>
                </a:lnTo>
                <a:lnTo>
                  <a:pt x="22" y="32"/>
                </a:lnTo>
                <a:lnTo>
                  <a:pt x="28" y="26"/>
                </a:lnTo>
                <a:lnTo>
                  <a:pt x="33" y="20"/>
                </a:lnTo>
                <a:lnTo>
                  <a:pt x="38" y="16"/>
                </a:lnTo>
                <a:lnTo>
                  <a:pt x="44" y="12"/>
                </a:lnTo>
                <a:lnTo>
                  <a:pt x="50" y="9"/>
                </a:lnTo>
                <a:lnTo>
                  <a:pt x="54" y="6"/>
                </a:lnTo>
                <a:lnTo>
                  <a:pt x="73" y="1"/>
                </a:lnTo>
                <a:lnTo>
                  <a:pt x="80" y="0"/>
                </a:lnTo>
                <a:lnTo>
                  <a:pt x="88" y="12"/>
                </a:lnTo>
                <a:lnTo>
                  <a:pt x="98" y="23"/>
                </a:lnTo>
                <a:lnTo>
                  <a:pt x="108" y="34"/>
                </a:lnTo>
                <a:lnTo>
                  <a:pt x="119" y="46"/>
                </a:lnTo>
                <a:lnTo>
                  <a:pt x="125" y="50"/>
                </a:lnTo>
                <a:lnTo>
                  <a:pt x="132" y="54"/>
                </a:lnTo>
                <a:lnTo>
                  <a:pt x="139" y="58"/>
                </a:lnTo>
                <a:lnTo>
                  <a:pt x="145" y="61"/>
                </a:lnTo>
                <a:lnTo>
                  <a:pt x="152" y="64"/>
                </a:lnTo>
                <a:lnTo>
                  <a:pt x="158" y="66"/>
                </a:lnTo>
                <a:lnTo>
                  <a:pt x="166" y="67"/>
                </a:lnTo>
                <a:lnTo>
                  <a:pt x="174" y="67"/>
                </a:lnTo>
                <a:lnTo>
                  <a:pt x="184" y="96"/>
                </a:lnTo>
                <a:lnTo>
                  <a:pt x="191" y="123"/>
                </a:lnTo>
                <a:lnTo>
                  <a:pt x="195" y="137"/>
                </a:lnTo>
                <a:lnTo>
                  <a:pt x="198" y="151"/>
                </a:lnTo>
                <a:lnTo>
                  <a:pt x="199" y="165"/>
                </a:lnTo>
                <a:lnTo>
                  <a:pt x="200" y="178"/>
                </a:lnTo>
                <a:lnTo>
                  <a:pt x="200" y="185"/>
                </a:lnTo>
                <a:lnTo>
                  <a:pt x="199" y="192"/>
                </a:lnTo>
                <a:lnTo>
                  <a:pt x="198" y="197"/>
                </a:lnTo>
                <a:lnTo>
                  <a:pt x="196" y="202"/>
                </a:lnTo>
                <a:lnTo>
                  <a:pt x="195" y="207"/>
                </a:lnTo>
                <a:lnTo>
                  <a:pt x="192" y="211"/>
                </a:lnTo>
                <a:lnTo>
                  <a:pt x="189" y="214"/>
                </a:lnTo>
                <a:lnTo>
                  <a:pt x="186" y="216"/>
                </a:lnTo>
                <a:lnTo>
                  <a:pt x="179" y="220"/>
                </a:lnTo>
                <a:lnTo>
                  <a:pt x="173" y="222"/>
                </a:lnTo>
                <a:lnTo>
                  <a:pt x="164" y="224"/>
                </a:lnTo>
                <a:lnTo>
                  <a:pt x="156" y="224"/>
                </a:lnTo>
                <a:lnTo>
                  <a:pt x="140" y="224"/>
                </a:lnTo>
                <a:lnTo>
                  <a:pt x="124" y="226"/>
                </a:lnTo>
                <a:lnTo>
                  <a:pt x="118" y="229"/>
                </a:lnTo>
                <a:lnTo>
                  <a:pt x="112" y="232"/>
                </a:lnTo>
                <a:lnTo>
                  <a:pt x="111" y="235"/>
                </a:lnTo>
                <a:lnTo>
                  <a:pt x="109" y="238"/>
                </a:lnTo>
                <a:lnTo>
                  <a:pt x="108" y="242"/>
                </a:lnTo>
                <a:lnTo>
                  <a:pt x="107" y="246"/>
                </a:lnTo>
                <a:lnTo>
                  <a:pt x="98" y="245"/>
                </a:lnTo>
                <a:lnTo>
                  <a:pt x="90" y="243"/>
                </a:lnTo>
                <a:lnTo>
                  <a:pt x="85" y="240"/>
                </a:lnTo>
                <a:lnTo>
                  <a:pt x="80" y="235"/>
                </a:lnTo>
                <a:lnTo>
                  <a:pt x="77" y="230"/>
                </a:lnTo>
                <a:lnTo>
                  <a:pt x="75" y="223"/>
                </a:lnTo>
                <a:lnTo>
                  <a:pt x="73" y="216"/>
                </a:lnTo>
                <a:lnTo>
                  <a:pt x="72" y="209"/>
                </a:lnTo>
                <a:lnTo>
                  <a:pt x="72" y="192"/>
                </a:lnTo>
                <a:lnTo>
                  <a:pt x="72" y="176"/>
                </a:lnTo>
                <a:lnTo>
                  <a:pt x="71" y="168"/>
                </a:lnTo>
                <a:lnTo>
                  <a:pt x="71" y="161"/>
                </a:lnTo>
                <a:lnTo>
                  <a:pt x="69" y="154"/>
                </a:lnTo>
                <a:lnTo>
                  <a:pt x="67" y="148"/>
                </a:lnTo>
                <a:lnTo>
                  <a:pt x="64" y="142"/>
                </a:lnTo>
                <a:lnTo>
                  <a:pt x="61" y="137"/>
                </a:lnTo>
                <a:lnTo>
                  <a:pt x="56" y="134"/>
                </a:lnTo>
                <a:lnTo>
                  <a:pt x="51" y="130"/>
                </a:lnTo>
                <a:lnTo>
                  <a:pt x="40" y="125"/>
                </a:lnTo>
                <a:lnTo>
                  <a:pt x="29" y="120"/>
                </a:lnTo>
                <a:lnTo>
                  <a:pt x="18" y="115"/>
                </a:lnTo>
                <a:lnTo>
                  <a:pt x="9" y="110"/>
                </a:lnTo>
                <a:lnTo>
                  <a:pt x="6" y="106"/>
                </a:lnTo>
                <a:lnTo>
                  <a:pt x="3" y="103"/>
                </a:lnTo>
                <a:lnTo>
                  <a:pt x="1" y="98"/>
                </a:lnTo>
                <a:lnTo>
                  <a:pt x="0" y="93"/>
                </a:lnTo>
                <a:lnTo>
                  <a:pt x="1" y="87"/>
                </a:lnTo>
                <a:lnTo>
                  <a:pt x="3" y="83"/>
                </a:lnTo>
                <a:lnTo>
                  <a:pt x="5" y="78"/>
                </a:lnTo>
                <a:lnTo>
                  <a:pt x="7" y="73"/>
                </a:lnTo>
                <a:lnTo>
                  <a:pt x="10" y="68"/>
                </a:lnTo>
                <a:lnTo>
                  <a:pt x="12" y="62"/>
                </a:lnTo>
                <a:lnTo>
                  <a:pt x="13" y="56"/>
                </a:lnTo>
                <a:lnTo>
                  <a:pt x="13" y="49"/>
                </a:lnTo>
              </a:path>
            </a:pathLst>
          </a:custGeom>
          <a:solidFill>
            <a:srgbClr val="92D05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 dirty="0"/>
          </a:p>
        </p:txBody>
      </p:sp>
      <p:sp>
        <p:nvSpPr>
          <p:cNvPr id="63" name="Freeform 341"/>
          <p:cNvSpPr>
            <a:spLocks/>
          </p:cNvSpPr>
          <p:nvPr>
            <p:custDataLst>
              <p:tags r:id="rId43"/>
            </p:custDataLst>
          </p:nvPr>
        </p:nvSpPr>
        <p:spPr bwMode="auto">
          <a:xfrm>
            <a:off x="3315267" y="4412499"/>
            <a:ext cx="66929" cy="82283"/>
          </a:xfrm>
          <a:custGeom>
            <a:avLst/>
            <a:gdLst>
              <a:gd name="T0" fmla="*/ 0 w 133"/>
              <a:gd name="T1" fmla="*/ 5050801 h 117"/>
              <a:gd name="T2" fmla="*/ 11858267 w 133"/>
              <a:gd name="T3" fmla="*/ 0 h 117"/>
              <a:gd name="T4" fmla="*/ 13340347 w 133"/>
              <a:gd name="T5" fmla="*/ 1595261 h 117"/>
              <a:gd name="T6" fmla="*/ 14987194 w 133"/>
              <a:gd name="T7" fmla="*/ 3721588 h 117"/>
              <a:gd name="T8" fmla="*/ 16634446 w 133"/>
              <a:gd name="T9" fmla="*/ 6646062 h 117"/>
              <a:gd name="T10" fmla="*/ 17951760 w 133"/>
              <a:gd name="T11" fmla="*/ 9836069 h 117"/>
              <a:gd name="T12" fmla="*/ 19434247 w 133"/>
              <a:gd name="T13" fmla="*/ 13026075 h 117"/>
              <a:gd name="T14" fmla="*/ 20751561 w 133"/>
              <a:gd name="T15" fmla="*/ 16482131 h 117"/>
              <a:gd name="T16" fmla="*/ 21081093 w 133"/>
              <a:gd name="T17" fmla="*/ 18077392 h 117"/>
              <a:gd name="T18" fmla="*/ 21410624 w 133"/>
              <a:gd name="T19" fmla="*/ 19672137 h 117"/>
              <a:gd name="T20" fmla="*/ 21574984 w 133"/>
              <a:gd name="T21" fmla="*/ 21267398 h 117"/>
              <a:gd name="T22" fmla="*/ 21904516 w 133"/>
              <a:gd name="T23" fmla="*/ 22862144 h 117"/>
              <a:gd name="T24" fmla="*/ 21574984 w 133"/>
              <a:gd name="T25" fmla="*/ 24457405 h 117"/>
              <a:gd name="T26" fmla="*/ 21081093 w 133"/>
              <a:gd name="T27" fmla="*/ 25786617 h 117"/>
              <a:gd name="T28" fmla="*/ 20422436 w 133"/>
              <a:gd name="T29" fmla="*/ 27115830 h 117"/>
              <a:gd name="T30" fmla="*/ 19434247 w 133"/>
              <a:gd name="T31" fmla="*/ 28445042 h 117"/>
              <a:gd name="T32" fmla="*/ 18610418 w 133"/>
              <a:gd name="T33" fmla="*/ 29508206 h 117"/>
              <a:gd name="T34" fmla="*/ 17622229 w 133"/>
              <a:gd name="T35" fmla="*/ 30305836 h 117"/>
              <a:gd name="T36" fmla="*/ 16963571 w 133"/>
              <a:gd name="T37" fmla="*/ 31103467 h 117"/>
              <a:gd name="T38" fmla="*/ 16469680 w 133"/>
              <a:gd name="T39" fmla="*/ 31103467 h 117"/>
              <a:gd name="T40" fmla="*/ 11858267 w 133"/>
              <a:gd name="T41" fmla="*/ 25255035 h 117"/>
              <a:gd name="T42" fmla="*/ 7411214 w 133"/>
              <a:gd name="T43" fmla="*/ 18608974 h 117"/>
              <a:gd name="T44" fmla="*/ 5270070 w 133"/>
              <a:gd name="T45" fmla="*/ 15418967 h 117"/>
              <a:gd name="T46" fmla="*/ 2964567 w 133"/>
              <a:gd name="T47" fmla="*/ 12228960 h 117"/>
              <a:gd name="T48" fmla="*/ 1317720 w 133"/>
              <a:gd name="T49" fmla="*/ 8772905 h 117"/>
              <a:gd name="T50" fmla="*/ 0 w 133"/>
              <a:gd name="T51" fmla="*/ 5050801 h 117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</a:gdLst>
            <a:ahLst/>
            <a:cxnLst>
              <a:cxn ang="T52">
                <a:pos x="T0" y="T1"/>
              </a:cxn>
              <a:cxn ang="T53">
                <a:pos x="T2" y="T3"/>
              </a:cxn>
              <a:cxn ang="T54">
                <a:pos x="T4" y="T5"/>
              </a:cxn>
              <a:cxn ang="T55">
                <a:pos x="T6" y="T7"/>
              </a:cxn>
              <a:cxn ang="T56">
                <a:pos x="T8" y="T9"/>
              </a:cxn>
              <a:cxn ang="T57">
                <a:pos x="T10" y="T11"/>
              </a:cxn>
              <a:cxn ang="T58">
                <a:pos x="T12" y="T13"/>
              </a:cxn>
              <a:cxn ang="T59">
                <a:pos x="T14" y="T15"/>
              </a:cxn>
              <a:cxn ang="T60">
                <a:pos x="T16" y="T17"/>
              </a:cxn>
              <a:cxn ang="T61">
                <a:pos x="T18" y="T19"/>
              </a:cxn>
              <a:cxn ang="T62">
                <a:pos x="T20" y="T21"/>
              </a:cxn>
              <a:cxn ang="T63">
                <a:pos x="T22" y="T23"/>
              </a:cxn>
              <a:cxn ang="T64">
                <a:pos x="T24" y="T25"/>
              </a:cxn>
              <a:cxn ang="T65">
                <a:pos x="T26" y="T27"/>
              </a:cxn>
              <a:cxn ang="T66">
                <a:pos x="T28" y="T29"/>
              </a:cxn>
              <a:cxn ang="T67">
                <a:pos x="T30" y="T31"/>
              </a:cxn>
              <a:cxn ang="T68">
                <a:pos x="T32" y="T33"/>
              </a:cxn>
              <a:cxn ang="T69">
                <a:pos x="T34" y="T35"/>
              </a:cxn>
              <a:cxn ang="T70">
                <a:pos x="T36" y="T37"/>
              </a:cxn>
              <a:cxn ang="T71">
                <a:pos x="T38" y="T39"/>
              </a:cxn>
              <a:cxn ang="T72">
                <a:pos x="T40" y="T41"/>
              </a:cxn>
              <a:cxn ang="T73">
                <a:pos x="T42" y="T43"/>
              </a:cxn>
              <a:cxn ang="T74">
                <a:pos x="T44" y="T45"/>
              </a:cxn>
              <a:cxn ang="T75">
                <a:pos x="T46" y="T47"/>
              </a:cxn>
              <a:cxn ang="T76">
                <a:pos x="T48" y="T49"/>
              </a:cxn>
              <a:cxn ang="T77">
                <a:pos x="T50" y="T51"/>
              </a:cxn>
            </a:cxnLst>
            <a:rect l="0" t="0" r="r" b="b"/>
            <a:pathLst>
              <a:path w="133" h="117">
                <a:moveTo>
                  <a:pt x="0" y="19"/>
                </a:moveTo>
                <a:lnTo>
                  <a:pt x="72" y="0"/>
                </a:lnTo>
                <a:lnTo>
                  <a:pt x="81" y="6"/>
                </a:lnTo>
                <a:lnTo>
                  <a:pt x="91" y="14"/>
                </a:lnTo>
                <a:lnTo>
                  <a:pt x="101" y="25"/>
                </a:lnTo>
                <a:lnTo>
                  <a:pt x="109" y="37"/>
                </a:lnTo>
                <a:lnTo>
                  <a:pt x="118" y="49"/>
                </a:lnTo>
                <a:lnTo>
                  <a:pt x="126" y="62"/>
                </a:lnTo>
                <a:lnTo>
                  <a:pt x="128" y="68"/>
                </a:lnTo>
                <a:lnTo>
                  <a:pt x="130" y="74"/>
                </a:lnTo>
                <a:lnTo>
                  <a:pt x="131" y="80"/>
                </a:lnTo>
                <a:lnTo>
                  <a:pt x="133" y="86"/>
                </a:lnTo>
                <a:lnTo>
                  <a:pt x="131" y="92"/>
                </a:lnTo>
                <a:lnTo>
                  <a:pt x="128" y="97"/>
                </a:lnTo>
                <a:lnTo>
                  <a:pt x="124" y="102"/>
                </a:lnTo>
                <a:lnTo>
                  <a:pt x="118" y="107"/>
                </a:lnTo>
                <a:lnTo>
                  <a:pt x="113" y="111"/>
                </a:lnTo>
                <a:lnTo>
                  <a:pt x="107" y="114"/>
                </a:lnTo>
                <a:lnTo>
                  <a:pt x="103" y="117"/>
                </a:lnTo>
                <a:lnTo>
                  <a:pt x="100" y="117"/>
                </a:lnTo>
                <a:lnTo>
                  <a:pt x="72" y="95"/>
                </a:lnTo>
                <a:lnTo>
                  <a:pt x="45" y="70"/>
                </a:lnTo>
                <a:lnTo>
                  <a:pt x="32" y="58"/>
                </a:lnTo>
                <a:lnTo>
                  <a:pt x="18" y="46"/>
                </a:lnTo>
                <a:lnTo>
                  <a:pt x="8" y="33"/>
                </a:lnTo>
                <a:lnTo>
                  <a:pt x="0" y="19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 dirty="0"/>
          </a:p>
        </p:txBody>
      </p:sp>
      <p:sp>
        <p:nvSpPr>
          <p:cNvPr id="64" name="Freeform 342"/>
          <p:cNvSpPr>
            <a:spLocks/>
          </p:cNvSpPr>
          <p:nvPr>
            <p:custDataLst>
              <p:tags r:id="rId44"/>
            </p:custDataLst>
          </p:nvPr>
        </p:nvSpPr>
        <p:spPr bwMode="auto">
          <a:xfrm>
            <a:off x="1401883" y="3600493"/>
            <a:ext cx="273622" cy="242519"/>
          </a:xfrm>
          <a:custGeom>
            <a:avLst/>
            <a:gdLst>
              <a:gd name="T0" fmla="*/ 51933146 w 505"/>
              <a:gd name="T1" fmla="*/ 9902778 h 339"/>
              <a:gd name="T2" fmla="*/ 92410606 w 505"/>
              <a:gd name="T3" fmla="*/ 23657365 h 339"/>
              <a:gd name="T4" fmla="*/ 91264906 w 505"/>
              <a:gd name="T5" fmla="*/ 29984213 h 339"/>
              <a:gd name="T6" fmla="*/ 89928256 w 505"/>
              <a:gd name="T7" fmla="*/ 35485523 h 339"/>
              <a:gd name="T8" fmla="*/ 88019194 w 505"/>
              <a:gd name="T9" fmla="*/ 39886991 h 339"/>
              <a:gd name="T10" fmla="*/ 86109694 w 505"/>
              <a:gd name="T11" fmla="*/ 42087725 h 339"/>
              <a:gd name="T12" fmla="*/ 88019194 w 505"/>
              <a:gd name="T13" fmla="*/ 50615307 h 339"/>
              <a:gd name="T14" fmla="*/ 91073956 w 505"/>
              <a:gd name="T15" fmla="*/ 59142888 h 339"/>
              <a:gd name="T16" fmla="*/ 96420118 w 505"/>
              <a:gd name="T17" fmla="*/ 70971571 h 339"/>
              <a:gd name="T18" fmla="*/ 94129155 w 505"/>
              <a:gd name="T19" fmla="*/ 74547501 h 339"/>
              <a:gd name="T20" fmla="*/ 91455856 w 505"/>
              <a:gd name="T21" fmla="*/ 80324166 h 339"/>
              <a:gd name="T22" fmla="*/ 89355843 w 505"/>
              <a:gd name="T23" fmla="*/ 86376184 h 339"/>
              <a:gd name="T24" fmla="*/ 88592043 w 505"/>
              <a:gd name="T25" fmla="*/ 93253215 h 339"/>
              <a:gd name="T26" fmla="*/ 84582531 w 505"/>
              <a:gd name="T27" fmla="*/ 92978386 h 339"/>
              <a:gd name="T28" fmla="*/ 79045419 w 505"/>
              <a:gd name="T29" fmla="*/ 92152848 h 339"/>
              <a:gd name="T30" fmla="*/ 73508307 w 505"/>
              <a:gd name="T31" fmla="*/ 91052481 h 339"/>
              <a:gd name="T32" fmla="*/ 68353095 w 505"/>
              <a:gd name="T33" fmla="*/ 89677285 h 339"/>
              <a:gd name="T34" fmla="*/ 58043108 w 505"/>
              <a:gd name="T35" fmla="*/ 89401931 h 339"/>
              <a:gd name="T36" fmla="*/ 50405547 w 505"/>
              <a:gd name="T37" fmla="*/ 88301564 h 339"/>
              <a:gd name="T38" fmla="*/ 47350784 w 505"/>
              <a:gd name="T39" fmla="*/ 87201197 h 339"/>
              <a:gd name="T40" fmla="*/ 44296022 w 505"/>
              <a:gd name="T41" fmla="*/ 85275817 h 339"/>
              <a:gd name="T42" fmla="*/ 40668409 w 505"/>
              <a:gd name="T43" fmla="*/ 82524900 h 339"/>
              <a:gd name="T44" fmla="*/ 34367498 w 505"/>
              <a:gd name="T45" fmla="*/ 79499153 h 339"/>
              <a:gd name="T46" fmla="*/ 27876073 w 505"/>
              <a:gd name="T47" fmla="*/ 75097685 h 339"/>
              <a:gd name="T48" fmla="*/ 18711348 w 505"/>
              <a:gd name="T49" fmla="*/ 68495483 h 339"/>
              <a:gd name="T50" fmla="*/ 11837587 w 505"/>
              <a:gd name="T51" fmla="*/ 56667325 h 339"/>
              <a:gd name="T52" fmla="*/ 9928524 w 505"/>
              <a:gd name="T53" fmla="*/ 46489193 h 339"/>
              <a:gd name="T54" fmla="*/ 6873325 w 505"/>
              <a:gd name="T55" fmla="*/ 34110327 h 339"/>
              <a:gd name="T56" fmla="*/ 2863812 w 505"/>
              <a:gd name="T57" fmla="*/ 22831828 h 339"/>
              <a:gd name="T58" fmla="*/ 381900 w 505"/>
              <a:gd name="T59" fmla="*/ 17605347 h 339"/>
              <a:gd name="T60" fmla="*/ 954750 w 505"/>
              <a:gd name="T61" fmla="*/ 16780334 h 339"/>
              <a:gd name="T62" fmla="*/ 2100450 w 505"/>
              <a:gd name="T63" fmla="*/ 15404613 h 339"/>
              <a:gd name="T64" fmla="*/ 2100450 w 505"/>
              <a:gd name="T65" fmla="*/ 13203879 h 339"/>
              <a:gd name="T66" fmla="*/ 2100450 w 505"/>
              <a:gd name="T67" fmla="*/ 11828683 h 339"/>
              <a:gd name="T68" fmla="*/ 6491862 w 505"/>
              <a:gd name="T69" fmla="*/ 9352595 h 339"/>
              <a:gd name="T70" fmla="*/ 13938036 w 505"/>
              <a:gd name="T71" fmla="*/ 6052018 h 339"/>
              <a:gd name="T72" fmla="*/ 24438973 w 505"/>
              <a:gd name="T73" fmla="*/ 2200734 h 339"/>
              <a:gd name="T74" fmla="*/ 33030848 w 505"/>
              <a:gd name="T75" fmla="*/ 3025747 h 339"/>
              <a:gd name="T76" fmla="*/ 35895097 w 505"/>
              <a:gd name="T77" fmla="*/ 7702569 h 339"/>
              <a:gd name="T78" fmla="*/ 38377010 w 505"/>
              <a:gd name="T79" fmla="*/ 9627949 h 339"/>
              <a:gd name="T80" fmla="*/ 41813672 w 505"/>
              <a:gd name="T81" fmla="*/ 9902778 h 339"/>
              <a:gd name="T82" fmla="*/ 45632671 w 505"/>
              <a:gd name="T83" fmla="*/ 9902778 h 339"/>
              <a:gd name="T84" fmla="*/ 49451234 w 505"/>
              <a:gd name="T85" fmla="*/ 6602202 h 339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0" t="0" r="r" b="b"/>
            <a:pathLst>
              <a:path w="505" h="339">
                <a:moveTo>
                  <a:pt x="259" y="24"/>
                </a:moveTo>
                <a:lnTo>
                  <a:pt x="272" y="36"/>
                </a:lnTo>
                <a:lnTo>
                  <a:pt x="444" y="48"/>
                </a:lnTo>
                <a:lnTo>
                  <a:pt x="484" y="86"/>
                </a:lnTo>
                <a:lnTo>
                  <a:pt x="482" y="97"/>
                </a:lnTo>
                <a:lnTo>
                  <a:pt x="478" y="109"/>
                </a:lnTo>
                <a:lnTo>
                  <a:pt x="474" y="120"/>
                </a:lnTo>
                <a:lnTo>
                  <a:pt x="471" y="129"/>
                </a:lnTo>
                <a:lnTo>
                  <a:pt x="465" y="138"/>
                </a:lnTo>
                <a:lnTo>
                  <a:pt x="461" y="145"/>
                </a:lnTo>
                <a:lnTo>
                  <a:pt x="456" y="150"/>
                </a:lnTo>
                <a:lnTo>
                  <a:pt x="451" y="153"/>
                </a:lnTo>
                <a:lnTo>
                  <a:pt x="455" y="169"/>
                </a:lnTo>
                <a:lnTo>
                  <a:pt x="461" y="184"/>
                </a:lnTo>
                <a:lnTo>
                  <a:pt x="470" y="200"/>
                </a:lnTo>
                <a:lnTo>
                  <a:pt x="477" y="215"/>
                </a:lnTo>
                <a:lnTo>
                  <a:pt x="494" y="242"/>
                </a:lnTo>
                <a:lnTo>
                  <a:pt x="505" y="258"/>
                </a:lnTo>
                <a:lnTo>
                  <a:pt x="499" y="264"/>
                </a:lnTo>
                <a:lnTo>
                  <a:pt x="493" y="271"/>
                </a:lnTo>
                <a:lnTo>
                  <a:pt x="486" y="281"/>
                </a:lnTo>
                <a:lnTo>
                  <a:pt x="479" y="292"/>
                </a:lnTo>
                <a:lnTo>
                  <a:pt x="474" y="303"/>
                </a:lnTo>
                <a:lnTo>
                  <a:pt x="468" y="314"/>
                </a:lnTo>
                <a:lnTo>
                  <a:pt x="465" y="326"/>
                </a:lnTo>
                <a:lnTo>
                  <a:pt x="464" y="339"/>
                </a:lnTo>
                <a:lnTo>
                  <a:pt x="457" y="339"/>
                </a:lnTo>
                <a:lnTo>
                  <a:pt x="443" y="338"/>
                </a:lnTo>
                <a:lnTo>
                  <a:pt x="428" y="337"/>
                </a:lnTo>
                <a:lnTo>
                  <a:pt x="414" y="335"/>
                </a:lnTo>
                <a:lnTo>
                  <a:pt x="399" y="333"/>
                </a:lnTo>
                <a:lnTo>
                  <a:pt x="385" y="331"/>
                </a:lnTo>
                <a:lnTo>
                  <a:pt x="371" y="328"/>
                </a:lnTo>
                <a:lnTo>
                  <a:pt x="358" y="326"/>
                </a:lnTo>
                <a:lnTo>
                  <a:pt x="344" y="326"/>
                </a:lnTo>
                <a:lnTo>
                  <a:pt x="304" y="325"/>
                </a:lnTo>
                <a:lnTo>
                  <a:pt x="275" y="323"/>
                </a:lnTo>
                <a:lnTo>
                  <a:pt x="264" y="321"/>
                </a:lnTo>
                <a:lnTo>
                  <a:pt x="255" y="319"/>
                </a:lnTo>
                <a:lnTo>
                  <a:pt x="248" y="317"/>
                </a:lnTo>
                <a:lnTo>
                  <a:pt x="242" y="315"/>
                </a:lnTo>
                <a:lnTo>
                  <a:pt x="232" y="310"/>
                </a:lnTo>
                <a:lnTo>
                  <a:pt x="224" y="305"/>
                </a:lnTo>
                <a:lnTo>
                  <a:pt x="213" y="300"/>
                </a:lnTo>
                <a:lnTo>
                  <a:pt x="198" y="295"/>
                </a:lnTo>
                <a:lnTo>
                  <a:pt x="180" y="289"/>
                </a:lnTo>
                <a:lnTo>
                  <a:pt x="162" y="282"/>
                </a:lnTo>
                <a:lnTo>
                  <a:pt x="146" y="273"/>
                </a:lnTo>
                <a:lnTo>
                  <a:pt x="130" y="266"/>
                </a:lnTo>
                <a:lnTo>
                  <a:pt x="98" y="249"/>
                </a:lnTo>
                <a:lnTo>
                  <a:pt x="65" y="228"/>
                </a:lnTo>
                <a:lnTo>
                  <a:pt x="62" y="206"/>
                </a:lnTo>
                <a:lnTo>
                  <a:pt x="57" y="187"/>
                </a:lnTo>
                <a:lnTo>
                  <a:pt x="52" y="169"/>
                </a:lnTo>
                <a:lnTo>
                  <a:pt x="47" y="152"/>
                </a:lnTo>
                <a:lnTo>
                  <a:pt x="36" y="124"/>
                </a:lnTo>
                <a:lnTo>
                  <a:pt x="25" y="100"/>
                </a:lnTo>
                <a:lnTo>
                  <a:pt x="15" y="83"/>
                </a:lnTo>
                <a:lnTo>
                  <a:pt x="7" y="71"/>
                </a:lnTo>
                <a:lnTo>
                  <a:pt x="2" y="64"/>
                </a:lnTo>
                <a:lnTo>
                  <a:pt x="0" y="62"/>
                </a:lnTo>
                <a:lnTo>
                  <a:pt x="5" y="61"/>
                </a:lnTo>
                <a:lnTo>
                  <a:pt x="8" y="59"/>
                </a:lnTo>
                <a:lnTo>
                  <a:pt x="11" y="56"/>
                </a:lnTo>
                <a:lnTo>
                  <a:pt x="11" y="51"/>
                </a:lnTo>
                <a:lnTo>
                  <a:pt x="11" y="48"/>
                </a:lnTo>
                <a:lnTo>
                  <a:pt x="11" y="45"/>
                </a:lnTo>
                <a:lnTo>
                  <a:pt x="11" y="43"/>
                </a:lnTo>
                <a:lnTo>
                  <a:pt x="13" y="42"/>
                </a:lnTo>
                <a:lnTo>
                  <a:pt x="34" y="34"/>
                </a:lnTo>
                <a:lnTo>
                  <a:pt x="55" y="27"/>
                </a:lnTo>
                <a:lnTo>
                  <a:pt x="73" y="22"/>
                </a:lnTo>
                <a:lnTo>
                  <a:pt x="92" y="17"/>
                </a:lnTo>
                <a:lnTo>
                  <a:pt x="128" y="8"/>
                </a:lnTo>
                <a:lnTo>
                  <a:pt x="165" y="0"/>
                </a:lnTo>
                <a:lnTo>
                  <a:pt x="173" y="11"/>
                </a:lnTo>
                <a:lnTo>
                  <a:pt x="183" y="23"/>
                </a:lnTo>
                <a:lnTo>
                  <a:pt x="188" y="28"/>
                </a:lnTo>
                <a:lnTo>
                  <a:pt x="194" y="32"/>
                </a:lnTo>
                <a:lnTo>
                  <a:pt x="201" y="35"/>
                </a:lnTo>
                <a:lnTo>
                  <a:pt x="205" y="36"/>
                </a:lnTo>
                <a:lnTo>
                  <a:pt x="219" y="36"/>
                </a:lnTo>
                <a:lnTo>
                  <a:pt x="230" y="36"/>
                </a:lnTo>
                <a:lnTo>
                  <a:pt x="239" y="36"/>
                </a:lnTo>
                <a:lnTo>
                  <a:pt x="246" y="36"/>
                </a:lnTo>
                <a:lnTo>
                  <a:pt x="259" y="24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fr-FR" dirty="0"/>
          </a:p>
        </p:txBody>
      </p:sp>
      <p:sp>
        <p:nvSpPr>
          <p:cNvPr id="65" name="Freeform 343"/>
          <p:cNvSpPr>
            <a:spLocks/>
          </p:cNvSpPr>
          <p:nvPr>
            <p:custDataLst>
              <p:tags r:id="rId45"/>
            </p:custDataLst>
          </p:nvPr>
        </p:nvSpPr>
        <p:spPr bwMode="auto">
          <a:xfrm>
            <a:off x="1480624" y="3879823"/>
            <a:ext cx="181102" cy="97441"/>
          </a:xfrm>
          <a:custGeom>
            <a:avLst/>
            <a:gdLst>
              <a:gd name="T0" fmla="*/ 58253641 w 338"/>
              <a:gd name="T1" fmla="*/ 0 h 141"/>
              <a:gd name="T2" fmla="*/ 34728357 w 338"/>
              <a:gd name="T3" fmla="*/ 0 h 141"/>
              <a:gd name="T4" fmla="*/ 31367478 w 338"/>
              <a:gd name="T5" fmla="*/ 2053463 h 141"/>
              <a:gd name="T6" fmla="*/ 26886163 w 338"/>
              <a:gd name="T7" fmla="*/ 5390782 h 141"/>
              <a:gd name="T8" fmla="*/ 24645721 w 338"/>
              <a:gd name="T9" fmla="*/ 6931006 h 141"/>
              <a:gd name="T10" fmla="*/ 22218612 w 338"/>
              <a:gd name="T11" fmla="*/ 8214357 h 141"/>
              <a:gd name="T12" fmla="*/ 20911508 w 338"/>
              <a:gd name="T13" fmla="*/ 8727596 h 141"/>
              <a:gd name="T14" fmla="*/ 19604836 w 338"/>
              <a:gd name="T15" fmla="*/ 8984468 h 141"/>
              <a:gd name="T16" fmla="*/ 18484399 w 338"/>
              <a:gd name="T17" fmla="*/ 9240835 h 141"/>
              <a:gd name="T18" fmla="*/ 17363962 w 338"/>
              <a:gd name="T19" fmla="*/ 9497707 h 141"/>
              <a:gd name="T20" fmla="*/ 16430625 w 338"/>
              <a:gd name="T21" fmla="*/ 9240835 h 141"/>
              <a:gd name="T22" fmla="*/ 15683523 w 338"/>
              <a:gd name="T23" fmla="*/ 8984468 h 141"/>
              <a:gd name="T24" fmla="*/ 14563518 w 338"/>
              <a:gd name="T25" fmla="*/ 8214357 h 141"/>
              <a:gd name="T26" fmla="*/ 13816416 w 338"/>
              <a:gd name="T27" fmla="*/ 7701118 h 141"/>
              <a:gd name="T28" fmla="*/ 12323077 w 338"/>
              <a:gd name="T29" fmla="*/ 6160894 h 141"/>
              <a:gd name="T30" fmla="*/ 11015972 w 338"/>
              <a:gd name="T31" fmla="*/ 4620671 h 141"/>
              <a:gd name="T32" fmla="*/ 9148866 w 338"/>
              <a:gd name="T33" fmla="*/ 8727596 h 141"/>
              <a:gd name="T34" fmla="*/ 6908424 w 338"/>
              <a:gd name="T35" fmla="*/ 13091393 h 141"/>
              <a:gd name="T36" fmla="*/ 5601320 w 338"/>
              <a:gd name="T37" fmla="*/ 15401729 h 141"/>
              <a:gd name="T38" fmla="*/ 3920881 w 338"/>
              <a:gd name="T39" fmla="*/ 17455191 h 141"/>
              <a:gd name="T40" fmla="*/ 2053774 w 338"/>
              <a:gd name="T41" fmla="*/ 19252288 h 141"/>
              <a:gd name="T42" fmla="*/ 0 w 338"/>
              <a:gd name="T43" fmla="*/ 20535638 h 141"/>
              <a:gd name="T44" fmla="*/ 2240442 w 338"/>
              <a:gd name="T45" fmla="*/ 23102847 h 141"/>
              <a:gd name="T46" fmla="*/ 4294216 w 338"/>
              <a:gd name="T47" fmla="*/ 25669548 h 141"/>
              <a:gd name="T48" fmla="*/ 6161322 w 338"/>
              <a:gd name="T49" fmla="*/ 27723011 h 141"/>
              <a:gd name="T50" fmla="*/ 8215096 w 338"/>
              <a:gd name="T51" fmla="*/ 29776980 h 141"/>
              <a:gd name="T52" fmla="*/ 10269303 w 338"/>
              <a:gd name="T53" fmla="*/ 31317203 h 141"/>
              <a:gd name="T54" fmla="*/ 12323077 w 338"/>
              <a:gd name="T55" fmla="*/ 33113793 h 141"/>
              <a:gd name="T56" fmla="*/ 14750186 w 338"/>
              <a:gd name="T57" fmla="*/ 34654016 h 141"/>
              <a:gd name="T58" fmla="*/ 17363962 w 338"/>
              <a:gd name="T59" fmla="*/ 36194240 h 141"/>
              <a:gd name="T60" fmla="*/ 48358106 w 338"/>
              <a:gd name="T61" fmla="*/ 36194240 h 141"/>
              <a:gd name="T62" fmla="*/ 50225212 w 338"/>
              <a:gd name="T63" fmla="*/ 31830442 h 141"/>
              <a:gd name="T64" fmla="*/ 52465654 w 338"/>
              <a:gd name="T65" fmla="*/ 27466644 h 141"/>
              <a:gd name="T66" fmla="*/ 54519428 w 338"/>
              <a:gd name="T67" fmla="*/ 23616086 h 141"/>
              <a:gd name="T68" fmla="*/ 56760302 w 338"/>
              <a:gd name="T69" fmla="*/ 20022399 h 141"/>
              <a:gd name="T70" fmla="*/ 58814076 w 338"/>
              <a:gd name="T71" fmla="*/ 16428713 h 141"/>
              <a:gd name="T72" fmla="*/ 60494515 w 338"/>
              <a:gd name="T73" fmla="*/ 12321282 h 141"/>
              <a:gd name="T74" fmla="*/ 62174522 w 338"/>
              <a:gd name="T75" fmla="*/ 8727596 h 141"/>
              <a:gd name="T76" fmla="*/ 63108291 w 338"/>
              <a:gd name="T77" fmla="*/ 4620671 h 141"/>
              <a:gd name="T78" fmla="*/ 58253641 w 338"/>
              <a:gd name="T79" fmla="*/ 0 h 141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</a:gdLst>
            <a:ahLst/>
            <a:cxnLst>
              <a:cxn ang="T80">
                <a:pos x="T0" y="T1"/>
              </a:cxn>
              <a:cxn ang="T81">
                <a:pos x="T2" y="T3"/>
              </a:cxn>
              <a:cxn ang="T82">
                <a:pos x="T4" y="T5"/>
              </a:cxn>
              <a:cxn ang="T83">
                <a:pos x="T6" y="T7"/>
              </a:cxn>
              <a:cxn ang="T84">
                <a:pos x="T8" y="T9"/>
              </a:cxn>
              <a:cxn ang="T85">
                <a:pos x="T10" y="T11"/>
              </a:cxn>
              <a:cxn ang="T86">
                <a:pos x="T12" y="T13"/>
              </a:cxn>
              <a:cxn ang="T87">
                <a:pos x="T14" y="T15"/>
              </a:cxn>
              <a:cxn ang="T88">
                <a:pos x="T16" y="T17"/>
              </a:cxn>
              <a:cxn ang="T89">
                <a:pos x="T18" y="T19"/>
              </a:cxn>
              <a:cxn ang="T90">
                <a:pos x="T20" y="T21"/>
              </a:cxn>
              <a:cxn ang="T91">
                <a:pos x="T22" y="T23"/>
              </a:cxn>
              <a:cxn ang="T92">
                <a:pos x="T24" y="T25"/>
              </a:cxn>
              <a:cxn ang="T93">
                <a:pos x="T26" y="T27"/>
              </a:cxn>
              <a:cxn ang="T94">
                <a:pos x="T28" y="T29"/>
              </a:cxn>
              <a:cxn ang="T95">
                <a:pos x="T30" y="T31"/>
              </a:cxn>
              <a:cxn ang="T96">
                <a:pos x="T32" y="T33"/>
              </a:cxn>
              <a:cxn ang="T97">
                <a:pos x="T34" y="T35"/>
              </a:cxn>
              <a:cxn ang="T98">
                <a:pos x="T36" y="T37"/>
              </a:cxn>
              <a:cxn ang="T99">
                <a:pos x="T38" y="T39"/>
              </a:cxn>
              <a:cxn ang="T100">
                <a:pos x="T40" y="T41"/>
              </a:cxn>
              <a:cxn ang="T101">
                <a:pos x="T42" y="T43"/>
              </a:cxn>
              <a:cxn ang="T102">
                <a:pos x="T44" y="T45"/>
              </a:cxn>
              <a:cxn ang="T103">
                <a:pos x="T46" y="T47"/>
              </a:cxn>
              <a:cxn ang="T104">
                <a:pos x="T48" y="T49"/>
              </a:cxn>
              <a:cxn ang="T105">
                <a:pos x="T50" y="T51"/>
              </a:cxn>
              <a:cxn ang="T106">
                <a:pos x="T52" y="T53"/>
              </a:cxn>
              <a:cxn ang="T107">
                <a:pos x="T54" y="T55"/>
              </a:cxn>
              <a:cxn ang="T108">
                <a:pos x="T56" y="T57"/>
              </a:cxn>
              <a:cxn ang="T109">
                <a:pos x="T58" y="T59"/>
              </a:cxn>
              <a:cxn ang="T110">
                <a:pos x="T60" y="T61"/>
              </a:cxn>
              <a:cxn ang="T111">
                <a:pos x="T62" y="T63"/>
              </a:cxn>
              <a:cxn ang="T112">
                <a:pos x="T64" y="T65"/>
              </a:cxn>
              <a:cxn ang="T113">
                <a:pos x="T66" y="T67"/>
              </a:cxn>
              <a:cxn ang="T114">
                <a:pos x="T68" y="T69"/>
              </a:cxn>
              <a:cxn ang="T115">
                <a:pos x="T70" y="T71"/>
              </a:cxn>
              <a:cxn ang="T116">
                <a:pos x="T72" y="T73"/>
              </a:cxn>
              <a:cxn ang="T117">
                <a:pos x="T74" y="T75"/>
              </a:cxn>
              <a:cxn ang="T118">
                <a:pos x="T76" y="T77"/>
              </a:cxn>
              <a:cxn ang="T119">
                <a:pos x="T78" y="T79"/>
              </a:cxn>
            </a:cxnLst>
            <a:rect l="0" t="0" r="r" b="b"/>
            <a:pathLst>
              <a:path w="338" h="141">
                <a:moveTo>
                  <a:pt x="312" y="0"/>
                </a:moveTo>
                <a:lnTo>
                  <a:pt x="186" y="0"/>
                </a:lnTo>
                <a:lnTo>
                  <a:pt x="168" y="8"/>
                </a:lnTo>
                <a:lnTo>
                  <a:pt x="144" y="21"/>
                </a:lnTo>
                <a:lnTo>
                  <a:pt x="132" y="27"/>
                </a:lnTo>
                <a:lnTo>
                  <a:pt x="119" y="32"/>
                </a:lnTo>
                <a:lnTo>
                  <a:pt x="112" y="34"/>
                </a:lnTo>
                <a:lnTo>
                  <a:pt x="105" y="35"/>
                </a:lnTo>
                <a:lnTo>
                  <a:pt x="99" y="36"/>
                </a:lnTo>
                <a:lnTo>
                  <a:pt x="93" y="37"/>
                </a:lnTo>
                <a:lnTo>
                  <a:pt x="88" y="36"/>
                </a:lnTo>
                <a:lnTo>
                  <a:pt x="84" y="35"/>
                </a:lnTo>
                <a:lnTo>
                  <a:pt x="78" y="32"/>
                </a:lnTo>
                <a:lnTo>
                  <a:pt x="74" y="30"/>
                </a:lnTo>
                <a:lnTo>
                  <a:pt x="66" y="24"/>
                </a:lnTo>
                <a:lnTo>
                  <a:pt x="59" y="18"/>
                </a:lnTo>
                <a:lnTo>
                  <a:pt x="49" y="34"/>
                </a:lnTo>
                <a:lnTo>
                  <a:pt x="37" y="51"/>
                </a:lnTo>
                <a:lnTo>
                  <a:pt x="30" y="60"/>
                </a:lnTo>
                <a:lnTo>
                  <a:pt x="21" y="68"/>
                </a:lnTo>
                <a:lnTo>
                  <a:pt x="11" y="75"/>
                </a:lnTo>
                <a:lnTo>
                  <a:pt x="0" y="80"/>
                </a:lnTo>
                <a:lnTo>
                  <a:pt x="12" y="90"/>
                </a:lnTo>
                <a:lnTo>
                  <a:pt x="23" y="100"/>
                </a:lnTo>
                <a:lnTo>
                  <a:pt x="33" y="108"/>
                </a:lnTo>
                <a:lnTo>
                  <a:pt x="44" y="116"/>
                </a:lnTo>
                <a:lnTo>
                  <a:pt x="55" y="122"/>
                </a:lnTo>
                <a:lnTo>
                  <a:pt x="66" y="129"/>
                </a:lnTo>
                <a:lnTo>
                  <a:pt x="79" y="135"/>
                </a:lnTo>
                <a:lnTo>
                  <a:pt x="93" y="141"/>
                </a:lnTo>
                <a:lnTo>
                  <a:pt x="259" y="141"/>
                </a:lnTo>
                <a:lnTo>
                  <a:pt x="269" y="124"/>
                </a:lnTo>
                <a:lnTo>
                  <a:pt x="281" y="107"/>
                </a:lnTo>
                <a:lnTo>
                  <a:pt x="292" y="92"/>
                </a:lnTo>
                <a:lnTo>
                  <a:pt x="304" y="78"/>
                </a:lnTo>
                <a:lnTo>
                  <a:pt x="315" y="64"/>
                </a:lnTo>
                <a:lnTo>
                  <a:pt x="324" y="48"/>
                </a:lnTo>
                <a:lnTo>
                  <a:pt x="333" y="34"/>
                </a:lnTo>
                <a:lnTo>
                  <a:pt x="338" y="18"/>
                </a:lnTo>
                <a:lnTo>
                  <a:pt x="312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fr-FR" dirty="0"/>
          </a:p>
        </p:txBody>
      </p:sp>
      <p:sp>
        <p:nvSpPr>
          <p:cNvPr id="66" name="Freeform 344"/>
          <p:cNvSpPr>
            <a:spLocks/>
          </p:cNvSpPr>
          <p:nvPr>
            <p:custDataLst>
              <p:tags r:id="rId46"/>
            </p:custDataLst>
          </p:nvPr>
        </p:nvSpPr>
        <p:spPr bwMode="auto">
          <a:xfrm>
            <a:off x="1604640" y="3409943"/>
            <a:ext cx="137795" cy="88779"/>
          </a:xfrm>
          <a:custGeom>
            <a:avLst/>
            <a:gdLst>
              <a:gd name="T0" fmla="*/ 47678632 w 259"/>
              <a:gd name="T1" fmla="*/ 32839671 h 129"/>
              <a:gd name="T2" fmla="*/ 46942375 w 259"/>
              <a:gd name="T3" fmla="*/ 25966181 h 129"/>
              <a:gd name="T4" fmla="*/ 46390182 w 259"/>
              <a:gd name="T5" fmla="*/ 20365672 h 129"/>
              <a:gd name="T6" fmla="*/ 46390182 w 259"/>
              <a:gd name="T7" fmla="*/ 16038143 h 129"/>
              <a:gd name="T8" fmla="*/ 46574247 w 259"/>
              <a:gd name="T9" fmla="*/ 12728797 h 129"/>
              <a:gd name="T10" fmla="*/ 47310503 w 259"/>
              <a:gd name="T11" fmla="*/ 7382581 h 129"/>
              <a:gd name="T12" fmla="*/ 47678632 w 259"/>
              <a:gd name="T13" fmla="*/ 3055053 h 129"/>
              <a:gd name="T14" fmla="*/ 47494568 w 259"/>
              <a:gd name="T15" fmla="*/ 3564144 h 129"/>
              <a:gd name="T16" fmla="*/ 47126439 w 259"/>
              <a:gd name="T17" fmla="*/ 4073235 h 129"/>
              <a:gd name="T18" fmla="*/ 46574247 w 259"/>
              <a:gd name="T19" fmla="*/ 4327529 h 129"/>
              <a:gd name="T20" fmla="*/ 45837561 w 259"/>
              <a:gd name="T21" fmla="*/ 4582327 h 129"/>
              <a:gd name="T22" fmla="*/ 43996919 w 259"/>
              <a:gd name="T23" fmla="*/ 4836620 h 129"/>
              <a:gd name="T24" fmla="*/ 41971784 w 259"/>
              <a:gd name="T25" fmla="*/ 4836620 h 129"/>
              <a:gd name="T26" fmla="*/ 37737878 w 259"/>
              <a:gd name="T27" fmla="*/ 4836620 h 129"/>
              <a:gd name="T28" fmla="*/ 35344615 w 259"/>
              <a:gd name="T29" fmla="*/ 4582327 h 129"/>
              <a:gd name="T30" fmla="*/ 33319909 w 259"/>
              <a:gd name="T31" fmla="*/ 4327529 h 129"/>
              <a:gd name="T32" fmla="*/ 31662902 w 259"/>
              <a:gd name="T33" fmla="*/ 3818437 h 129"/>
              <a:gd name="T34" fmla="*/ 30006324 w 259"/>
              <a:gd name="T35" fmla="*/ 3055053 h 129"/>
              <a:gd name="T36" fmla="*/ 28717446 w 259"/>
              <a:gd name="T37" fmla="*/ 2291163 h 129"/>
              <a:gd name="T38" fmla="*/ 26876804 w 259"/>
              <a:gd name="T39" fmla="*/ 1527274 h 129"/>
              <a:gd name="T40" fmla="*/ 24667605 w 259"/>
              <a:gd name="T41" fmla="*/ 763889 h 129"/>
              <a:gd name="T42" fmla="*/ 21722149 w 259"/>
              <a:gd name="T43" fmla="*/ 254798 h 129"/>
              <a:gd name="T44" fmla="*/ 18224500 w 259"/>
              <a:gd name="T45" fmla="*/ 0 h 129"/>
              <a:gd name="T46" fmla="*/ 15279044 w 259"/>
              <a:gd name="T47" fmla="*/ 0 h 129"/>
              <a:gd name="T48" fmla="*/ 12334017 w 259"/>
              <a:gd name="T49" fmla="*/ 0 h 129"/>
              <a:gd name="T50" fmla="*/ 9204497 w 259"/>
              <a:gd name="T51" fmla="*/ 0 h 129"/>
              <a:gd name="T52" fmla="*/ 6259041 w 259"/>
              <a:gd name="T53" fmla="*/ 509091 h 129"/>
              <a:gd name="T54" fmla="*/ 4970162 w 259"/>
              <a:gd name="T55" fmla="*/ 1018183 h 129"/>
              <a:gd name="T56" fmla="*/ 3865777 w 259"/>
              <a:gd name="T57" fmla="*/ 1527274 h 129"/>
              <a:gd name="T58" fmla="*/ 2577328 w 259"/>
              <a:gd name="T59" fmla="*/ 2291163 h 129"/>
              <a:gd name="T60" fmla="*/ 1841071 w 259"/>
              <a:gd name="T61" fmla="*/ 3309346 h 129"/>
              <a:gd name="T62" fmla="*/ 920321 w 259"/>
              <a:gd name="T63" fmla="*/ 4327529 h 129"/>
              <a:gd name="T64" fmla="*/ 368128 w 259"/>
              <a:gd name="T65" fmla="*/ 5600509 h 129"/>
              <a:gd name="T66" fmla="*/ 0 w 259"/>
              <a:gd name="T67" fmla="*/ 7382581 h 129"/>
              <a:gd name="T68" fmla="*/ 0 w 259"/>
              <a:gd name="T69" fmla="*/ 9164653 h 129"/>
              <a:gd name="T70" fmla="*/ 0 w 259"/>
              <a:gd name="T71" fmla="*/ 12219201 h 129"/>
              <a:gd name="T72" fmla="*/ 552193 w 259"/>
              <a:gd name="T73" fmla="*/ 14765163 h 129"/>
              <a:gd name="T74" fmla="*/ 1104385 w 259"/>
              <a:gd name="T75" fmla="*/ 16547235 h 129"/>
              <a:gd name="T76" fmla="*/ 2209199 w 259"/>
              <a:gd name="T77" fmla="*/ 18074509 h 129"/>
              <a:gd name="T78" fmla="*/ 3129520 w 259"/>
              <a:gd name="T79" fmla="*/ 19347489 h 129"/>
              <a:gd name="T80" fmla="*/ 4417970 w 259"/>
              <a:gd name="T81" fmla="*/ 20365672 h 129"/>
              <a:gd name="T82" fmla="*/ 5706848 w 259"/>
              <a:gd name="T83" fmla="*/ 21129561 h 129"/>
              <a:gd name="T84" fmla="*/ 6811233 w 259"/>
              <a:gd name="T85" fmla="*/ 21638652 h 129"/>
              <a:gd name="T86" fmla="*/ 9204497 w 259"/>
              <a:gd name="T87" fmla="*/ 22402037 h 129"/>
              <a:gd name="T88" fmla="*/ 11229203 w 259"/>
              <a:gd name="T89" fmla="*/ 23420724 h 129"/>
              <a:gd name="T90" fmla="*/ 11965889 w 259"/>
              <a:gd name="T91" fmla="*/ 24184109 h 129"/>
              <a:gd name="T92" fmla="*/ 12334017 w 259"/>
              <a:gd name="T93" fmla="*/ 25202292 h 129"/>
              <a:gd name="T94" fmla="*/ 12334017 w 259"/>
              <a:gd name="T95" fmla="*/ 26730070 h 129"/>
              <a:gd name="T96" fmla="*/ 12149953 w 259"/>
              <a:gd name="T97" fmla="*/ 28257344 h 129"/>
              <a:gd name="T98" fmla="*/ 14910916 w 259"/>
              <a:gd name="T99" fmla="*/ 28003051 h 129"/>
              <a:gd name="T100" fmla="*/ 16751986 w 259"/>
              <a:gd name="T101" fmla="*/ 27493455 h 129"/>
              <a:gd name="T102" fmla="*/ 18040436 w 259"/>
              <a:gd name="T103" fmla="*/ 26984364 h 129"/>
              <a:gd name="T104" fmla="*/ 19329314 w 259"/>
              <a:gd name="T105" fmla="*/ 26730070 h 129"/>
              <a:gd name="T106" fmla="*/ 22090277 w 259"/>
              <a:gd name="T107" fmla="*/ 26984364 h 129"/>
              <a:gd name="T108" fmla="*/ 25772419 w 259"/>
              <a:gd name="T109" fmla="*/ 27493455 h 129"/>
              <a:gd name="T110" fmla="*/ 30558517 w 259"/>
              <a:gd name="T111" fmla="*/ 28512142 h 129"/>
              <a:gd name="T112" fmla="*/ 35344615 w 259"/>
              <a:gd name="T113" fmla="*/ 29784618 h 129"/>
              <a:gd name="T114" fmla="*/ 43812855 w 259"/>
              <a:gd name="T115" fmla="*/ 31821488 h 129"/>
              <a:gd name="T116" fmla="*/ 47678632 w 259"/>
              <a:gd name="T117" fmla="*/ 32839671 h 129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0" t="0" r="r" b="b"/>
            <a:pathLst>
              <a:path w="259" h="129">
                <a:moveTo>
                  <a:pt x="259" y="129"/>
                </a:moveTo>
                <a:lnTo>
                  <a:pt x="255" y="102"/>
                </a:lnTo>
                <a:lnTo>
                  <a:pt x="252" y="80"/>
                </a:lnTo>
                <a:lnTo>
                  <a:pt x="252" y="63"/>
                </a:lnTo>
                <a:lnTo>
                  <a:pt x="253" y="50"/>
                </a:lnTo>
                <a:lnTo>
                  <a:pt x="257" y="29"/>
                </a:lnTo>
                <a:lnTo>
                  <a:pt x="259" y="12"/>
                </a:lnTo>
                <a:lnTo>
                  <a:pt x="258" y="14"/>
                </a:lnTo>
                <a:lnTo>
                  <a:pt x="256" y="16"/>
                </a:lnTo>
                <a:lnTo>
                  <a:pt x="253" y="17"/>
                </a:lnTo>
                <a:lnTo>
                  <a:pt x="249" y="18"/>
                </a:lnTo>
                <a:lnTo>
                  <a:pt x="239" y="19"/>
                </a:lnTo>
                <a:lnTo>
                  <a:pt x="228" y="19"/>
                </a:lnTo>
                <a:lnTo>
                  <a:pt x="205" y="19"/>
                </a:lnTo>
                <a:lnTo>
                  <a:pt x="192" y="18"/>
                </a:lnTo>
                <a:lnTo>
                  <a:pt x="181" y="17"/>
                </a:lnTo>
                <a:lnTo>
                  <a:pt x="172" y="15"/>
                </a:lnTo>
                <a:lnTo>
                  <a:pt x="163" y="12"/>
                </a:lnTo>
                <a:lnTo>
                  <a:pt x="156" y="9"/>
                </a:lnTo>
                <a:lnTo>
                  <a:pt x="146" y="6"/>
                </a:lnTo>
                <a:lnTo>
                  <a:pt x="134" y="3"/>
                </a:lnTo>
                <a:lnTo>
                  <a:pt x="118" y="1"/>
                </a:lnTo>
                <a:lnTo>
                  <a:pt x="99" y="0"/>
                </a:lnTo>
                <a:lnTo>
                  <a:pt x="83" y="0"/>
                </a:lnTo>
                <a:lnTo>
                  <a:pt x="67" y="0"/>
                </a:lnTo>
                <a:lnTo>
                  <a:pt x="50" y="0"/>
                </a:lnTo>
                <a:lnTo>
                  <a:pt x="34" y="2"/>
                </a:lnTo>
                <a:lnTo>
                  <a:pt x="27" y="4"/>
                </a:lnTo>
                <a:lnTo>
                  <a:pt x="21" y="6"/>
                </a:lnTo>
                <a:lnTo>
                  <a:pt x="14" y="9"/>
                </a:lnTo>
                <a:lnTo>
                  <a:pt x="10" y="13"/>
                </a:lnTo>
                <a:lnTo>
                  <a:pt x="5" y="17"/>
                </a:lnTo>
                <a:lnTo>
                  <a:pt x="2" y="22"/>
                </a:lnTo>
                <a:lnTo>
                  <a:pt x="0" y="29"/>
                </a:lnTo>
                <a:lnTo>
                  <a:pt x="0" y="36"/>
                </a:lnTo>
                <a:lnTo>
                  <a:pt x="0" y="48"/>
                </a:lnTo>
                <a:lnTo>
                  <a:pt x="3" y="58"/>
                </a:lnTo>
                <a:lnTo>
                  <a:pt x="6" y="65"/>
                </a:lnTo>
                <a:lnTo>
                  <a:pt x="12" y="71"/>
                </a:lnTo>
                <a:lnTo>
                  <a:pt x="17" y="76"/>
                </a:lnTo>
                <a:lnTo>
                  <a:pt x="24" y="80"/>
                </a:lnTo>
                <a:lnTo>
                  <a:pt x="31" y="83"/>
                </a:lnTo>
                <a:lnTo>
                  <a:pt x="37" y="85"/>
                </a:lnTo>
                <a:lnTo>
                  <a:pt x="50" y="88"/>
                </a:lnTo>
                <a:lnTo>
                  <a:pt x="61" y="92"/>
                </a:lnTo>
                <a:lnTo>
                  <a:pt x="65" y="95"/>
                </a:lnTo>
                <a:lnTo>
                  <a:pt x="67" y="99"/>
                </a:lnTo>
                <a:lnTo>
                  <a:pt x="67" y="105"/>
                </a:lnTo>
                <a:lnTo>
                  <a:pt x="66" y="111"/>
                </a:lnTo>
                <a:lnTo>
                  <a:pt x="81" y="110"/>
                </a:lnTo>
                <a:lnTo>
                  <a:pt x="91" y="108"/>
                </a:lnTo>
                <a:lnTo>
                  <a:pt x="98" y="106"/>
                </a:lnTo>
                <a:lnTo>
                  <a:pt x="105" y="105"/>
                </a:lnTo>
                <a:lnTo>
                  <a:pt x="120" y="106"/>
                </a:lnTo>
                <a:lnTo>
                  <a:pt x="140" y="108"/>
                </a:lnTo>
                <a:lnTo>
                  <a:pt x="166" y="112"/>
                </a:lnTo>
                <a:lnTo>
                  <a:pt x="192" y="117"/>
                </a:lnTo>
                <a:lnTo>
                  <a:pt x="238" y="125"/>
                </a:lnTo>
                <a:lnTo>
                  <a:pt x="259" y="12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fr-FR" dirty="0"/>
          </a:p>
        </p:txBody>
      </p:sp>
      <p:sp>
        <p:nvSpPr>
          <p:cNvPr id="67" name="Freeform 345"/>
          <p:cNvSpPr>
            <a:spLocks/>
          </p:cNvSpPr>
          <p:nvPr>
            <p:custDataLst>
              <p:tags r:id="rId47"/>
            </p:custDataLst>
          </p:nvPr>
        </p:nvSpPr>
        <p:spPr bwMode="auto">
          <a:xfrm>
            <a:off x="1620388" y="3884154"/>
            <a:ext cx="222440" cy="194881"/>
          </a:xfrm>
          <a:custGeom>
            <a:avLst/>
            <a:gdLst>
              <a:gd name="T0" fmla="*/ 74469664 w 425"/>
              <a:gd name="T1" fmla="*/ 46905547 h 272"/>
              <a:gd name="T2" fmla="*/ 70906827 w 425"/>
              <a:gd name="T3" fmla="*/ 51872029 h 272"/>
              <a:gd name="T4" fmla="*/ 68234172 w 425"/>
              <a:gd name="T5" fmla="*/ 56838511 h 272"/>
              <a:gd name="T6" fmla="*/ 68412293 w 425"/>
              <a:gd name="T7" fmla="*/ 60977159 h 272"/>
              <a:gd name="T8" fmla="*/ 69303318 w 425"/>
              <a:gd name="T9" fmla="*/ 65391576 h 272"/>
              <a:gd name="T10" fmla="*/ 66809206 w 425"/>
              <a:gd name="T11" fmla="*/ 67323015 h 272"/>
              <a:gd name="T12" fmla="*/ 61820559 w 425"/>
              <a:gd name="T13" fmla="*/ 65667871 h 272"/>
              <a:gd name="T14" fmla="*/ 57722938 w 425"/>
              <a:gd name="T15" fmla="*/ 64840037 h 272"/>
              <a:gd name="T16" fmla="*/ 52556592 w 425"/>
              <a:gd name="T17" fmla="*/ 64840037 h 272"/>
              <a:gd name="T18" fmla="*/ 46855462 w 425"/>
              <a:gd name="T19" fmla="*/ 67047245 h 272"/>
              <a:gd name="T20" fmla="*/ 41332453 w 425"/>
              <a:gd name="T21" fmla="*/ 70082289 h 272"/>
              <a:gd name="T22" fmla="*/ 35096961 w 425"/>
              <a:gd name="T23" fmla="*/ 73669397 h 272"/>
              <a:gd name="T24" fmla="*/ 17815873 w 425"/>
              <a:gd name="T25" fmla="*/ 66219411 h 272"/>
              <a:gd name="T26" fmla="*/ 15143217 w 425"/>
              <a:gd name="T27" fmla="*/ 62356533 h 272"/>
              <a:gd name="T28" fmla="*/ 12470984 w 425"/>
              <a:gd name="T29" fmla="*/ 59045720 h 272"/>
              <a:gd name="T30" fmla="*/ 6591734 w 425"/>
              <a:gd name="T31" fmla="*/ 52975634 h 272"/>
              <a:gd name="T32" fmla="*/ 3919500 w 425"/>
              <a:gd name="T33" fmla="*/ 49664821 h 272"/>
              <a:gd name="T34" fmla="*/ 1959750 w 425"/>
              <a:gd name="T35" fmla="*/ 46077713 h 272"/>
              <a:gd name="T36" fmla="*/ 356241 w 425"/>
              <a:gd name="T37" fmla="*/ 41387000 h 272"/>
              <a:gd name="T38" fmla="*/ 0 w 425"/>
              <a:gd name="T39" fmla="*/ 35593209 h 272"/>
              <a:gd name="T40" fmla="*/ 8907725 w 425"/>
              <a:gd name="T41" fmla="*/ 18210259 h 272"/>
              <a:gd name="T42" fmla="*/ 12649105 w 425"/>
              <a:gd name="T43" fmla="*/ 9932964 h 272"/>
              <a:gd name="T44" fmla="*/ 14252614 w 425"/>
              <a:gd name="T45" fmla="*/ 6070086 h 272"/>
              <a:gd name="T46" fmla="*/ 15143217 w 425"/>
              <a:gd name="T47" fmla="*/ 1655669 h 272"/>
              <a:gd name="T48" fmla="*/ 21913494 w 425"/>
              <a:gd name="T49" fmla="*/ 2759273 h 272"/>
              <a:gd name="T50" fmla="*/ 27257960 w 425"/>
              <a:gd name="T51" fmla="*/ 4966482 h 272"/>
              <a:gd name="T52" fmla="*/ 32068486 w 425"/>
              <a:gd name="T53" fmla="*/ 7449460 h 272"/>
              <a:gd name="T54" fmla="*/ 36522349 w 425"/>
              <a:gd name="T55" fmla="*/ 8553590 h 272"/>
              <a:gd name="T56" fmla="*/ 38125858 w 425"/>
              <a:gd name="T57" fmla="*/ 8001525 h 272"/>
              <a:gd name="T58" fmla="*/ 39372703 w 425"/>
              <a:gd name="T59" fmla="*/ 7173691 h 272"/>
              <a:gd name="T60" fmla="*/ 41332453 w 425"/>
              <a:gd name="T61" fmla="*/ 4138648 h 272"/>
              <a:gd name="T62" fmla="*/ 43114083 w 425"/>
              <a:gd name="T63" fmla="*/ 1379374 h 272"/>
              <a:gd name="T64" fmla="*/ 44539471 w 425"/>
              <a:gd name="T65" fmla="*/ 552065 h 272"/>
              <a:gd name="T66" fmla="*/ 46142979 w 425"/>
              <a:gd name="T67" fmla="*/ 0 h 272"/>
              <a:gd name="T68" fmla="*/ 48993333 w 425"/>
              <a:gd name="T69" fmla="*/ 552065 h 272"/>
              <a:gd name="T70" fmla="*/ 51487446 w 425"/>
              <a:gd name="T71" fmla="*/ 1931439 h 272"/>
              <a:gd name="T72" fmla="*/ 53803437 w 425"/>
              <a:gd name="T73" fmla="*/ 4138648 h 272"/>
              <a:gd name="T74" fmla="*/ 55228825 w 425"/>
              <a:gd name="T75" fmla="*/ 7173691 h 272"/>
              <a:gd name="T76" fmla="*/ 57901059 w 425"/>
              <a:gd name="T77" fmla="*/ 14623676 h 272"/>
              <a:gd name="T78" fmla="*/ 60038930 w 425"/>
              <a:gd name="T79" fmla="*/ 22625202 h 272"/>
              <a:gd name="T80" fmla="*/ 62176800 w 425"/>
              <a:gd name="T81" fmla="*/ 31178267 h 272"/>
              <a:gd name="T82" fmla="*/ 63424068 w 425"/>
              <a:gd name="T83" fmla="*/ 34765375 h 272"/>
              <a:gd name="T84" fmla="*/ 65027576 w 425"/>
              <a:gd name="T85" fmla="*/ 38076188 h 272"/>
              <a:gd name="T86" fmla="*/ 66987327 w 425"/>
              <a:gd name="T87" fmla="*/ 40559691 h 272"/>
              <a:gd name="T88" fmla="*/ 69303318 w 425"/>
              <a:gd name="T89" fmla="*/ 43042670 h 272"/>
              <a:gd name="T90" fmla="*/ 72153672 w 425"/>
              <a:gd name="T91" fmla="*/ 44146274 h 272"/>
              <a:gd name="T92" fmla="*/ 75716931 w 425"/>
              <a:gd name="T93" fmla="*/ 44422044 h 272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</a:gdLst>
            <a:ahLst/>
            <a:cxnLst>
              <a:cxn ang="T94">
                <a:pos x="T0" y="T1"/>
              </a:cxn>
              <a:cxn ang="T95">
                <a:pos x="T2" y="T3"/>
              </a:cxn>
              <a:cxn ang="T96">
                <a:pos x="T4" y="T5"/>
              </a:cxn>
              <a:cxn ang="T97">
                <a:pos x="T6" y="T7"/>
              </a:cxn>
              <a:cxn ang="T98">
                <a:pos x="T8" y="T9"/>
              </a:cxn>
              <a:cxn ang="T99">
                <a:pos x="T10" y="T11"/>
              </a:cxn>
              <a:cxn ang="T100">
                <a:pos x="T12" y="T13"/>
              </a:cxn>
              <a:cxn ang="T101">
                <a:pos x="T14" y="T15"/>
              </a:cxn>
              <a:cxn ang="T102">
                <a:pos x="T16" y="T17"/>
              </a:cxn>
              <a:cxn ang="T103">
                <a:pos x="T18" y="T19"/>
              </a:cxn>
              <a:cxn ang="T104">
                <a:pos x="T20" y="T21"/>
              </a:cxn>
              <a:cxn ang="T105">
                <a:pos x="T22" y="T23"/>
              </a:cxn>
              <a:cxn ang="T106">
                <a:pos x="T24" y="T25"/>
              </a:cxn>
              <a:cxn ang="T107">
                <a:pos x="T26" y="T27"/>
              </a:cxn>
              <a:cxn ang="T108">
                <a:pos x="T28" y="T29"/>
              </a:cxn>
              <a:cxn ang="T109">
                <a:pos x="T30" y="T31"/>
              </a:cxn>
              <a:cxn ang="T110">
                <a:pos x="T32" y="T33"/>
              </a:cxn>
              <a:cxn ang="T111">
                <a:pos x="T34" y="T35"/>
              </a:cxn>
              <a:cxn ang="T112">
                <a:pos x="T36" y="T37"/>
              </a:cxn>
              <a:cxn ang="T113">
                <a:pos x="T38" y="T39"/>
              </a:cxn>
              <a:cxn ang="T114">
                <a:pos x="T40" y="T41"/>
              </a:cxn>
              <a:cxn ang="T115">
                <a:pos x="T42" y="T43"/>
              </a:cxn>
              <a:cxn ang="T116">
                <a:pos x="T44" y="T45"/>
              </a:cxn>
              <a:cxn ang="T117">
                <a:pos x="T46" y="T47"/>
              </a:cxn>
              <a:cxn ang="T118">
                <a:pos x="T48" y="T49"/>
              </a:cxn>
              <a:cxn ang="T119">
                <a:pos x="T50" y="T51"/>
              </a:cxn>
              <a:cxn ang="T120">
                <a:pos x="T52" y="T53"/>
              </a:cxn>
              <a:cxn ang="T121">
                <a:pos x="T54" y="T55"/>
              </a:cxn>
              <a:cxn ang="T122">
                <a:pos x="T56" y="T57"/>
              </a:cxn>
              <a:cxn ang="T123">
                <a:pos x="T58" y="T59"/>
              </a:cxn>
              <a:cxn ang="T124">
                <a:pos x="T60" y="T61"/>
              </a:cxn>
              <a:cxn ang="T125">
                <a:pos x="T62" y="T63"/>
              </a:cxn>
              <a:cxn ang="T126">
                <a:pos x="T64" y="T65"/>
              </a:cxn>
              <a:cxn ang="T127">
                <a:pos x="T66" y="T67"/>
              </a:cxn>
              <a:cxn ang="T128">
                <a:pos x="T68" y="T69"/>
              </a:cxn>
              <a:cxn ang="T129">
                <a:pos x="T70" y="T71"/>
              </a:cxn>
              <a:cxn ang="T130">
                <a:pos x="T72" y="T73"/>
              </a:cxn>
              <a:cxn ang="T131">
                <a:pos x="T74" y="T75"/>
              </a:cxn>
              <a:cxn ang="T132">
                <a:pos x="T76" y="T77"/>
              </a:cxn>
              <a:cxn ang="T133">
                <a:pos x="T78" y="T79"/>
              </a:cxn>
              <a:cxn ang="T134">
                <a:pos x="T80" y="T81"/>
              </a:cxn>
              <a:cxn ang="T135">
                <a:pos x="T82" y="T83"/>
              </a:cxn>
              <a:cxn ang="T136">
                <a:pos x="T84" y="T85"/>
              </a:cxn>
              <a:cxn ang="T137">
                <a:pos x="T86" y="T87"/>
              </a:cxn>
              <a:cxn ang="T138">
                <a:pos x="T88" y="T89"/>
              </a:cxn>
              <a:cxn ang="T139">
                <a:pos x="T90" y="T91"/>
              </a:cxn>
              <a:cxn ang="T140">
                <a:pos x="T92" y="T93"/>
              </a:cxn>
            </a:cxnLst>
            <a:rect l="0" t="0" r="r" b="b"/>
            <a:pathLst>
              <a:path w="425" h="272">
                <a:moveTo>
                  <a:pt x="425" y="161"/>
                </a:moveTo>
                <a:lnTo>
                  <a:pt x="418" y="170"/>
                </a:lnTo>
                <a:lnTo>
                  <a:pt x="409" y="179"/>
                </a:lnTo>
                <a:lnTo>
                  <a:pt x="398" y="188"/>
                </a:lnTo>
                <a:lnTo>
                  <a:pt x="385" y="197"/>
                </a:lnTo>
                <a:lnTo>
                  <a:pt x="383" y="206"/>
                </a:lnTo>
                <a:lnTo>
                  <a:pt x="383" y="214"/>
                </a:lnTo>
                <a:lnTo>
                  <a:pt x="384" y="221"/>
                </a:lnTo>
                <a:lnTo>
                  <a:pt x="385" y="227"/>
                </a:lnTo>
                <a:lnTo>
                  <a:pt x="389" y="237"/>
                </a:lnTo>
                <a:lnTo>
                  <a:pt x="392" y="246"/>
                </a:lnTo>
                <a:lnTo>
                  <a:pt x="375" y="244"/>
                </a:lnTo>
                <a:lnTo>
                  <a:pt x="356" y="240"/>
                </a:lnTo>
                <a:lnTo>
                  <a:pt x="347" y="238"/>
                </a:lnTo>
                <a:lnTo>
                  <a:pt x="336" y="236"/>
                </a:lnTo>
                <a:lnTo>
                  <a:pt x="324" y="235"/>
                </a:lnTo>
                <a:lnTo>
                  <a:pt x="311" y="234"/>
                </a:lnTo>
                <a:lnTo>
                  <a:pt x="295" y="235"/>
                </a:lnTo>
                <a:lnTo>
                  <a:pt x="278" y="238"/>
                </a:lnTo>
                <a:lnTo>
                  <a:pt x="263" y="243"/>
                </a:lnTo>
                <a:lnTo>
                  <a:pt x="248" y="248"/>
                </a:lnTo>
                <a:lnTo>
                  <a:pt x="232" y="254"/>
                </a:lnTo>
                <a:lnTo>
                  <a:pt x="215" y="260"/>
                </a:lnTo>
                <a:lnTo>
                  <a:pt x="197" y="267"/>
                </a:lnTo>
                <a:lnTo>
                  <a:pt x="179" y="272"/>
                </a:lnTo>
                <a:lnTo>
                  <a:pt x="100" y="240"/>
                </a:lnTo>
                <a:lnTo>
                  <a:pt x="92" y="233"/>
                </a:lnTo>
                <a:lnTo>
                  <a:pt x="85" y="226"/>
                </a:lnTo>
                <a:lnTo>
                  <a:pt x="78" y="220"/>
                </a:lnTo>
                <a:lnTo>
                  <a:pt x="70" y="214"/>
                </a:lnTo>
                <a:lnTo>
                  <a:pt x="52" y="202"/>
                </a:lnTo>
                <a:lnTo>
                  <a:pt x="37" y="192"/>
                </a:lnTo>
                <a:lnTo>
                  <a:pt x="29" y="186"/>
                </a:lnTo>
                <a:lnTo>
                  <a:pt x="22" y="180"/>
                </a:lnTo>
                <a:lnTo>
                  <a:pt x="16" y="174"/>
                </a:lnTo>
                <a:lnTo>
                  <a:pt x="11" y="167"/>
                </a:lnTo>
                <a:lnTo>
                  <a:pt x="6" y="159"/>
                </a:lnTo>
                <a:lnTo>
                  <a:pt x="2" y="150"/>
                </a:lnTo>
                <a:lnTo>
                  <a:pt x="0" y="140"/>
                </a:lnTo>
                <a:lnTo>
                  <a:pt x="0" y="129"/>
                </a:lnTo>
                <a:lnTo>
                  <a:pt x="25" y="95"/>
                </a:lnTo>
                <a:lnTo>
                  <a:pt x="50" y="66"/>
                </a:lnTo>
                <a:lnTo>
                  <a:pt x="61" y="52"/>
                </a:lnTo>
                <a:lnTo>
                  <a:pt x="71" y="36"/>
                </a:lnTo>
                <a:lnTo>
                  <a:pt x="75" y="29"/>
                </a:lnTo>
                <a:lnTo>
                  <a:pt x="80" y="22"/>
                </a:lnTo>
                <a:lnTo>
                  <a:pt x="83" y="14"/>
                </a:lnTo>
                <a:lnTo>
                  <a:pt x="85" y="6"/>
                </a:lnTo>
                <a:lnTo>
                  <a:pt x="105" y="7"/>
                </a:lnTo>
                <a:lnTo>
                  <a:pt x="123" y="10"/>
                </a:lnTo>
                <a:lnTo>
                  <a:pt x="138" y="14"/>
                </a:lnTo>
                <a:lnTo>
                  <a:pt x="153" y="18"/>
                </a:lnTo>
                <a:lnTo>
                  <a:pt x="166" y="23"/>
                </a:lnTo>
                <a:lnTo>
                  <a:pt x="180" y="27"/>
                </a:lnTo>
                <a:lnTo>
                  <a:pt x="193" y="30"/>
                </a:lnTo>
                <a:lnTo>
                  <a:pt x="205" y="31"/>
                </a:lnTo>
                <a:lnTo>
                  <a:pt x="210" y="30"/>
                </a:lnTo>
                <a:lnTo>
                  <a:pt x="214" y="29"/>
                </a:lnTo>
                <a:lnTo>
                  <a:pt x="218" y="28"/>
                </a:lnTo>
                <a:lnTo>
                  <a:pt x="221" y="26"/>
                </a:lnTo>
                <a:lnTo>
                  <a:pt x="227" y="21"/>
                </a:lnTo>
                <a:lnTo>
                  <a:pt x="232" y="15"/>
                </a:lnTo>
                <a:lnTo>
                  <a:pt x="237" y="10"/>
                </a:lnTo>
                <a:lnTo>
                  <a:pt x="242" y="5"/>
                </a:lnTo>
                <a:lnTo>
                  <a:pt x="246" y="3"/>
                </a:lnTo>
                <a:lnTo>
                  <a:pt x="250" y="2"/>
                </a:lnTo>
                <a:lnTo>
                  <a:pt x="253" y="1"/>
                </a:lnTo>
                <a:lnTo>
                  <a:pt x="259" y="0"/>
                </a:lnTo>
                <a:lnTo>
                  <a:pt x="268" y="1"/>
                </a:lnTo>
                <a:lnTo>
                  <a:pt x="275" y="2"/>
                </a:lnTo>
                <a:lnTo>
                  <a:pt x="283" y="4"/>
                </a:lnTo>
                <a:lnTo>
                  <a:pt x="289" y="7"/>
                </a:lnTo>
                <a:lnTo>
                  <a:pt x="296" y="11"/>
                </a:lnTo>
                <a:lnTo>
                  <a:pt x="302" y="15"/>
                </a:lnTo>
                <a:lnTo>
                  <a:pt x="306" y="20"/>
                </a:lnTo>
                <a:lnTo>
                  <a:pt x="310" y="26"/>
                </a:lnTo>
                <a:lnTo>
                  <a:pt x="318" y="38"/>
                </a:lnTo>
                <a:lnTo>
                  <a:pt x="325" y="53"/>
                </a:lnTo>
                <a:lnTo>
                  <a:pt x="331" y="67"/>
                </a:lnTo>
                <a:lnTo>
                  <a:pt x="337" y="82"/>
                </a:lnTo>
                <a:lnTo>
                  <a:pt x="342" y="98"/>
                </a:lnTo>
                <a:lnTo>
                  <a:pt x="349" y="113"/>
                </a:lnTo>
                <a:lnTo>
                  <a:pt x="352" y="119"/>
                </a:lnTo>
                <a:lnTo>
                  <a:pt x="356" y="126"/>
                </a:lnTo>
                <a:lnTo>
                  <a:pt x="360" y="132"/>
                </a:lnTo>
                <a:lnTo>
                  <a:pt x="365" y="138"/>
                </a:lnTo>
                <a:lnTo>
                  <a:pt x="370" y="143"/>
                </a:lnTo>
                <a:lnTo>
                  <a:pt x="376" y="147"/>
                </a:lnTo>
                <a:lnTo>
                  <a:pt x="382" y="151"/>
                </a:lnTo>
                <a:lnTo>
                  <a:pt x="389" y="156"/>
                </a:lnTo>
                <a:lnTo>
                  <a:pt x="397" y="158"/>
                </a:lnTo>
                <a:lnTo>
                  <a:pt x="405" y="160"/>
                </a:lnTo>
                <a:lnTo>
                  <a:pt x="415" y="161"/>
                </a:lnTo>
                <a:lnTo>
                  <a:pt x="425" y="16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fr-FR" dirty="0"/>
          </a:p>
        </p:txBody>
      </p:sp>
      <p:sp>
        <p:nvSpPr>
          <p:cNvPr id="68" name="Freeform 347"/>
          <p:cNvSpPr>
            <a:spLocks/>
          </p:cNvSpPr>
          <p:nvPr>
            <p:custDataLst>
              <p:tags r:id="rId48"/>
            </p:custDataLst>
          </p:nvPr>
        </p:nvSpPr>
        <p:spPr bwMode="auto">
          <a:xfrm>
            <a:off x="1750309" y="3873328"/>
            <a:ext cx="106299" cy="108267"/>
          </a:xfrm>
          <a:custGeom>
            <a:avLst/>
            <a:gdLst>
              <a:gd name="T0" fmla="*/ 1196132 w 192"/>
              <a:gd name="T1" fmla="*/ 5047528 h 154"/>
              <a:gd name="T2" fmla="*/ 10366028 w 192"/>
              <a:gd name="T3" fmla="*/ 0 h 154"/>
              <a:gd name="T4" fmla="*/ 18340239 w 192"/>
              <a:gd name="T5" fmla="*/ 5047528 h 154"/>
              <a:gd name="T6" fmla="*/ 23722608 w 192"/>
              <a:gd name="T7" fmla="*/ 8235414 h 154"/>
              <a:gd name="T8" fmla="*/ 29104977 w 192"/>
              <a:gd name="T9" fmla="*/ 16736786 h 154"/>
              <a:gd name="T10" fmla="*/ 33091636 w 192"/>
              <a:gd name="T11" fmla="*/ 24706242 h 154"/>
              <a:gd name="T12" fmla="*/ 38274873 w 192"/>
              <a:gd name="T13" fmla="*/ 31347971 h 154"/>
              <a:gd name="T14" fmla="*/ 30301109 w 192"/>
              <a:gd name="T15" fmla="*/ 32941656 h 154"/>
              <a:gd name="T16" fmla="*/ 25117871 w 192"/>
              <a:gd name="T17" fmla="*/ 34535856 h 154"/>
              <a:gd name="T18" fmla="*/ 25117871 w 192"/>
              <a:gd name="T19" fmla="*/ 40911627 h 154"/>
              <a:gd name="T20" fmla="*/ 21130766 w 192"/>
              <a:gd name="T21" fmla="*/ 40911627 h 154"/>
              <a:gd name="T22" fmla="*/ 19735502 w 192"/>
              <a:gd name="T23" fmla="*/ 38786542 h 154"/>
              <a:gd name="T24" fmla="*/ 18539371 w 192"/>
              <a:gd name="T25" fmla="*/ 36395499 h 154"/>
              <a:gd name="T26" fmla="*/ 17542818 w 192"/>
              <a:gd name="T27" fmla="*/ 33473056 h 154"/>
              <a:gd name="T28" fmla="*/ 16346686 w 192"/>
              <a:gd name="T29" fmla="*/ 30551128 h 154"/>
              <a:gd name="T30" fmla="*/ 14751844 w 192"/>
              <a:gd name="T31" fmla="*/ 24706242 h 154"/>
              <a:gd name="T32" fmla="*/ 12957423 w 192"/>
              <a:gd name="T33" fmla="*/ 18861871 h 154"/>
              <a:gd name="T34" fmla="*/ 11960870 w 192"/>
              <a:gd name="T35" fmla="*/ 16205386 h 154"/>
              <a:gd name="T36" fmla="*/ 10964317 w 192"/>
              <a:gd name="T37" fmla="*/ 13282942 h 154"/>
              <a:gd name="T38" fmla="*/ 9568607 w 192"/>
              <a:gd name="T39" fmla="*/ 11157857 h 154"/>
              <a:gd name="T40" fmla="*/ 8173343 w 192"/>
              <a:gd name="T41" fmla="*/ 9032256 h 154"/>
              <a:gd name="T42" fmla="*/ 6578501 w 192"/>
              <a:gd name="T43" fmla="*/ 7438571 h 154"/>
              <a:gd name="T44" fmla="*/ 4784527 w 192"/>
              <a:gd name="T45" fmla="*/ 6110329 h 154"/>
              <a:gd name="T46" fmla="*/ 3588395 w 192"/>
              <a:gd name="T47" fmla="*/ 5844371 h 154"/>
              <a:gd name="T48" fmla="*/ 2392263 w 192"/>
              <a:gd name="T49" fmla="*/ 5312971 h 154"/>
              <a:gd name="T50" fmla="*/ 1196132 w 192"/>
              <a:gd name="T51" fmla="*/ 5312971 h 154"/>
              <a:gd name="T52" fmla="*/ 0 w 192"/>
              <a:gd name="T53" fmla="*/ 5047528 h 154"/>
              <a:gd name="T54" fmla="*/ 1196132 w 192"/>
              <a:gd name="T55" fmla="*/ 5047528 h 154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</a:gdLst>
            <a:ahLst/>
            <a:cxnLst>
              <a:cxn ang="T56">
                <a:pos x="T0" y="T1"/>
              </a:cxn>
              <a:cxn ang="T57">
                <a:pos x="T2" y="T3"/>
              </a:cxn>
              <a:cxn ang="T58">
                <a:pos x="T4" y="T5"/>
              </a:cxn>
              <a:cxn ang="T59">
                <a:pos x="T6" y="T7"/>
              </a:cxn>
              <a:cxn ang="T60">
                <a:pos x="T8" y="T9"/>
              </a:cxn>
              <a:cxn ang="T61">
                <a:pos x="T10" y="T11"/>
              </a:cxn>
              <a:cxn ang="T62">
                <a:pos x="T12" y="T13"/>
              </a:cxn>
              <a:cxn ang="T63">
                <a:pos x="T14" y="T15"/>
              </a:cxn>
              <a:cxn ang="T64">
                <a:pos x="T16" y="T17"/>
              </a:cxn>
              <a:cxn ang="T65">
                <a:pos x="T18" y="T19"/>
              </a:cxn>
              <a:cxn ang="T66">
                <a:pos x="T20" y="T21"/>
              </a:cxn>
              <a:cxn ang="T67">
                <a:pos x="T22" y="T23"/>
              </a:cxn>
              <a:cxn ang="T68">
                <a:pos x="T24" y="T25"/>
              </a:cxn>
              <a:cxn ang="T69">
                <a:pos x="T26" y="T27"/>
              </a:cxn>
              <a:cxn ang="T70">
                <a:pos x="T28" y="T29"/>
              </a:cxn>
              <a:cxn ang="T71">
                <a:pos x="T30" y="T31"/>
              </a:cxn>
              <a:cxn ang="T72">
                <a:pos x="T32" y="T33"/>
              </a:cxn>
              <a:cxn ang="T73">
                <a:pos x="T34" y="T35"/>
              </a:cxn>
              <a:cxn ang="T74">
                <a:pos x="T36" y="T37"/>
              </a:cxn>
              <a:cxn ang="T75">
                <a:pos x="T38" y="T39"/>
              </a:cxn>
              <a:cxn ang="T76">
                <a:pos x="T40" y="T41"/>
              </a:cxn>
              <a:cxn ang="T77">
                <a:pos x="T42" y="T43"/>
              </a:cxn>
              <a:cxn ang="T78">
                <a:pos x="T44" y="T45"/>
              </a:cxn>
              <a:cxn ang="T79">
                <a:pos x="T46" y="T47"/>
              </a:cxn>
              <a:cxn ang="T80">
                <a:pos x="T48" y="T49"/>
              </a:cxn>
              <a:cxn ang="T81">
                <a:pos x="T50" y="T51"/>
              </a:cxn>
              <a:cxn ang="T82">
                <a:pos x="T52" y="T53"/>
              </a:cxn>
              <a:cxn ang="T83">
                <a:pos x="T54" y="T55"/>
              </a:cxn>
            </a:cxnLst>
            <a:rect l="0" t="0" r="r" b="b"/>
            <a:pathLst>
              <a:path w="192" h="154">
                <a:moveTo>
                  <a:pt x="6" y="19"/>
                </a:moveTo>
                <a:lnTo>
                  <a:pt x="52" y="0"/>
                </a:lnTo>
                <a:lnTo>
                  <a:pt x="92" y="19"/>
                </a:lnTo>
                <a:lnTo>
                  <a:pt x="119" y="31"/>
                </a:lnTo>
                <a:lnTo>
                  <a:pt x="146" y="63"/>
                </a:lnTo>
                <a:lnTo>
                  <a:pt x="166" y="93"/>
                </a:lnTo>
                <a:lnTo>
                  <a:pt x="192" y="118"/>
                </a:lnTo>
                <a:lnTo>
                  <a:pt x="152" y="124"/>
                </a:lnTo>
                <a:lnTo>
                  <a:pt x="126" y="130"/>
                </a:lnTo>
                <a:lnTo>
                  <a:pt x="126" y="154"/>
                </a:lnTo>
                <a:lnTo>
                  <a:pt x="106" y="154"/>
                </a:lnTo>
                <a:lnTo>
                  <a:pt x="99" y="146"/>
                </a:lnTo>
                <a:lnTo>
                  <a:pt x="93" y="137"/>
                </a:lnTo>
                <a:lnTo>
                  <a:pt x="88" y="126"/>
                </a:lnTo>
                <a:lnTo>
                  <a:pt x="82" y="115"/>
                </a:lnTo>
                <a:lnTo>
                  <a:pt x="74" y="93"/>
                </a:lnTo>
                <a:lnTo>
                  <a:pt x="65" y="71"/>
                </a:lnTo>
                <a:lnTo>
                  <a:pt x="60" y="61"/>
                </a:lnTo>
                <a:lnTo>
                  <a:pt x="55" y="50"/>
                </a:lnTo>
                <a:lnTo>
                  <a:pt x="48" y="42"/>
                </a:lnTo>
                <a:lnTo>
                  <a:pt x="41" y="34"/>
                </a:lnTo>
                <a:lnTo>
                  <a:pt x="33" y="28"/>
                </a:lnTo>
                <a:lnTo>
                  <a:pt x="24" y="23"/>
                </a:lnTo>
                <a:lnTo>
                  <a:pt x="18" y="22"/>
                </a:lnTo>
                <a:lnTo>
                  <a:pt x="12" y="20"/>
                </a:lnTo>
                <a:lnTo>
                  <a:pt x="6" y="20"/>
                </a:lnTo>
                <a:lnTo>
                  <a:pt x="0" y="19"/>
                </a:lnTo>
                <a:lnTo>
                  <a:pt x="6" y="19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 dirty="0"/>
          </a:p>
        </p:txBody>
      </p:sp>
      <p:sp>
        <p:nvSpPr>
          <p:cNvPr id="69" name="Freeform 348"/>
          <p:cNvSpPr>
            <a:spLocks/>
          </p:cNvSpPr>
          <p:nvPr>
            <p:custDataLst>
              <p:tags r:id="rId49"/>
            </p:custDataLst>
          </p:nvPr>
        </p:nvSpPr>
        <p:spPr bwMode="auto">
          <a:xfrm>
            <a:off x="1647947" y="3713092"/>
            <a:ext cx="472440" cy="337795"/>
          </a:xfrm>
          <a:custGeom>
            <a:avLst/>
            <a:gdLst>
              <a:gd name="T0" fmla="*/ 73983944 w 877"/>
              <a:gd name="T1" fmla="*/ 94800314 h 469"/>
              <a:gd name="T2" fmla="*/ 60206254 w 877"/>
              <a:gd name="T3" fmla="*/ 70542759 h 469"/>
              <a:gd name="T4" fmla="*/ 38879377 w 877"/>
              <a:gd name="T5" fmla="*/ 67196580 h 469"/>
              <a:gd name="T6" fmla="*/ 36048161 w 877"/>
              <a:gd name="T7" fmla="*/ 67754189 h 469"/>
              <a:gd name="T8" fmla="*/ 33594903 w 877"/>
              <a:gd name="T9" fmla="*/ 69985151 h 469"/>
              <a:gd name="T10" fmla="*/ 30575141 w 877"/>
              <a:gd name="T11" fmla="*/ 74446019 h 469"/>
              <a:gd name="T12" fmla="*/ 28498974 w 877"/>
              <a:gd name="T13" fmla="*/ 75561236 h 469"/>
              <a:gd name="T14" fmla="*/ 22836975 w 877"/>
              <a:gd name="T15" fmla="*/ 74724823 h 469"/>
              <a:gd name="T16" fmla="*/ 14909829 w 877"/>
              <a:gd name="T17" fmla="*/ 71100368 h 469"/>
              <a:gd name="T18" fmla="*/ 4906950 w 877"/>
              <a:gd name="T19" fmla="*/ 68869406 h 469"/>
              <a:gd name="T20" fmla="*/ 1509664 w 877"/>
              <a:gd name="T21" fmla="*/ 59110728 h 469"/>
              <a:gd name="T22" fmla="*/ 2453692 w 877"/>
              <a:gd name="T23" fmla="*/ 52140094 h 469"/>
              <a:gd name="T24" fmla="*/ 2453692 w 877"/>
              <a:gd name="T25" fmla="*/ 50188464 h 469"/>
              <a:gd name="T26" fmla="*/ 4340880 w 877"/>
              <a:gd name="T27" fmla="*/ 40150982 h 469"/>
              <a:gd name="T28" fmla="*/ 8304236 w 877"/>
              <a:gd name="T29" fmla="*/ 31228190 h 469"/>
              <a:gd name="T30" fmla="*/ 10191859 w 877"/>
              <a:gd name="T31" fmla="*/ 25652104 h 469"/>
              <a:gd name="T32" fmla="*/ 4906950 w 877"/>
              <a:gd name="T33" fmla="*/ 13941269 h 469"/>
              <a:gd name="T34" fmla="*/ 32650875 w 877"/>
              <a:gd name="T35" fmla="*/ 7249439 h 469"/>
              <a:gd name="T36" fmla="*/ 63981065 w 877"/>
              <a:gd name="T37" fmla="*/ 13941269 h 469"/>
              <a:gd name="T38" fmla="*/ 73983944 w 877"/>
              <a:gd name="T39" fmla="*/ 3624455 h 469"/>
              <a:gd name="T40" fmla="*/ 91536010 w 877"/>
              <a:gd name="T41" fmla="*/ 0 h 469"/>
              <a:gd name="T42" fmla="*/ 109277056 w 877"/>
              <a:gd name="T43" fmla="*/ 10595090 h 469"/>
              <a:gd name="T44" fmla="*/ 120412509 w 877"/>
              <a:gd name="T45" fmla="*/ 30949386 h 469"/>
              <a:gd name="T46" fmla="*/ 136832436 w 877"/>
              <a:gd name="T47" fmla="*/ 30949386 h 469"/>
              <a:gd name="T48" fmla="*/ 158159312 w 877"/>
              <a:gd name="T49" fmla="*/ 43217829 h 469"/>
              <a:gd name="T50" fmla="*/ 163066262 w 877"/>
              <a:gd name="T51" fmla="*/ 65523754 h 469"/>
              <a:gd name="T52" fmla="*/ 151742265 w 877"/>
              <a:gd name="T53" fmla="*/ 75840040 h 469"/>
              <a:gd name="T54" fmla="*/ 142305455 w 877"/>
              <a:gd name="T55" fmla="*/ 87272071 h 469"/>
              <a:gd name="T56" fmla="*/ 129849318 w 877"/>
              <a:gd name="T57" fmla="*/ 92012272 h 469"/>
              <a:gd name="T58" fmla="*/ 125130913 w 877"/>
              <a:gd name="T59" fmla="*/ 95636727 h 469"/>
              <a:gd name="T60" fmla="*/ 122299697 w 877"/>
              <a:gd name="T61" fmla="*/ 99819319 h 469"/>
              <a:gd name="T62" fmla="*/ 121922172 w 877"/>
              <a:gd name="T63" fmla="*/ 104558992 h 469"/>
              <a:gd name="T64" fmla="*/ 123243291 w 877"/>
              <a:gd name="T65" fmla="*/ 108741584 h 469"/>
              <a:gd name="T66" fmla="*/ 125696983 w 877"/>
              <a:gd name="T67" fmla="*/ 111808431 h 469"/>
              <a:gd name="T68" fmla="*/ 134190198 w 877"/>
              <a:gd name="T69" fmla="*/ 110414409 h 469"/>
              <a:gd name="T70" fmla="*/ 139852197 w 877"/>
              <a:gd name="T71" fmla="*/ 109856801 h 469"/>
              <a:gd name="T72" fmla="*/ 138531079 w 877"/>
              <a:gd name="T73" fmla="*/ 112366039 h 469"/>
              <a:gd name="T74" fmla="*/ 135133792 w 877"/>
              <a:gd name="T75" fmla="*/ 117385044 h 469"/>
              <a:gd name="T76" fmla="*/ 131736506 w 877"/>
              <a:gd name="T77" fmla="*/ 122125244 h 469"/>
              <a:gd name="T78" fmla="*/ 130037863 w 877"/>
              <a:gd name="T79" fmla="*/ 116827435 h 469"/>
              <a:gd name="T80" fmla="*/ 126640577 w 877"/>
              <a:gd name="T81" fmla="*/ 113760588 h 469"/>
              <a:gd name="T82" fmla="*/ 125696983 w 877"/>
              <a:gd name="T83" fmla="*/ 117942652 h 469"/>
              <a:gd name="T84" fmla="*/ 121356103 w 877"/>
              <a:gd name="T85" fmla="*/ 123240462 h 469"/>
              <a:gd name="T86" fmla="*/ 116826677 w 877"/>
              <a:gd name="T87" fmla="*/ 128259466 h 469"/>
              <a:gd name="T88" fmla="*/ 115316579 w 877"/>
              <a:gd name="T89" fmla="*/ 130768705 h 469"/>
              <a:gd name="T90" fmla="*/ 112296818 w 877"/>
              <a:gd name="T91" fmla="*/ 129374683 h 469"/>
              <a:gd name="T92" fmla="*/ 110220650 w 877"/>
              <a:gd name="T93" fmla="*/ 126864917 h 469"/>
              <a:gd name="T94" fmla="*/ 108522007 w 877"/>
              <a:gd name="T95" fmla="*/ 122404049 h 469"/>
              <a:gd name="T96" fmla="*/ 107955937 w 877"/>
              <a:gd name="T97" fmla="*/ 113760588 h 469"/>
              <a:gd name="T98" fmla="*/ 103426512 w 877"/>
              <a:gd name="T99" fmla="*/ 112645371 h 469"/>
              <a:gd name="T100" fmla="*/ 97764513 w 877"/>
              <a:gd name="T101" fmla="*/ 108462779 h 469"/>
              <a:gd name="T102" fmla="*/ 105502245 w 877"/>
              <a:gd name="T103" fmla="*/ 105674737 h 469"/>
              <a:gd name="T104" fmla="*/ 117958816 w 877"/>
              <a:gd name="T105" fmla="*/ 103164970 h 469"/>
              <a:gd name="T106" fmla="*/ 93046108 w 877"/>
              <a:gd name="T107" fmla="*/ 98704102 h 469"/>
              <a:gd name="T108" fmla="*/ 83986823 w 877"/>
              <a:gd name="T109" fmla="*/ 92848685 h 469"/>
              <a:gd name="T110" fmla="*/ 75116083 w 877"/>
              <a:gd name="T111" fmla="*/ 102886166 h 469"/>
              <a:gd name="T112" fmla="*/ 71719231 w 877"/>
              <a:gd name="T113" fmla="*/ 110135605 h 469"/>
              <a:gd name="T114" fmla="*/ 66623302 w 877"/>
              <a:gd name="T115" fmla="*/ 111529626 h 469"/>
              <a:gd name="T116" fmla="*/ 61904897 w 877"/>
              <a:gd name="T117" fmla="*/ 109299192 h 469"/>
              <a:gd name="T118" fmla="*/ 57752562 w 877"/>
              <a:gd name="T119" fmla="*/ 104837796 h 469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877" h="469">
                <a:moveTo>
                  <a:pt x="326" y="352"/>
                </a:moveTo>
                <a:lnTo>
                  <a:pt x="352" y="346"/>
                </a:lnTo>
                <a:lnTo>
                  <a:pt x="392" y="340"/>
                </a:lnTo>
                <a:lnTo>
                  <a:pt x="366" y="315"/>
                </a:lnTo>
                <a:lnTo>
                  <a:pt x="346" y="285"/>
                </a:lnTo>
                <a:lnTo>
                  <a:pt x="319" y="253"/>
                </a:lnTo>
                <a:lnTo>
                  <a:pt x="292" y="241"/>
                </a:lnTo>
                <a:lnTo>
                  <a:pt x="252" y="222"/>
                </a:lnTo>
                <a:lnTo>
                  <a:pt x="206" y="241"/>
                </a:lnTo>
                <a:lnTo>
                  <a:pt x="200" y="241"/>
                </a:lnTo>
                <a:lnTo>
                  <a:pt x="194" y="242"/>
                </a:lnTo>
                <a:lnTo>
                  <a:pt x="191" y="243"/>
                </a:lnTo>
                <a:lnTo>
                  <a:pt x="187" y="244"/>
                </a:lnTo>
                <a:lnTo>
                  <a:pt x="183" y="246"/>
                </a:lnTo>
                <a:lnTo>
                  <a:pt x="178" y="251"/>
                </a:lnTo>
                <a:lnTo>
                  <a:pt x="173" y="256"/>
                </a:lnTo>
                <a:lnTo>
                  <a:pt x="168" y="262"/>
                </a:lnTo>
                <a:lnTo>
                  <a:pt x="162" y="267"/>
                </a:lnTo>
                <a:lnTo>
                  <a:pt x="159" y="269"/>
                </a:lnTo>
                <a:lnTo>
                  <a:pt x="155" y="270"/>
                </a:lnTo>
                <a:lnTo>
                  <a:pt x="151" y="271"/>
                </a:lnTo>
                <a:lnTo>
                  <a:pt x="146" y="272"/>
                </a:lnTo>
                <a:lnTo>
                  <a:pt x="134" y="271"/>
                </a:lnTo>
                <a:lnTo>
                  <a:pt x="121" y="268"/>
                </a:lnTo>
                <a:lnTo>
                  <a:pt x="107" y="264"/>
                </a:lnTo>
                <a:lnTo>
                  <a:pt x="94" y="259"/>
                </a:lnTo>
                <a:lnTo>
                  <a:pt x="79" y="255"/>
                </a:lnTo>
                <a:lnTo>
                  <a:pt x="64" y="251"/>
                </a:lnTo>
                <a:lnTo>
                  <a:pt x="46" y="248"/>
                </a:lnTo>
                <a:lnTo>
                  <a:pt x="26" y="247"/>
                </a:lnTo>
                <a:lnTo>
                  <a:pt x="0" y="222"/>
                </a:lnTo>
                <a:lnTo>
                  <a:pt x="4" y="217"/>
                </a:lnTo>
                <a:lnTo>
                  <a:pt x="8" y="212"/>
                </a:lnTo>
                <a:lnTo>
                  <a:pt x="10" y="206"/>
                </a:lnTo>
                <a:lnTo>
                  <a:pt x="12" y="200"/>
                </a:lnTo>
                <a:lnTo>
                  <a:pt x="13" y="187"/>
                </a:lnTo>
                <a:lnTo>
                  <a:pt x="13" y="174"/>
                </a:lnTo>
                <a:lnTo>
                  <a:pt x="6" y="174"/>
                </a:lnTo>
                <a:lnTo>
                  <a:pt x="13" y="180"/>
                </a:lnTo>
                <a:lnTo>
                  <a:pt x="14" y="167"/>
                </a:lnTo>
                <a:lnTo>
                  <a:pt x="17" y="155"/>
                </a:lnTo>
                <a:lnTo>
                  <a:pt x="23" y="144"/>
                </a:lnTo>
                <a:lnTo>
                  <a:pt x="30" y="133"/>
                </a:lnTo>
                <a:lnTo>
                  <a:pt x="36" y="122"/>
                </a:lnTo>
                <a:lnTo>
                  <a:pt x="44" y="112"/>
                </a:lnTo>
                <a:lnTo>
                  <a:pt x="53" y="105"/>
                </a:lnTo>
                <a:lnTo>
                  <a:pt x="60" y="99"/>
                </a:lnTo>
                <a:lnTo>
                  <a:pt x="54" y="92"/>
                </a:lnTo>
                <a:lnTo>
                  <a:pt x="46" y="82"/>
                </a:lnTo>
                <a:lnTo>
                  <a:pt x="36" y="68"/>
                </a:lnTo>
                <a:lnTo>
                  <a:pt x="26" y="50"/>
                </a:lnTo>
                <a:lnTo>
                  <a:pt x="60" y="38"/>
                </a:lnTo>
                <a:lnTo>
                  <a:pt x="113" y="26"/>
                </a:lnTo>
                <a:lnTo>
                  <a:pt x="173" y="26"/>
                </a:lnTo>
                <a:lnTo>
                  <a:pt x="239" y="44"/>
                </a:lnTo>
                <a:lnTo>
                  <a:pt x="285" y="38"/>
                </a:lnTo>
                <a:lnTo>
                  <a:pt x="339" y="50"/>
                </a:lnTo>
                <a:lnTo>
                  <a:pt x="385" y="63"/>
                </a:lnTo>
                <a:lnTo>
                  <a:pt x="385" y="38"/>
                </a:lnTo>
                <a:lnTo>
                  <a:pt x="392" y="13"/>
                </a:lnTo>
                <a:lnTo>
                  <a:pt x="433" y="13"/>
                </a:lnTo>
                <a:lnTo>
                  <a:pt x="465" y="13"/>
                </a:lnTo>
                <a:lnTo>
                  <a:pt x="485" y="0"/>
                </a:lnTo>
                <a:lnTo>
                  <a:pt x="531" y="0"/>
                </a:lnTo>
                <a:lnTo>
                  <a:pt x="551" y="13"/>
                </a:lnTo>
                <a:lnTo>
                  <a:pt x="579" y="38"/>
                </a:lnTo>
                <a:lnTo>
                  <a:pt x="565" y="63"/>
                </a:lnTo>
                <a:lnTo>
                  <a:pt x="618" y="63"/>
                </a:lnTo>
                <a:lnTo>
                  <a:pt x="638" y="111"/>
                </a:lnTo>
                <a:lnTo>
                  <a:pt x="664" y="105"/>
                </a:lnTo>
                <a:lnTo>
                  <a:pt x="692" y="124"/>
                </a:lnTo>
                <a:lnTo>
                  <a:pt x="725" y="111"/>
                </a:lnTo>
                <a:lnTo>
                  <a:pt x="758" y="136"/>
                </a:lnTo>
                <a:lnTo>
                  <a:pt x="797" y="136"/>
                </a:lnTo>
                <a:lnTo>
                  <a:pt x="838" y="155"/>
                </a:lnTo>
                <a:lnTo>
                  <a:pt x="877" y="167"/>
                </a:lnTo>
                <a:lnTo>
                  <a:pt x="871" y="198"/>
                </a:lnTo>
                <a:lnTo>
                  <a:pt x="864" y="235"/>
                </a:lnTo>
                <a:lnTo>
                  <a:pt x="877" y="259"/>
                </a:lnTo>
                <a:lnTo>
                  <a:pt x="844" y="259"/>
                </a:lnTo>
                <a:lnTo>
                  <a:pt x="804" y="272"/>
                </a:lnTo>
                <a:lnTo>
                  <a:pt x="797" y="303"/>
                </a:lnTo>
                <a:lnTo>
                  <a:pt x="777" y="309"/>
                </a:lnTo>
                <a:lnTo>
                  <a:pt x="754" y="313"/>
                </a:lnTo>
                <a:lnTo>
                  <a:pt x="731" y="318"/>
                </a:lnTo>
                <a:lnTo>
                  <a:pt x="709" y="324"/>
                </a:lnTo>
                <a:lnTo>
                  <a:pt x="688" y="330"/>
                </a:lnTo>
                <a:lnTo>
                  <a:pt x="680" y="334"/>
                </a:lnTo>
                <a:lnTo>
                  <a:pt x="671" y="337"/>
                </a:lnTo>
                <a:lnTo>
                  <a:pt x="663" y="343"/>
                </a:lnTo>
                <a:lnTo>
                  <a:pt x="656" y="347"/>
                </a:lnTo>
                <a:lnTo>
                  <a:pt x="652" y="352"/>
                </a:lnTo>
                <a:lnTo>
                  <a:pt x="648" y="358"/>
                </a:lnTo>
                <a:lnTo>
                  <a:pt x="646" y="364"/>
                </a:lnTo>
                <a:lnTo>
                  <a:pt x="644" y="370"/>
                </a:lnTo>
                <a:lnTo>
                  <a:pt x="646" y="375"/>
                </a:lnTo>
                <a:lnTo>
                  <a:pt x="647" y="380"/>
                </a:lnTo>
                <a:lnTo>
                  <a:pt x="650" y="385"/>
                </a:lnTo>
                <a:lnTo>
                  <a:pt x="653" y="390"/>
                </a:lnTo>
                <a:lnTo>
                  <a:pt x="656" y="395"/>
                </a:lnTo>
                <a:lnTo>
                  <a:pt x="661" y="399"/>
                </a:lnTo>
                <a:lnTo>
                  <a:pt x="666" y="401"/>
                </a:lnTo>
                <a:lnTo>
                  <a:pt x="671" y="402"/>
                </a:lnTo>
                <a:lnTo>
                  <a:pt x="692" y="400"/>
                </a:lnTo>
                <a:lnTo>
                  <a:pt x="711" y="396"/>
                </a:lnTo>
                <a:lnTo>
                  <a:pt x="721" y="395"/>
                </a:lnTo>
                <a:lnTo>
                  <a:pt x="731" y="394"/>
                </a:lnTo>
                <a:lnTo>
                  <a:pt x="741" y="394"/>
                </a:lnTo>
                <a:lnTo>
                  <a:pt x="751" y="396"/>
                </a:lnTo>
                <a:lnTo>
                  <a:pt x="742" y="399"/>
                </a:lnTo>
                <a:lnTo>
                  <a:pt x="734" y="403"/>
                </a:lnTo>
                <a:lnTo>
                  <a:pt x="728" y="408"/>
                </a:lnTo>
                <a:lnTo>
                  <a:pt x="721" y="414"/>
                </a:lnTo>
                <a:lnTo>
                  <a:pt x="716" y="421"/>
                </a:lnTo>
                <a:lnTo>
                  <a:pt x="710" y="427"/>
                </a:lnTo>
                <a:lnTo>
                  <a:pt x="705" y="433"/>
                </a:lnTo>
                <a:lnTo>
                  <a:pt x="698" y="438"/>
                </a:lnTo>
                <a:lnTo>
                  <a:pt x="695" y="430"/>
                </a:lnTo>
                <a:lnTo>
                  <a:pt x="693" y="424"/>
                </a:lnTo>
                <a:lnTo>
                  <a:pt x="689" y="419"/>
                </a:lnTo>
                <a:lnTo>
                  <a:pt x="687" y="416"/>
                </a:lnTo>
                <a:lnTo>
                  <a:pt x="680" y="412"/>
                </a:lnTo>
                <a:lnTo>
                  <a:pt x="671" y="408"/>
                </a:lnTo>
                <a:lnTo>
                  <a:pt x="671" y="413"/>
                </a:lnTo>
                <a:lnTo>
                  <a:pt x="669" y="418"/>
                </a:lnTo>
                <a:lnTo>
                  <a:pt x="666" y="423"/>
                </a:lnTo>
                <a:lnTo>
                  <a:pt x="663" y="427"/>
                </a:lnTo>
                <a:lnTo>
                  <a:pt x="654" y="435"/>
                </a:lnTo>
                <a:lnTo>
                  <a:pt x="643" y="442"/>
                </a:lnTo>
                <a:lnTo>
                  <a:pt x="633" y="450"/>
                </a:lnTo>
                <a:lnTo>
                  <a:pt x="624" y="456"/>
                </a:lnTo>
                <a:lnTo>
                  <a:pt x="619" y="460"/>
                </a:lnTo>
                <a:lnTo>
                  <a:pt x="616" y="463"/>
                </a:lnTo>
                <a:lnTo>
                  <a:pt x="613" y="466"/>
                </a:lnTo>
                <a:lnTo>
                  <a:pt x="611" y="469"/>
                </a:lnTo>
                <a:lnTo>
                  <a:pt x="605" y="468"/>
                </a:lnTo>
                <a:lnTo>
                  <a:pt x="600" y="466"/>
                </a:lnTo>
                <a:lnTo>
                  <a:pt x="595" y="464"/>
                </a:lnTo>
                <a:lnTo>
                  <a:pt x="591" y="461"/>
                </a:lnTo>
                <a:lnTo>
                  <a:pt x="587" y="459"/>
                </a:lnTo>
                <a:lnTo>
                  <a:pt x="584" y="455"/>
                </a:lnTo>
                <a:lnTo>
                  <a:pt x="582" y="452"/>
                </a:lnTo>
                <a:lnTo>
                  <a:pt x="579" y="447"/>
                </a:lnTo>
                <a:lnTo>
                  <a:pt x="575" y="439"/>
                </a:lnTo>
                <a:lnTo>
                  <a:pt x="573" y="429"/>
                </a:lnTo>
                <a:lnTo>
                  <a:pt x="572" y="419"/>
                </a:lnTo>
                <a:lnTo>
                  <a:pt x="572" y="408"/>
                </a:lnTo>
                <a:lnTo>
                  <a:pt x="563" y="407"/>
                </a:lnTo>
                <a:lnTo>
                  <a:pt x="555" y="406"/>
                </a:lnTo>
                <a:lnTo>
                  <a:pt x="548" y="404"/>
                </a:lnTo>
                <a:lnTo>
                  <a:pt x="540" y="401"/>
                </a:lnTo>
                <a:lnTo>
                  <a:pt x="527" y="395"/>
                </a:lnTo>
                <a:lnTo>
                  <a:pt x="518" y="389"/>
                </a:lnTo>
                <a:lnTo>
                  <a:pt x="532" y="385"/>
                </a:lnTo>
                <a:lnTo>
                  <a:pt x="547" y="381"/>
                </a:lnTo>
                <a:lnTo>
                  <a:pt x="559" y="379"/>
                </a:lnTo>
                <a:lnTo>
                  <a:pt x="572" y="377"/>
                </a:lnTo>
                <a:lnTo>
                  <a:pt x="597" y="374"/>
                </a:lnTo>
                <a:lnTo>
                  <a:pt x="625" y="370"/>
                </a:lnTo>
                <a:lnTo>
                  <a:pt x="512" y="370"/>
                </a:lnTo>
                <a:lnTo>
                  <a:pt x="503" y="362"/>
                </a:lnTo>
                <a:lnTo>
                  <a:pt x="493" y="354"/>
                </a:lnTo>
                <a:lnTo>
                  <a:pt x="481" y="348"/>
                </a:lnTo>
                <a:lnTo>
                  <a:pt x="469" y="342"/>
                </a:lnTo>
                <a:lnTo>
                  <a:pt x="445" y="333"/>
                </a:lnTo>
                <a:lnTo>
                  <a:pt x="425" y="327"/>
                </a:lnTo>
                <a:lnTo>
                  <a:pt x="412" y="350"/>
                </a:lnTo>
                <a:lnTo>
                  <a:pt x="398" y="369"/>
                </a:lnTo>
                <a:lnTo>
                  <a:pt x="393" y="378"/>
                </a:lnTo>
                <a:lnTo>
                  <a:pt x="386" y="386"/>
                </a:lnTo>
                <a:lnTo>
                  <a:pt x="380" y="395"/>
                </a:lnTo>
                <a:lnTo>
                  <a:pt x="372" y="402"/>
                </a:lnTo>
                <a:lnTo>
                  <a:pt x="362" y="401"/>
                </a:lnTo>
                <a:lnTo>
                  <a:pt x="353" y="400"/>
                </a:lnTo>
                <a:lnTo>
                  <a:pt x="345" y="399"/>
                </a:lnTo>
                <a:lnTo>
                  <a:pt x="337" y="396"/>
                </a:lnTo>
                <a:lnTo>
                  <a:pt x="328" y="392"/>
                </a:lnTo>
                <a:lnTo>
                  <a:pt x="321" y="388"/>
                </a:lnTo>
                <a:lnTo>
                  <a:pt x="313" y="383"/>
                </a:lnTo>
                <a:lnTo>
                  <a:pt x="306" y="376"/>
                </a:lnTo>
                <a:lnTo>
                  <a:pt x="326" y="352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fr-FR" dirty="0"/>
          </a:p>
        </p:txBody>
      </p:sp>
      <p:sp>
        <p:nvSpPr>
          <p:cNvPr id="70" name="Freeform 349"/>
          <p:cNvSpPr>
            <a:spLocks/>
          </p:cNvSpPr>
          <p:nvPr>
            <p:custDataLst>
              <p:tags r:id="rId50"/>
            </p:custDataLst>
          </p:nvPr>
        </p:nvSpPr>
        <p:spPr bwMode="auto">
          <a:xfrm>
            <a:off x="2281804" y="4180807"/>
            <a:ext cx="59055" cy="86614"/>
          </a:xfrm>
          <a:custGeom>
            <a:avLst/>
            <a:gdLst>
              <a:gd name="T0" fmla="*/ 9508977 w 107"/>
              <a:gd name="T1" fmla="*/ 0 h 123"/>
              <a:gd name="T2" fmla="*/ 16046954 w 107"/>
              <a:gd name="T3" fmla="*/ 8262228 h 123"/>
              <a:gd name="T4" fmla="*/ 18622265 w 107"/>
              <a:gd name="T5" fmla="*/ 17856923 h 123"/>
              <a:gd name="T6" fmla="*/ 21197576 w 107"/>
              <a:gd name="T7" fmla="*/ 22920919 h 123"/>
              <a:gd name="T8" fmla="*/ 21197576 w 107"/>
              <a:gd name="T9" fmla="*/ 31183146 h 123"/>
              <a:gd name="T10" fmla="*/ 21197576 w 107"/>
              <a:gd name="T11" fmla="*/ 32782520 h 123"/>
              <a:gd name="T12" fmla="*/ 17433421 w 107"/>
              <a:gd name="T13" fmla="*/ 30383976 h 123"/>
              <a:gd name="T14" fmla="*/ 14461977 w 107"/>
              <a:gd name="T15" fmla="*/ 27984915 h 123"/>
              <a:gd name="T16" fmla="*/ 12084732 w 107"/>
              <a:gd name="T17" fmla="*/ 26119150 h 123"/>
              <a:gd name="T18" fmla="*/ 10697821 w 107"/>
              <a:gd name="T19" fmla="*/ 24520293 h 123"/>
              <a:gd name="T20" fmla="*/ 10103621 w 107"/>
              <a:gd name="T21" fmla="*/ 22121748 h 123"/>
              <a:gd name="T22" fmla="*/ 9508977 w 107"/>
              <a:gd name="T23" fmla="*/ 19456297 h 123"/>
              <a:gd name="T24" fmla="*/ 7726377 w 107"/>
              <a:gd name="T25" fmla="*/ 19722687 h 123"/>
              <a:gd name="T26" fmla="*/ 6339466 w 107"/>
              <a:gd name="T27" fmla="*/ 19456297 h 123"/>
              <a:gd name="T28" fmla="*/ 5150621 w 107"/>
              <a:gd name="T29" fmla="*/ 19189907 h 123"/>
              <a:gd name="T30" fmla="*/ 4160289 w 107"/>
              <a:gd name="T31" fmla="*/ 18656610 h 123"/>
              <a:gd name="T32" fmla="*/ 3368022 w 107"/>
              <a:gd name="T33" fmla="*/ 17856923 h 123"/>
              <a:gd name="T34" fmla="*/ 2773377 w 107"/>
              <a:gd name="T35" fmla="*/ 16790846 h 123"/>
              <a:gd name="T36" fmla="*/ 2179178 w 107"/>
              <a:gd name="T37" fmla="*/ 15724768 h 123"/>
              <a:gd name="T38" fmla="*/ 1783044 w 107"/>
              <a:gd name="T39" fmla="*/ 14392301 h 123"/>
              <a:gd name="T40" fmla="*/ 792266 w 107"/>
              <a:gd name="T41" fmla="*/ 8262228 h 123"/>
              <a:gd name="T42" fmla="*/ 0 w 107"/>
              <a:gd name="T43" fmla="*/ 1599374 h 123"/>
              <a:gd name="T44" fmla="*/ 6735599 w 107"/>
              <a:gd name="T45" fmla="*/ 0 h 123"/>
              <a:gd name="T46" fmla="*/ 9508977 w 107"/>
              <a:gd name="T47" fmla="*/ 0 h 123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0" t="0" r="r" b="b"/>
            <a:pathLst>
              <a:path w="107" h="123">
                <a:moveTo>
                  <a:pt x="48" y="0"/>
                </a:moveTo>
                <a:lnTo>
                  <a:pt x="81" y="31"/>
                </a:lnTo>
                <a:lnTo>
                  <a:pt x="94" y="67"/>
                </a:lnTo>
                <a:lnTo>
                  <a:pt x="107" y="86"/>
                </a:lnTo>
                <a:lnTo>
                  <a:pt x="107" y="117"/>
                </a:lnTo>
                <a:lnTo>
                  <a:pt x="107" y="123"/>
                </a:lnTo>
                <a:lnTo>
                  <a:pt x="88" y="114"/>
                </a:lnTo>
                <a:lnTo>
                  <a:pt x="73" y="105"/>
                </a:lnTo>
                <a:lnTo>
                  <a:pt x="61" y="98"/>
                </a:lnTo>
                <a:lnTo>
                  <a:pt x="54" y="92"/>
                </a:lnTo>
                <a:lnTo>
                  <a:pt x="51" y="83"/>
                </a:lnTo>
                <a:lnTo>
                  <a:pt x="48" y="73"/>
                </a:lnTo>
                <a:lnTo>
                  <a:pt x="39" y="74"/>
                </a:lnTo>
                <a:lnTo>
                  <a:pt x="32" y="73"/>
                </a:lnTo>
                <a:lnTo>
                  <a:pt x="26" y="72"/>
                </a:lnTo>
                <a:lnTo>
                  <a:pt x="21" y="70"/>
                </a:lnTo>
                <a:lnTo>
                  <a:pt x="17" y="67"/>
                </a:lnTo>
                <a:lnTo>
                  <a:pt x="14" y="63"/>
                </a:lnTo>
                <a:lnTo>
                  <a:pt x="11" y="59"/>
                </a:lnTo>
                <a:lnTo>
                  <a:pt x="9" y="54"/>
                </a:lnTo>
                <a:lnTo>
                  <a:pt x="4" y="31"/>
                </a:lnTo>
                <a:lnTo>
                  <a:pt x="0" y="6"/>
                </a:lnTo>
                <a:lnTo>
                  <a:pt x="34" y="0"/>
                </a:lnTo>
                <a:lnTo>
                  <a:pt x="48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 dirty="0"/>
          </a:p>
        </p:txBody>
      </p:sp>
      <p:sp>
        <p:nvSpPr>
          <p:cNvPr id="71" name="Freeform 350"/>
          <p:cNvSpPr>
            <a:spLocks/>
          </p:cNvSpPr>
          <p:nvPr>
            <p:custDataLst>
              <p:tags r:id="rId51"/>
            </p:custDataLst>
          </p:nvPr>
        </p:nvSpPr>
        <p:spPr bwMode="auto">
          <a:xfrm>
            <a:off x="2955032" y="4200295"/>
            <a:ext cx="257873" cy="166733"/>
          </a:xfrm>
          <a:custGeom>
            <a:avLst/>
            <a:gdLst>
              <a:gd name="T0" fmla="*/ 20664623 w 471"/>
              <a:gd name="T1" fmla="*/ 18283462 h 234"/>
              <a:gd name="T2" fmla="*/ 32361713 w 471"/>
              <a:gd name="T3" fmla="*/ 23468129 h 234"/>
              <a:gd name="T4" fmla="*/ 53026778 w 471"/>
              <a:gd name="T5" fmla="*/ 28652796 h 234"/>
              <a:gd name="T6" fmla="*/ 72521780 w 471"/>
              <a:gd name="T7" fmla="*/ 23468129 h 234"/>
              <a:gd name="T8" fmla="*/ 74666306 w 471"/>
              <a:gd name="T9" fmla="*/ 25924381 h 234"/>
              <a:gd name="T10" fmla="*/ 76225800 w 471"/>
              <a:gd name="T11" fmla="*/ 31109049 h 234"/>
              <a:gd name="T12" fmla="*/ 79150072 w 471"/>
              <a:gd name="T13" fmla="*/ 33837986 h 234"/>
              <a:gd name="T14" fmla="*/ 82659376 w 471"/>
              <a:gd name="T15" fmla="*/ 35202454 h 234"/>
              <a:gd name="T16" fmla="*/ 84414028 w 471"/>
              <a:gd name="T17" fmla="*/ 36566923 h 234"/>
              <a:gd name="T18" fmla="*/ 85973522 w 471"/>
              <a:gd name="T19" fmla="*/ 38476761 h 234"/>
              <a:gd name="T20" fmla="*/ 87338300 w 471"/>
              <a:gd name="T21" fmla="*/ 41205698 h 234"/>
              <a:gd name="T22" fmla="*/ 88702637 w 471"/>
              <a:gd name="T23" fmla="*/ 46390366 h 234"/>
              <a:gd name="T24" fmla="*/ 91822067 w 471"/>
              <a:gd name="T25" fmla="*/ 51848240 h 234"/>
              <a:gd name="T26" fmla="*/ 68233171 w 471"/>
              <a:gd name="T27" fmla="*/ 55123069 h 234"/>
              <a:gd name="T28" fmla="*/ 64333994 w 471"/>
              <a:gd name="T29" fmla="*/ 61126313 h 234"/>
              <a:gd name="T30" fmla="*/ 61799595 w 471"/>
              <a:gd name="T31" fmla="*/ 63582566 h 234"/>
              <a:gd name="T32" fmla="*/ 59655070 w 471"/>
              <a:gd name="T33" fmla="*/ 63582566 h 234"/>
              <a:gd name="T34" fmla="*/ 58095576 w 471"/>
              <a:gd name="T35" fmla="*/ 62763467 h 234"/>
              <a:gd name="T36" fmla="*/ 56925955 w 471"/>
              <a:gd name="T37" fmla="*/ 61126313 h 234"/>
              <a:gd name="T38" fmla="*/ 56340924 w 471"/>
              <a:gd name="T39" fmla="*/ 58943268 h 234"/>
              <a:gd name="T40" fmla="*/ 55366019 w 471"/>
              <a:gd name="T41" fmla="*/ 54304493 h 234"/>
              <a:gd name="T42" fmla="*/ 54196398 w 471"/>
              <a:gd name="T43" fmla="*/ 47482150 h 234"/>
              <a:gd name="T44" fmla="*/ 52441747 w 471"/>
              <a:gd name="T45" fmla="*/ 42297482 h 234"/>
              <a:gd name="T46" fmla="*/ 50297221 w 471"/>
              <a:gd name="T47" fmla="*/ 40387122 h 234"/>
              <a:gd name="T48" fmla="*/ 47957980 w 471"/>
              <a:gd name="T49" fmla="*/ 38476761 h 234"/>
              <a:gd name="T50" fmla="*/ 46008612 w 471"/>
              <a:gd name="T51" fmla="*/ 36293716 h 234"/>
              <a:gd name="T52" fmla="*/ 43668929 w 471"/>
              <a:gd name="T53" fmla="*/ 38204076 h 234"/>
              <a:gd name="T54" fmla="*/ 40354783 w 471"/>
              <a:gd name="T55" fmla="*/ 44207320 h 234"/>
              <a:gd name="T56" fmla="*/ 38990447 w 471"/>
              <a:gd name="T57" fmla="*/ 48300726 h 234"/>
              <a:gd name="T58" fmla="*/ 36650764 w 471"/>
              <a:gd name="T59" fmla="*/ 51848240 h 234"/>
              <a:gd name="T60" fmla="*/ 32556871 w 471"/>
              <a:gd name="T61" fmla="*/ 54849862 h 234"/>
              <a:gd name="T62" fmla="*/ 28657693 w 471"/>
              <a:gd name="T63" fmla="*/ 58124691 h 234"/>
              <a:gd name="T64" fmla="*/ 25343547 w 471"/>
              <a:gd name="T65" fmla="*/ 59761845 h 234"/>
              <a:gd name="T66" fmla="*/ 22224559 w 471"/>
              <a:gd name="T67" fmla="*/ 60580421 h 234"/>
              <a:gd name="T68" fmla="*/ 18910413 w 471"/>
              <a:gd name="T69" fmla="*/ 60307737 h 234"/>
              <a:gd name="T70" fmla="*/ 15986140 w 471"/>
              <a:gd name="T71" fmla="*/ 59215953 h 234"/>
              <a:gd name="T72" fmla="*/ 12282121 w 471"/>
              <a:gd name="T73" fmla="*/ 55941646 h 234"/>
              <a:gd name="T74" fmla="*/ 11501932 w 471"/>
              <a:gd name="T75" fmla="*/ 53758601 h 234"/>
              <a:gd name="T76" fmla="*/ 11501932 w 471"/>
              <a:gd name="T77" fmla="*/ 36839608 h 234"/>
              <a:gd name="T78" fmla="*/ 0 w 471"/>
              <a:gd name="T79" fmla="*/ 26742958 h 234"/>
              <a:gd name="T80" fmla="*/ 10332312 w 471"/>
              <a:gd name="T81" fmla="*/ 21830975 h 234"/>
              <a:gd name="T82" fmla="*/ 16765888 w 471"/>
              <a:gd name="T83" fmla="*/ 8186812 h 234"/>
              <a:gd name="T84" fmla="*/ 25928579 w 471"/>
              <a:gd name="T85" fmla="*/ 0 h 234"/>
              <a:gd name="T86" fmla="*/ 32361713 w 471"/>
              <a:gd name="T87" fmla="*/ 11461118 h 234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471" h="234">
                <a:moveTo>
                  <a:pt x="159" y="30"/>
                </a:moveTo>
                <a:lnTo>
                  <a:pt x="106" y="67"/>
                </a:lnTo>
                <a:lnTo>
                  <a:pt x="126" y="86"/>
                </a:lnTo>
                <a:lnTo>
                  <a:pt x="166" y="86"/>
                </a:lnTo>
                <a:lnTo>
                  <a:pt x="218" y="98"/>
                </a:lnTo>
                <a:lnTo>
                  <a:pt x="272" y="105"/>
                </a:lnTo>
                <a:lnTo>
                  <a:pt x="325" y="92"/>
                </a:lnTo>
                <a:lnTo>
                  <a:pt x="372" y="86"/>
                </a:lnTo>
                <a:lnTo>
                  <a:pt x="379" y="86"/>
                </a:lnTo>
                <a:lnTo>
                  <a:pt x="383" y="95"/>
                </a:lnTo>
                <a:lnTo>
                  <a:pt x="388" y="105"/>
                </a:lnTo>
                <a:lnTo>
                  <a:pt x="391" y="114"/>
                </a:lnTo>
                <a:lnTo>
                  <a:pt x="392" y="123"/>
                </a:lnTo>
                <a:lnTo>
                  <a:pt x="406" y="124"/>
                </a:lnTo>
                <a:lnTo>
                  <a:pt x="418" y="126"/>
                </a:lnTo>
                <a:lnTo>
                  <a:pt x="424" y="129"/>
                </a:lnTo>
                <a:lnTo>
                  <a:pt x="428" y="131"/>
                </a:lnTo>
                <a:lnTo>
                  <a:pt x="433" y="134"/>
                </a:lnTo>
                <a:lnTo>
                  <a:pt x="437" y="137"/>
                </a:lnTo>
                <a:lnTo>
                  <a:pt x="441" y="141"/>
                </a:lnTo>
                <a:lnTo>
                  <a:pt x="445" y="146"/>
                </a:lnTo>
                <a:lnTo>
                  <a:pt x="448" y="151"/>
                </a:lnTo>
                <a:lnTo>
                  <a:pt x="450" y="156"/>
                </a:lnTo>
                <a:lnTo>
                  <a:pt x="455" y="170"/>
                </a:lnTo>
                <a:lnTo>
                  <a:pt x="458" y="184"/>
                </a:lnTo>
                <a:lnTo>
                  <a:pt x="471" y="190"/>
                </a:lnTo>
                <a:lnTo>
                  <a:pt x="359" y="190"/>
                </a:lnTo>
                <a:lnTo>
                  <a:pt x="350" y="202"/>
                </a:lnTo>
                <a:lnTo>
                  <a:pt x="338" y="217"/>
                </a:lnTo>
                <a:lnTo>
                  <a:pt x="330" y="224"/>
                </a:lnTo>
                <a:lnTo>
                  <a:pt x="324" y="229"/>
                </a:lnTo>
                <a:lnTo>
                  <a:pt x="317" y="233"/>
                </a:lnTo>
                <a:lnTo>
                  <a:pt x="312" y="234"/>
                </a:lnTo>
                <a:lnTo>
                  <a:pt x="306" y="233"/>
                </a:lnTo>
                <a:lnTo>
                  <a:pt x="302" y="232"/>
                </a:lnTo>
                <a:lnTo>
                  <a:pt x="298" y="230"/>
                </a:lnTo>
                <a:lnTo>
                  <a:pt x="294" y="228"/>
                </a:lnTo>
                <a:lnTo>
                  <a:pt x="292" y="224"/>
                </a:lnTo>
                <a:lnTo>
                  <a:pt x="290" y="220"/>
                </a:lnTo>
                <a:lnTo>
                  <a:pt x="289" y="216"/>
                </a:lnTo>
                <a:lnTo>
                  <a:pt x="287" y="210"/>
                </a:lnTo>
                <a:lnTo>
                  <a:pt x="284" y="199"/>
                </a:lnTo>
                <a:lnTo>
                  <a:pt x="282" y="187"/>
                </a:lnTo>
                <a:lnTo>
                  <a:pt x="278" y="174"/>
                </a:lnTo>
                <a:lnTo>
                  <a:pt x="272" y="160"/>
                </a:lnTo>
                <a:lnTo>
                  <a:pt x="269" y="155"/>
                </a:lnTo>
                <a:lnTo>
                  <a:pt x="265" y="151"/>
                </a:lnTo>
                <a:lnTo>
                  <a:pt x="258" y="148"/>
                </a:lnTo>
                <a:lnTo>
                  <a:pt x="253" y="144"/>
                </a:lnTo>
                <a:lnTo>
                  <a:pt x="246" y="141"/>
                </a:lnTo>
                <a:lnTo>
                  <a:pt x="240" y="137"/>
                </a:lnTo>
                <a:lnTo>
                  <a:pt x="236" y="133"/>
                </a:lnTo>
                <a:lnTo>
                  <a:pt x="233" y="129"/>
                </a:lnTo>
                <a:lnTo>
                  <a:pt x="224" y="140"/>
                </a:lnTo>
                <a:lnTo>
                  <a:pt x="213" y="154"/>
                </a:lnTo>
                <a:lnTo>
                  <a:pt x="207" y="162"/>
                </a:lnTo>
                <a:lnTo>
                  <a:pt x="203" y="170"/>
                </a:lnTo>
                <a:lnTo>
                  <a:pt x="200" y="177"/>
                </a:lnTo>
                <a:lnTo>
                  <a:pt x="199" y="184"/>
                </a:lnTo>
                <a:lnTo>
                  <a:pt x="188" y="190"/>
                </a:lnTo>
                <a:lnTo>
                  <a:pt x="177" y="195"/>
                </a:lnTo>
                <a:lnTo>
                  <a:pt x="167" y="201"/>
                </a:lnTo>
                <a:lnTo>
                  <a:pt x="157" y="207"/>
                </a:lnTo>
                <a:lnTo>
                  <a:pt x="147" y="213"/>
                </a:lnTo>
                <a:lnTo>
                  <a:pt x="135" y="218"/>
                </a:lnTo>
                <a:lnTo>
                  <a:pt x="130" y="219"/>
                </a:lnTo>
                <a:lnTo>
                  <a:pt x="122" y="221"/>
                </a:lnTo>
                <a:lnTo>
                  <a:pt x="114" y="222"/>
                </a:lnTo>
                <a:lnTo>
                  <a:pt x="106" y="222"/>
                </a:lnTo>
                <a:lnTo>
                  <a:pt x="97" y="221"/>
                </a:lnTo>
                <a:lnTo>
                  <a:pt x="89" y="220"/>
                </a:lnTo>
                <a:lnTo>
                  <a:pt x="82" y="217"/>
                </a:lnTo>
                <a:lnTo>
                  <a:pt x="76" y="213"/>
                </a:lnTo>
                <a:lnTo>
                  <a:pt x="63" y="205"/>
                </a:lnTo>
                <a:lnTo>
                  <a:pt x="46" y="197"/>
                </a:lnTo>
                <a:lnTo>
                  <a:pt x="59" y="197"/>
                </a:lnTo>
                <a:lnTo>
                  <a:pt x="72" y="166"/>
                </a:lnTo>
                <a:lnTo>
                  <a:pt x="59" y="135"/>
                </a:lnTo>
                <a:lnTo>
                  <a:pt x="39" y="117"/>
                </a:lnTo>
                <a:lnTo>
                  <a:pt x="0" y="98"/>
                </a:lnTo>
                <a:lnTo>
                  <a:pt x="13" y="86"/>
                </a:lnTo>
                <a:lnTo>
                  <a:pt x="53" y="80"/>
                </a:lnTo>
                <a:lnTo>
                  <a:pt x="66" y="49"/>
                </a:lnTo>
                <a:lnTo>
                  <a:pt x="86" y="30"/>
                </a:lnTo>
                <a:lnTo>
                  <a:pt x="93" y="6"/>
                </a:lnTo>
                <a:lnTo>
                  <a:pt x="133" y="0"/>
                </a:lnTo>
                <a:lnTo>
                  <a:pt x="153" y="12"/>
                </a:lnTo>
                <a:lnTo>
                  <a:pt x="166" y="42"/>
                </a:lnTo>
                <a:lnTo>
                  <a:pt x="159" y="3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 dirty="0"/>
          </a:p>
        </p:txBody>
      </p:sp>
      <p:sp>
        <p:nvSpPr>
          <p:cNvPr id="72" name="Freeform 351"/>
          <p:cNvSpPr>
            <a:spLocks/>
          </p:cNvSpPr>
          <p:nvPr>
            <p:custDataLst>
              <p:tags r:id="rId52"/>
            </p:custDataLst>
          </p:nvPr>
        </p:nvSpPr>
        <p:spPr bwMode="auto">
          <a:xfrm>
            <a:off x="3016055" y="4102855"/>
            <a:ext cx="279527" cy="171062"/>
          </a:xfrm>
          <a:custGeom>
            <a:avLst/>
            <a:gdLst>
              <a:gd name="T0" fmla="*/ 19542845 w 525"/>
              <a:gd name="T1" fmla="*/ 50097671 h 241"/>
              <a:gd name="T2" fmla="*/ 31895705 w 525"/>
              <a:gd name="T3" fmla="*/ 40077720 h 241"/>
              <a:gd name="T4" fmla="*/ 17146040 w 525"/>
              <a:gd name="T5" fmla="*/ 28433658 h 241"/>
              <a:gd name="T6" fmla="*/ 8665337 w 525"/>
              <a:gd name="T7" fmla="*/ 31683442 h 241"/>
              <a:gd name="T8" fmla="*/ 12168227 w 525"/>
              <a:gd name="T9" fmla="*/ 16518478 h 241"/>
              <a:gd name="T10" fmla="*/ 7374618 w 525"/>
              <a:gd name="T11" fmla="*/ 11644062 h 241"/>
              <a:gd name="T12" fmla="*/ 20649359 w 525"/>
              <a:gd name="T13" fmla="*/ 6770166 h 241"/>
              <a:gd name="T14" fmla="*/ 34292510 w 525"/>
              <a:gd name="T15" fmla="*/ 0 h 241"/>
              <a:gd name="T16" fmla="*/ 57522878 w 525"/>
              <a:gd name="T17" fmla="*/ 5145014 h 241"/>
              <a:gd name="T18" fmla="*/ 80937451 w 525"/>
              <a:gd name="T19" fmla="*/ 6770166 h 241"/>
              <a:gd name="T20" fmla="*/ 96793201 w 525"/>
              <a:gd name="T21" fmla="*/ 14893846 h 241"/>
              <a:gd name="T22" fmla="*/ 95687116 w 525"/>
              <a:gd name="T23" fmla="*/ 18684827 h 241"/>
              <a:gd name="T24" fmla="*/ 94027558 w 525"/>
              <a:gd name="T25" fmla="*/ 22205209 h 241"/>
              <a:gd name="T26" fmla="*/ 91999592 w 525"/>
              <a:gd name="T27" fmla="*/ 24913276 h 241"/>
              <a:gd name="T28" fmla="*/ 89418583 w 525"/>
              <a:gd name="T29" fmla="*/ 26809027 h 241"/>
              <a:gd name="T30" fmla="*/ 81490493 w 525"/>
              <a:gd name="T31" fmla="*/ 27891941 h 241"/>
              <a:gd name="T32" fmla="*/ 77065723 w 525"/>
              <a:gd name="T33" fmla="*/ 28975376 h 241"/>
              <a:gd name="T34" fmla="*/ 75037756 w 525"/>
              <a:gd name="T35" fmla="*/ 30058290 h 241"/>
              <a:gd name="T36" fmla="*/ 73562833 w 525"/>
              <a:gd name="T37" fmla="*/ 31683442 h 241"/>
              <a:gd name="T38" fmla="*/ 71350233 w 525"/>
              <a:gd name="T39" fmla="*/ 36828457 h 241"/>
              <a:gd name="T40" fmla="*/ 69691105 w 525"/>
              <a:gd name="T41" fmla="*/ 39807122 h 241"/>
              <a:gd name="T42" fmla="*/ 67294300 w 525"/>
              <a:gd name="T43" fmla="*/ 41702872 h 241"/>
              <a:gd name="T44" fmla="*/ 56232159 w 525"/>
              <a:gd name="T45" fmla="*/ 44952136 h 241"/>
              <a:gd name="T46" fmla="*/ 50332465 w 525"/>
              <a:gd name="T47" fmla="*/ 46847887 h 241"/>
              <a:gd name="T48" fmla="*/ 47935660 w 525"/>
              <a:gd name="T49" fmla="*/ 48201920 h 241"/>
              <a:gd name="T50" fmla="*/ 48119865 w 525"/>
              <a:gd name="T51" fmla="*/ 51992901 h 241"/>
              <a:gd name="T52" fmla="*/ 48488703 w 525"/>
              <a:gd name="T53" fmla="*/ 54971566 h 241"/>
              <a:gd name="T54" fmla="*/ 50332465 w 525"/>
              <a:gd name="T55" fmla="*/ 60117101 h 241"/>
              <a:gd name="T56" fmla="*/ 40376408 w 525"/>
              <a:gd name="T57" fmla="*/ 61741733 h 241"/>
              <a:gd name="T58" fmla="*/ 20649359 w 525"/>
              <a:gd name="T59" fmla="*/ 63366364 h 241"/>
              <a:gd name="T60" fmla="*/ 3687524 w 525"/>
              <a:gd name="T61" fmla="*/ 60117101 h 241"/>
              <a:gd name="T62" fmla="*/ 9771422 w 525"/>
              <a:gd name="T63" fmla="*/ 44952136 h 241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525" h="241">
                <a:moveTo>
                  <a:pt x="60" y="178"/>
                </a:moveTo>
                <a:lnTo>
                  <a:pt x="106" y="185"/>
                </a:lnTo>
                <a:lnTo>
                  <a:pt x="140" y="178"/>
                </a:lnTo>
                <a:lnTo>
                  <a:pt x="173" y="148"/>
                </a:lnTo>
                <a:lnTo>
                  <a:pt x="133" y="123"/>
                </a:lnTo>
                <a:lnTo>
                  <a:pt x="93" y="105"/>
                </a:lnTo>
                <a:lnTo>
                  <a:pt x="73" y="123"/>
                </a:lnTo>
                <a:lnTo>
                  <a:pt x="47" y="117"/>
                </a:lnTo>
                <a:lnTo>
                  <a:pt x="33" y="93"/>
                </a:lnTo>
                <a:lnTo>
                  <a:pt x="66" y="61"/>
                </a:lnTo>
                <a:lnTo>
                  <a:pt x="40" y="55"/>
                </a:lnTo>
                <a:lnTo>
                  <a:pt x="40" y="43"/>
                </a:lnTo>
                <a:lnTo>
                  <a:pt x="66" y="19"/>
                </a:lnTo>
                <a:lnTo>
                  <a:pt x="112" y="25"/>
                </a:lnTo>
                <a:lnTo>
                  <a:pt x="173" y="49"/>
                </a:lnTo>
                <a:lnTo>
                  <a:pt x="186" y="0"/>
                </a:lnTo>
                <a:lnTo>
                  <a:pt x="232" y="12"/>
                </a:lnTo>
                <a:lnTo>
                  <a:pt x="312" y="19"/>
                </a:lnTo>
                <a:lnTo>
                  <a:pt x="372" y="25"/>
                </a:lnTo>
                <a:lnTo>
                  <a:pt x="439" y="25"/>
                </a:lnTo>
                <a:lnTo>
                  <a:pt x="519" y="49"/>
                </a:lnTo>
                <a:lnTo>
                  <a:pt x="525" y="55"/>
                </a:lnTo>
                <a:lnTo>
                  <a:pt x="522" y="62"/>
                </a:lnTo>
                <a:lnTo>
                  <a:pt x="519" y="69"/>
                </a:lnTo>
                <a:lnTo>
                  <a:pt x="514" y="76"/>
                </a:lnTo>
                <a:lnTo>
                  <a:pt x="510" y="82"/>
                </a:lnTo>
                <a:lnTo>
                  <a:pt x="504" y="87"/>
                </a:lnTo>
                <a:lnTo>
                  <a:pt x="499" y="92"/>
                </a:lnTo>
                <a:lnTo>
                  <a:pt x="492" y="96"/>
                </a:lnTo>
                <a:lnTo>
                  <a:pt x="485" y="99"/>
                </a:lnTo>
                <a:lnTo>
                  <a:pt x="466" y="101"/>
                </a:lnTo>
                <a:lnTo>
                  <a:pt x="442" y="103"/>
                </a:lnTo>
                <a:lnTo>
                  <a:pt x="430" y="105"/>
                </a:lnTo>
                <a:lnTo>
                  <a:pt x="418" y="107"/>
                </a:lnTo>
                <a:lnTo>
                  <a:pt x="412" y="109"/>
                </a:lnTo>
                <a:lnTo>
                  <a:pt x="407" y="111"/>
                </a:lnTo>
                <a:lnTo>
                  <a:pt x="402" y="114"/>
                </a:lnTo>
                <a:lnTo>
                  <a:pt x="399" y="117"/>
                </a:lnTo>
                <a:lnTo>
                  <a:pt x="394" y="124"/>
                </a:lnTo>
                <a:lnTo>
                  <a:pt x="387" y="136"/>
                </a:lnTo>
                <a:lnTo>
                  <a:pt x="383" y="142"/>
                </a:lnTo>
                <a:lnTo>
                  <a:pt x="378" y="147"/>
                </a:lnTo>
                <a:lnTo>
                  <a:pt x="373" y="151"/>
                </a:lnTo>
                <a:lnTo>
                  <a:pt x="365" y="154"/>
                </a:lnTo>
                <a:lnTo>
                  <a:pt x="341" y="160"/>
                </a:lnTo>
                <a:lnTo>
                  <a:pt x="305" y="166"/>
                </a:lnTo>
                <a:lnTo>
                  <a:pt x="287" y="170"/>
                </a:lnTo>
                <a:lnTo>
                  <a:pt x="273" y="173"/>
                </a:lnTo>
                <a:lnTo>
                  <a:pt x="263" y="176"/>
                </a:lnTo>
                <a:lnTo>
                  <a:pt x="260" y="178"/>
                </a:lnTo>
                <a:lnTo>
                  <a:pt x="260" y="186"/>
                </a:lnTo>
                <a:lnTo>
                  <a:pt x="261" y="192"/>
                </a:lnTo>
                <a:lnTo>
                  <a:pt x="262" y="197"/>
                </a:lnTo>
                <a:lnTo>
                  <a:pt x="263" y="203"/>
                </a:lnTo>
                <a:lnTo>
                  <a:pt x="267" y="212"/>
                </a:lnTo>
                <a:lnTo>
                  <a:pt x="273" y="222"/>
                </a:lnTo>
                <a:lnTo>
                  <a:pt x="266" y="222"/>
                </a:lnTo>
                <a:lnTo>
                  <a:pt x="219" y="228"/>
                </a:lnTo>
                <a:lnTo>
                  <a:pt x="166" y="241"/>
                </a:lnTo>
                <a:lnTo>
                  <a:pt x="112" y="234"/>
                </a:lnTo>
                <a:lnTo>
                  <a:pt x="60" y="222"/>
                </a:lnTo>
                <a:lnTo>
                  <a:pt x="20" y="222"/>
                </a:lnTo>
                <a:lnTo>
                  <a:pt x="0" y="203"/>
                </a:lnTo>
                <a:lnTo>
                  <a:pt x="53" y="166"/>
                </a:lnTo>
                <a:lnTo>
                  <a:pt x="60" y="178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 dirty="0"/>
          </a:p>
        </p:txBody>
      </p:sp>
      <p:sp>
        <p:nvSpPr>
          <p:cNvPr id="73" name="Freeform 352"/>
          <p:cNvSpPr>
            <a:spLocks/>
          </p:cNvSpPr>
          <p:nvPr>
            <p:custDataLst>
              <p:tags r:id="rId53"/>
            </p:custDataLst>
          </p:nvPr>
        </p:nvSpPr>
        <p:spPr bwMode="auto">
          <a:xfrm>
            <a:off x="2527866" y="4124508"/>
            <a:ext cx="425196" cy="309644"/>
          </a:xfrm>
          <a:custGeom>
            <a:avLst/>
            <a:gdLst>
              <a:gd name="T0" fmla="*/ 146914280 w 784"/>
              <a:gd name="T1" fmla="*/ 81384858 h 430"/>
              <a:gd name="T2" fmla="*/ 143662416 w 784"/>
              <a:gd name="T3" fmla="*/ 81663607 h 430"/>
              <a:gd name="T4" fmla="*/ 139836282 w 784"/>
              <a:gd name="T5" fmla="*/ 84171826 h 430"/>
              <a:gd name="T6" fmla="*/ 138305916 w 784"/>
              <a:gd name="T7" fmla="*/ 85844324 h 430"/>
              <a:gd name="T8" fmla="*/ 137158251 w 784"/>
              <a:gd name="T9" fmla="*/ 92533259 h 430"/>
              <a:gd name="T10" fmla="*/ 136393286 w 784"/>
              <a:gd name="T11" fmla="*/ 100337720 h 430"/>
              <a:gd name="T12" fmla="*/ 134671351 w 784"/>
              <a:gd name="T13" fmla="*/ 104797186 h 430"/>
              <a:gd name="T14" fmla="*/ 128358754 w 784"/>
              <a:gd name="T15" fmla="*/ 112043620 h 430"/>
              <a:gd name="T16" fmla="*/ 121089624 w 784"/>
              <a:gd name="T17" fmla="*/ 117060586 h 430"/>
              <a:gd name="T18" fmla="*/ 117072358 w 784"/>
              <a:gd name="T19" fmla="*/ 118175056 h 430"/>
              <a:gd name="T20" fmla="*/ 112290128 w 784"/>
              <a:gd name="T21" fmla="*/ 119568804 h 430"/>
              <a:gd name="T22" fmla="*/ 108463994 w 784"/>
              <a:gd name="T23" fmla="*/ 119290055 h 430"/>
              <a:gd name="T24" fmla="*/ 104255596 w 784"/>
              <a:gd name="T25" fmla="*/ 108141654 h 430"/>
              <a:gd name="T26" fmla="*/ 98516832 w 784"/>
              <a:gd name="T27" fmla="*/ 95878254 h 430"/>
              <a:gd name="T28" fmla="*/ 91438834 w 784"/>
              <a:gd name="T29" fmla="*/ 93090758 h 430"/>
              <a:gd name="T30" fmla="*/ 85700070 w 784"/>
              <a:gd name="T31" fmla="*/ 87795043 h 430"/>
              <a:gd name="T32" fmla="*/ 79769737 w 784"/>
              <a:gd name="T33" fmla="*/ 81942357 h 430"/>
              <a:gd name="T34" fmla="*/ 71352941 w 784"/>
              <a:gd name="T35" fmla="*/ 76367893 h 430"/>
              <a:gd name="T36" fmla="*/ 58536179 w 784"/>
              <a:gd name="T37" fmla="*/ 71908427 h 430"/>
              <a:gd name="T38" fmla="*/ 34815722 w 784"/>
              <a:gd name="T39" fmla="*/ 78876639 h 430"/>
              <a:gd name="T40" fmla="*/ 28885389 w 784"/>
              <a:gd name="T41" fmla="*/ 85286825 h 430"/>
              <a:gd name="T42" fmla="*/ 24294290 w 784"/>
              <a:gd name="T43" fmla="*/ 85844324 h 430"/>
              <a:gd name="T44" fmla="*/ 12625630 w 784"/>
              <a:gd name="T45" fmla="*/ 70236457 h 430"/>
              <a:gd name="T46" fmla="*/ 12625630 w 784"/>
              <a:gd name="T47" fmla="*/ 56858059 h 430"/>
              <a:gd name="T48" fmla="*/ 7651831 w 784"/>
              <a:gd name="T49" fmla="*/ 49889847 h 430"/>
              <a:gd name="T50" fmla="*/ 8034532 w 784"/>
              <a:gd name="T51" fmla="*/ 55464311 h 430"/>
              <a:gd name="T52" fmla="*/ 6886429 w 784"/>
              <a:gd name="T53" fmla="*/ 60760026 h 430"/>
              <a:gd name="T54" fmla="*/ 5738764 w 784"/>
              <a:gd name="T55" fmla="*/ 61596275 h 430"/>
              <a:gd name="T56" fmla="*/ 5930333 w 784"/>
              <a:gd name="T57" fmla="*/ 56579309 h 430"/>
              <a:gd name="T58" fmla="*/ 5164931 w 784"/>
              <a:gd name="T59" fmla="*/ 48496626 h 430"/>
              <a:gd name="T60" fmla="*/ 6312597 w 784"/>
              <a:gd name="T61" fmla="*/ 45430381 h 430"/>
              <a:gd name="T62" fmla="*/ 7651831 w 784"/>
              <a:gd name="T63" fmla="*/ 42364663 h 430"/>
              <a:gd name="T64" fmla="*/ 5164931 w 784"/>
              <a:gd name="T65" fmla="*/ 35954477 h 430"/>
              <a:gd name="T66" fmla="*/ 1339234 w 784"/>
              <a:gd name="T67" fmla="*/ 35118228 h 430"/>
              <a:gd name="T68" fmla="*/ 0 w 784"/>
              <a:gd name="T69" fmla="*/ 32609482 h 430"/>
              <a:gd name="T70" fmla="*/ 573833 w 784"/>
              <a:gd name="T71" fmla="*/ 28986265 h 430"/>
              <a:gd name="T72" fmla="*/ 2104199 w 784"/>
              <a:gd name="T73" fmla="*/ 26199297 h 430"/>
              <a:gd name="T74" fmla="*/ 5164931 w 784"/>
              <a:gd name="T75" fmla="*/ 25641797 h 430"/>
              <a:gd name="T76" fmla="*/ 7842963 w 784"/>
              <a:gd name="T77" fmla="*/ 27593045 h 430"/>
              <a:gd name="T78" fmla="*/ 10903695 w 784"/>
              <a:gd name="T79" fmla="*/ 28986265 h 430"/>
              <a:gd name="T80" fmla="*/ 13581727 w 784"/>
              <a:gd name="T81" fmla="*/ 25641797 h 430"/>
              <a:gd name="T82" fmla="*/ 15877495 w 784"/>
              <a:gd name="T83" fmla="*/ 21461081 h 430"/>
              <a:gd name="T84" fmla="*/ 16642459 w 784"/>
              <a:gd name="T85" fmla="*/ 17837864 h 430"/>
              <a:gd name="T86" fmla="*/ 14920961 w 784"/>
              <a:gd name="T87" fmla="*/ 15329117 h 430"/>
              <a:gd name="T88" fmla="*/ 10520994 w 784"/>
              <a:gd name="T89" fmla="*/ 13657148 h 430"/>
              <a:gd name="T90" fmla="*/ 8991065 w 784"/>
              <a:gd name="T91" fmla="*/ 11148401 h 430"/>
              <a:gd name="T92" fmla="*/ 7842963 w 784"/>
              <a:gd name="T93" fmla="*/ 7803933 h 430"/>
              <a:gd name="T94" fmla="*/ 20468593 w 784"/>
              <a:gd name="T95" fmla="*/ 11984650 h 430"/>
              <a:gd name="T96" fmla="*/ 41893720 w 784"/>
              <a:gd name="T97" fmla="*/ 20624832 h 430"/>
              <a:gd name="T98" fmla="*/ 52223583 w 784"/>
              <a:gd name="T99" fmla="*/ 0 h 430"/>
              <a:gd name="T100" fmla="*/ 71352941 w 784"/>
              <a:gd name="T101" fmla="*/ 11984650 h 430"/>
              <a:gd name="T102" fmla="*/ 88951934 w 784"/>
              <a:gd name="T103" fmla="*/ 25641797 h 430"/>
              <a:gd name="T104" fmla="*/ 113055092 w 784"/>
              <a:gd name="T105" fmla="*/ 58530029 h 430"/>
              <a:gd name="T106" fmla="*/ 138497485 w 784"/>
              <a:gd name="T107" fmla="*/ 73859674 h 430"/>
              <a:gd name="T108" fmla="*/ 148827347 w 784"/>
              <a:gd name="T109" fmla="*/ 82221107 h 430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784" h="430">
                <a:moveTo>
                  <a:pt x="778" y="295"/>
                </a:moveTo>
                <a:lnTo>
                  <a:pt x="772" y="294"/>
                </a:lnTo>
                <a:lnTo>
                  <a:pt x="768" y="292"/>
                </a:lnTo>
                <a:lnTo>
                  <a:pt x="762" y="292"/>
                </a:lnTo>
                <a:lnTo>
                  <a:pt x="757" y="292"/>
                </a:lnTo>
                <a:lnTo>
                  <a:pt x="751" y="293"/>
                </a:lnTo>
                <a:lnTo>
                  <a:pt x="745" y="295"/>
                </a:lnTo>
                <a:lnTo>
                  <a:pt x="738" y="298"/>
                </a:lnTo>
                <a:lnTo>
                  <a:pt x="731" y="302"/>
                </a:lnTo>
                <a:lnTo>
                  <a:pt x="727" y="303"/>
                </a:lnTo>
                <a:lnTo>
                  <a:pt x="725" y="305"/>
                </a:lnTo>
                <a:lnTo>
                  <a:pt x="723" y="308"/>
                </a:lnTo>
                <a:lnTo>
                  <a:pt x="721" y="312"/>
                </a:lnTo>
                <a:lnTo>
                  <a:pt x="718" y="322"/>
                </a:lnTo>
                <a:lnTo>
                  <a:pt x="717" y="332"/>
                </a:lnTo>
                <a:lnTo>
                  <a:pt x="716" y="343"/>
                </a:lnTo>
                <a:lnTo>
                  <a:pt x="714" y="354"/>
                </a:lnTo>
                <a:lnTo>
                  <a:pt x="713" y="360"/>
                </a:lnTo>
                <a:lnTo>
                  <a:pt x="711" y="365"/>
                </a:lnTo>
                <a:lnTo>
                  <a:pt x="708" y="370"/>
                </a:lnTo>
                <a:lnTo>
                  <a:pt x="704" y="376"/>
                </a:lnTo>
                <a:lnTo>
                  <a:pt x="694" y="385"/>
                </a:lnTo>
                <a:lnTo>
                  <a:pt x="683" y="394"/>
                </a:lnTo>
                <a:lnTo>
                  <a:pt x="671" y="402"/>
                </a:lnTo>
                <a:lnTo>
                  <a:pt x="659" y="409"/>
                </a:lnTo>
                <a:lnTo>
                  <a:pt x="647" y="416"/>
                </a:lnTo>
                <a:lnTo>
                  <a:pt x="633" y="420"/>
                </a:lnTo>
                <a:lnTo>
                  <a:pt x="626" y="422"/>
                </a:lnTo>
                <a:lnTo>
                  <a:pt x="620" y="424"/>
                </a:lnTo>
                <a:lnTo>
                  <a:pt x="612" y="424"/>
                </a:lnTo>
                <a:lnTo>
                  <a:pt x="604" y="425"/>
                </a:lnTo>
                <a:lnTo>
                  <a:pt x="596" y="426"/>
                </a:lnTo>
                <a:lnTo>
                  <a:pt x="587" y="429"/>
                </a:lnTo>
                <a:lnTo>
                  <a:pt x="581" y="430"/>
                </a:lnTo>
                <a:lnTo>
                  <a:pt x="575" y="430"/>
                </a:lnTo>
                <a:lnTo>
                  <a:pt x="567" y="428"/>
                </a:lnTo>
                <a:lnTo>
                  <a:pt x="558" y="425"/>
                </a:lnTo>
                <a:lnTo>
                  <a:pt x="553" y="406"/>
                </a:lnTo>
                <a:lnTo>
                  <a:pt x="545" y="388"/>
                </a:lnTo>
                <a:lnTo>
                  <a:pt x="537" y="367"/>
                </a:lnTo>
                <a:lnTo>
                  <a:pt x="532" y="345"/>
                </a:lnTo>
                <a:lnTo>
                  <a:pt x="515" y="344"/>
                </a:lnTo>
                <a:lnTo>
                  <a:pt x="501" y="342"/>
                </a:lnTo>
                <a:lnTo>
                  <a:pt x="489" y="339"/>
                </a:lnTo>
                <a:lnTo>
                  <a:pt x="478" y="334"/>
                </a:lnTo>
                <a:lnTo>
                  <a:pt x="467" y="329"/>
                </a:lnTo>
                <a:lnTo>
                  <a:pt x="458" y="323"/>
                </a:lnTo>
                <a:lnTo>
                  <a:pt x="448" y="315"/>
                </a:lnTo>
                <a:lnTo>
                  <a:pt x="439" y="308"/>
                </a:lnTo>
                <a:lnTo>
                  <a:pt x="429" y="301"/>
                </a:lnTo>
                <a:lnTo>
                  <a:pt x="417" y="294"/>
                </a:lnTo>
                <a:lnTo>
                  <a:pt x="404" y="287"/>
                </a:lnTo>
                <a:lnTo>
                  <a:pt x="389" y="280"/>
                </a:lnTo>
                <a:lnTo>
                  <a:pt x="373" y="274"/>
                </a:lnTo>
                <a:lnTo>
                  <a:pt x="354" y="268"/>
                </a:lnTo>
                <a:lnTo>
                  <a:pt x="331" y="262"/>
                </a:lnTo>
                <a:lnTo>
                  <a:pt x="306" y="258"/>
                </a:lnTo>
                <a:lnTo>
                  <a:pt x="212" y="258"/>
                </a:lnTo>
                <a:lnTo>
                  <a:pt x="204" y="267"/>
                </a:lnTo>
                <a:lnTo>
                  <a:pt x="182" y="283"/>
                </a:lnTo>
                <a:lnTo>
                  <a:pt x="171" y="292"/>
                </a:lnTo>
                <a:lnTo>
                  <a:pt x="160" y="300"/>
                </a:lnTo>
                <a:lnTo>
                  <a:pt x="151" y="306"/>
                </a:lnTo>
                <a:lnTo>
                  <a:pt x="146" y="308"/>
                </a:lnTo>
                <a:lnTo>
                  <a:pt x="137" y="308"/>
                </a:lnTo>
                <a:lnTo>
                  <a:pt x="127" y="308"/>
                </a:lnTo>
                <a:lnTo>
                  <a:pt x="119" y="308"/>
                </a:lnTo>
                <a:lnTo>
                  <a:pt x="113" y="308"/>
                </a:lnTo>
                <a:lnTo>
                  <a:pt x="66" y="252"/>
                </a:lnTo>
                <a:lnTo>
                  <a:pt x="66" y="237"/>
                </a:lnTo>
                <a:lnTo>
                  <a:pt x="66" y="223"/>
                </a:lnTo>
                <a:lnTo>
                  <a:pt x="66" y="204"/>
                </a:lnTo>
                <a:lnTo>
                  <a:pt x="66" y="179"/>
                </a:lnTo>
                <a:lnTo>
                  <a:pt x="53" y="179"/>
                </a:lnTo>
                <a:lnTo>
                  <a:pt x="40" y="179"/>
                </a:lnTo>
                <a:lnTo>
                  <a:pt x="42" y="185"/>
                </a:lnTo>
                <a:lnTo>
                  <a:pt x="42" y="192"/>
                </a:lnTo>
                <a:lnTo>
                  <a:pt x="42" y="199"/>
                </a:lnTo>
                <a:lnTo>
                  <a:pt x="41" y="205"/>
                </a:lnTo>
                <a:lnTo>
                  <a:pt x="39" y="212"/>
                </a:lnTo>
                <a:lnTo>
                  <a:pt x="36" y="218"/>
                </a:lnTo>
                <a:lnTo>
                  <a:pt x="31" y="223"/>
                </a:lnTo>
                <a:lnTo>
                  <a:pt x="27" y="228"/>
                </a:lnTo>
                <a:lnTo>
                  <a:pt x="30" y="221"/>
                </a:lnTo>
                <a:lnTo>
                  <a:pt x="32" y="215"/>
                </a:lnTo>
                <a:lnTo>
                  <a:pt x="32" y="208"/>
                </a:lnTo>
                <a:lnTo>
                  <a:pt x="31" y="203"/>
                </a:lnTo>
                <a:lnTo>
                  <a:pt x="29" y="191"/>
                </a:lnTo>
                <a:lnTo>
                  <a:pt x="27" y="179"/>
                </a:lnTo>
                <a:lnTo>
                  <a:pt x="27" y="174"/>
                </a:lnTo>
                <a:lnTo>
                  <a:pt x="29" y="170"/>
                </a:lnTo>
                <a:lnTo>
                  <a:pt x="31" y="167"/>
                </a:lnTo>
                <a:lnTo>
                  <a:pt x="33" y="163"/>
                </a:lnTo>
                <a:lnTo>
                  <a:pt x="36" y="160"/>
                </a:lnTo>
                <a:lnTo>
                  <a:pt x="38" y="156"/>
                </a:lnTo>
                <a:lnTo>
                  <a:pt x="40" y="152"/>
                </a:lnTo>
                <a:lnTo>
                  <a:pt x="40" y="147"/>
                </a:lnTo>
                <a:lnTo>
                  <a:pt x="31" y="136"/>
                </a:lnTo>
                <a:lnTo>
                  <a:pt x="27" y="129"/>
                </a:lnTo>
                <a:lnTo>
                  <a:pt x="20" y="129"/>
                </a:lnTo>
                <a:lnTo>
                  <a:pt x="11" y="128"/>
                </a:lnTo>
                <a:lnTo>
                  <a:pt x="7" y="126"/>
                </a:lnTo>
                <a:lnTo>
                  <a:pt x="4" y="124"/>
                </a:lnTo>
                <a:lnTo>
                  <a:pt x="1" y="121"/>
                </a:lnTo>
                <a:lnTo>
                  <a:pt x="0" y="117"/>
                </a:lnTo>
                <a:lnTo>
                  <a:pt x="0" y="113"/>
                </a:lnTo>
                <a:lnTo>
                  <a:pt x="1" y="108"/>
                </a:lnTo>
                <a:lnTo>
                  <a:pt x="3" y="104"/>
                </a:lnTo>
                <a:lnTo>
                  <a:pt x="5" y="100"/>
                </a:lnTo>
                <a:lnTo>
                  <a:pt x="8" y="96"/>
                </a:lnTo>
                <a:lnTo>
                  <a:pt x="11" y="94"/>
                </a:lnTo>
                <a:lnTo>
                  <a:pt x="16" y="92"/>
                </a:lnTo>
                <a:lnTo>
                  <a:pt x="20" y="92"/>
                </a:lnTo>
                <a:lnTo>
                  <a:pt x="27" y="92"/>
                </a:lnTo>
                <a:lnTo>
                  <a:pt x="32" y="94"/>
                </a:lnTo>
                <a:lnTo>
                  <a:pt x="37" y="96"/>
                </a:lnTo>
                <a:lnTo>
                  <a:pt x="41" y="99"/>
                </a:lnTo>
                <a:lnTo>
                  <a:pt x="45" y="101"/>
                </a:lnTo>
                <a:lnTo>
                  <a:pt x="51" y="103"/>
                </a:lnTo>
                <a:lnTo>
                  <a:pt x="57" y="104"/>
                </a:lnTo>
                <a:lnTo>
                  <a:pt x="66" y="105"/>
                </a:lnTo>
                <a:lnTo>
                  <a:pt x="67" y="99"/>
                </a:lnTo>
                <a:lnTo>
                  <a:pt x="71" y="92"/>
                </a:lnTo>
                <a:lnTo>
                  <a:pt x="75" y="87"/>
                </a:lnTo>
                <a:lnTo>
                  <a:pt x="79" y="82"/>
                </a:lnTo>
                <a:lnTo>
                  <a:pt x="83" y="77"/>
                </a:lnTo>
                <a:lnTo>
                  <a:pt x="86" y="71"/>
                </a:lnTo>
                <a:lnTo>
                  <a:pt x="87" y="67"/>
                </a:lnTo>
                <a:lnTo>
                  <a:pt x="87" y="64"/>
                </a:lnTo>
                <a:lnTo>
                  <a:pt x="87" y="60"/>
                </a:lnTo>
                <a:lnTo>
                  <a:pt x="86" y="56"/>
                </a:lnTo>
                <a:lnTo>
                  <a:pt x="78" y="55"/>
                </a:lnTo>
                <a:lnTo>
                  <a:pt x="71" y="54"/>
                </a:lnTo>
                <a:lnTo>
                  <a:pt x="63" y="52"/>
                </a:lnTo>
                <a:lnTo>
                  <a:pt x="55" y="49"/>
                </a:lnTo>
                <a:lnTo>
                  <a:pt x="52" y="47"/>
                </a:lnTo>
                <a:lnTo>
                  <a:pt x="50" y="44"/>
                </a:lnTo>
                <a:lnTo>
                  <a:pt x="47" y="40"/>
                </a:lnTo>
                <a:lnTo>
                  <a:pt x="44" y="37"/>
                </a:lnTo>
                <a:lnTo>
                  <a:pt x="42" y="33"/>
                </a:lnTo>
                <a:lnTo>
                  <a:pt x="41" y="28"/>
                </a:lnTo>
                <a:lnTo>
                  <a:pt x="40" y="24"/>
                </a:lnTo>
                <a:lnTo>
                  <a:pt x="40" y="18"/>
                </a:lnTo>
                <a:lnTo>
                  <a:pt x="107" y="43"/>
                </a:lnTo>
                <a:lnTo>
                  <a:pt x="133" y="80"/>
                </a:lnTo>
                <a:lnTo>
                  <a:pt x="179" y="86"/>
                </a:lnTo>
                <a:lnTo>
                  <a:pt x="219" y="74"/>
                </a:lnTo>
                <a:lnTo>
                  <a:pt x="212" y="43"/>
                </a:lnTo>
                <a:lnTo>
                  <a:pt x="253" y="24"/>
                </a:lnTo>
                <a:lnTo>
                  <a:pt x="273" y="0"/>
                </a:lnTo>
                <a:lnTo>
                  <a:pt x="306" y="6"/>
                </a:lnTo>
                <a:lnTo>
                  <a:pt x="339" y="24"/>
                </a:lnTo>
                <a:lnTo>
                  <a:pt x="373" y="43"/>
                </a:lnTo>
                <a:lnTo>
                  <a:pt x="386" y="80"/>
                </a:lnTo>
                <a:lnTo>
                  <a:pt x="425" y="92"/>
                </a:lnTo>
                <a:lnTo>
                  <a:pt x="465" y="92"/>
                </a:lnTo>
                <a:lnTo>
                  <a:pt x="512" y="141"/>
                </a:lnTo>
                <a:lnTo>
                  <a:pt x="545" y="179"/>
                </a:lnTo>
                <a:lnTo>
                  <a:pt x="591" y="210"/>
                </a:lnTo>
                <a:lnTo>
                  <a:pt x="632" y="222"/>
                </a:lnTo>
                <a:lnTo>
                  <a:pt x="678" y="252"/>
                </a:lnTo>
                <a:lnTo>
                  <a:pt x="724" y="265"/>
                </a:lnTo>
                <a:lnTo>
                  <a:pt x="758" y="277"/>
                </a:lnTo>
                <a:lnTo>
                  <a:pt x="784" y="289"/>
                </a:lnTo>
                <a:lnTo>
                  <a:pt x="778" y="295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 dirty="0"/>
          </a:p>
        </p:txBody>
      </p:sp>
      <p:sp>
        <p:nvSpPr>
          <p:cNvPr id="74" name="Freeform 353"/>
          <p:cNvSpPr>
            <a:spLocks/>
          </p:cNvSpPr>
          <p:nvPr>
            <p:custDataLst>
              <p:tags r:id="rId54"/>
            </p:custDataLst>
          </p:nvPr>
        </p:nvSpPr>
        <p:spPr bwMode="auto">
          <a:xfrm>
            <a:off x="1547553" y="3970768"/>
            <a:ext cx="133858" cy="203543"/>
          </a:xfrm>
          <a:custGeom>
            <a:avLst/>
            <a:gdLst>
              <a:gd name="T0" fmla="*/ 5777080 w 246"/>
              <a:gd name="T1" fmla="*/ 7454419 h 284"/>
              <a:gd name="T2" fmla="*/ 5391795 w 246"/>
              <a:gd name="T3" fmla="*/ 6626326 h 284"/>
              <a:gd name="T4" fmla="*/ 4621664 w 246"/>
              <a:gd name="T5" fmla="*/ 4693231 h 284"/>
              <a:gd name="T6" fmla="*/ 6739854 w 246"/>
              <a:gd name="T7" fmla="*/ 1380331 h 284"/>
              <a:gd name="T8" fmla="*/ 12901780 w 246"/>
              <a:gd name="T9" fmla="*/ 275856 h 284"/>
              <a:gd name="T10" fmla="*/ 24262860 w 246"/>
              <a:gd name="T11" fmla="*/ 3312900 h 284"/>
              <a:gd name="T12" fmla="*/ 25226072 w 246"/>
              <a:gd name="T13" fmla="*/ 8282513 h 284"/>
              <a:gd name="T14" fmla="*/ 26766334 w 246"/>
              <a:gd name="T15" fmla="*/ 12699888 h 284"/>
              <a:gd name="T16" fmla="*/ 29077166 w 246"/>
              <a:gd name="T17" fmla="*/ 15736932 h 284"/>
              <a:gd name="T18" fmla="*/ 31772845 w 246"/>
              <a:gd name="T19" fmla="*/ 18497595 h 284"/>
              <a:gd name="T20" fmla="*/ 36779794 w 246"/>
              <a:gd name="T21" fmla="*/ 24019445 h 284"/>
              <a:gd name="T22" fmla="*/ 39090626 w 246"/>
              <a:gd name="T23" fmla="*/ 27884583 h 284"/>
              <a:gd name="T24" fmla="*/ 40823530 w 246"/>
              <a:gd name="T25" fmla="*/ 32301958 h 284"/>
              <a:gd name="T26" fmla="*/ 43519648 w 246"/>
              <a:gd name="T27" fmla="*/ 32301958 h 284"/>
              <a:gd name="T28" fmla="*/ 42556435 w 246"/>
              <a:gd name="T29" fmla="*/ 34235052 h 284"/>
              <a:gd name="T30" fmla="*/ 42556435 w 246"/>
              <a:gd name="T31" fmla="*/ 35615384 h 284"/>
              <a:gd name="T32" fmla="*/ 43904494 w 246"/>
              <a:gd name="T33" fmla="*/ 38652428 h 284"/>
              <a:gd name="T34" fmla="*/ 46022683 w 246"/>
              <a:gd name="T35" fmla="*/ 42517565 h 284"/>
              <a:gd name="T36" fmla="*/ 46985457 w 246"/>
              <a:gd name="T37" fmla="*/ 44725990 h 284"/>
              <a:gd name="T38" fmla="*/ 47370742 w 246"/>
              <a:gd name="T39" fmla="*/ 47763034 h 284"/>
              <a:gd name="T40" fmla="*/ 46407968 w 246"/>
              <a:gd name="T41" fmla="*/ 50800078 h 284"/>
              <a:gd name="T42" fmla="*/ 44867267 w 246"/>
              <a:gd name="T43" fmla="*/ 53009029 h 284"/>
              <a:gd name="T44" fmla="*/ 42941720 w 246"/>
              <a:gd name="T45" fmla="*/ 54665216 h 284"/>
              <a:gd name="T46" fmla="*/ 42364232 w 246"/>
              <a:gd name="T47" fmla="*/ 56321929 h 284"/>
              <a:gd name="T48" fmla="*/ 36394509 w 246"/>
              <a:gd name="T49" fmla="*/ 59358973 h 284"/>
              <a:gd name="T50" fmla="*/ 31580641 w 246"/>
              <a:gd name="T51" fmla="*/ 63499966 h 284"/>
              <a:gd name="T52" fmla="*/ 21759824 w 246"/>
              <a:gd name="T53" fmla="*/ 73163336 h 284"/>
              <a:gd name="T54" fmla="*/ 16945517 w 246"/>
              <a:gd name="T55" fmla="*/ 63776348 h 284"/>
              <a:gd name="T56" fmla="*/ 15212612 w 246"/>
              <a:gd name="T57" fmla="*/ 60739304 h 284"/>
              <a:gd name="T58" fmla="*/ 13864554 w 246"/>
              <a:gd name="T59" fmla="*/ 59634829 h 284"/>
              <a:gd name="T60" fmla="*/ 11553722 w 246"/>
              <a:gd name="T61" fmla="*/ 59911210 h 284"/>
              <a:gd name="T62" fmla="*/ 10398306 w 246"/>
              <a:gd name="T63" fmla="*/ 61015160 h 284"/>
              <a:gd name="T64" fmla="*/ 9435532 w 246"/>
              <a:gd name="T65" fmla="*/ 62947729 h 284"/>
              <a:gd name="T66" fmla="*/ 9242890 w 246"/>
              <a:gd name="T67" fmla="*/ 65156679 h 284"/>
              <a:gd name="T68" fmla="*/ 8665401 w 246"/>
              <a:gd name="T69" fmla="*/ 70954386 h 284"/>
              <a:gd name="T70" fmla="*/ 7895270 w 246"/>
              <a:gd name="T71" fmla="*/ 74543667 h 284"/>
              <a:gd name="T72" fmla="*/ 6354569 w 246"/>
              <a:gd name="T73" fmla="*/ 78408805 h 284"/>
              <a:gd name="T74" fmla="*/ 5006510 w 246"/>
              <a:gd name="T75" fmla="*/ 67089248 h 284"/>
              <a:gd name="T76" fmla="*/ 3273606 w 246"/>
              <a:gd name="T77" fmla="*/ 62671873 h 284"/>
              <a:gd name="T78" fmla="*/ 2118190 w 246"/>
              <a:gd name="T79" fmla="*/ 61015160 h 284"/>
              <a:gd name="T80" fmla="*/ 0 w 246"/>
              <a:gd name="T81" fmla="*/ 59634829 h 284"/>
              <a:gd name="T82" fmla="*/ 192642 w 246"/>
              <a:gd name="T83" fmla="*/ 56321929 h 284"/>
              <a:gd name="T84" fmla="*/ 770131 w 246"/>
              <a:gd name="T85" fmla="*/ 53284885 h 284"/>
              <a:gd name="T86" fmla="*/ 2888321 w 246"/>
              <a:gd name="T87" fmla="*/ 48591128 h 284"/>
              <a:gd name="T88" fmla="*/ 5969284 w 246"/>
              <a:gd name="T89" fmla="*/ 44450134 h 284"/>
              <a:gd name="T90" fmla="*/ 8858043 w 246"/>
              <a:gd name="T91" fmla="*/ 38928284 h 284"/>
              <a:gd name="T92" fmla="*/ 6354569 w 246"/>
              <a:gd name="T93" fmla="*/ 12147651 h 284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</a:gdLst>
            <a:ahLst/>
            <a:cxnLst>
              <a:cxn ang="T94">
                <a:pos x="T0" y="T1"/>
              </a:cxn>
              <a:cxn ang="T95">
                <a:pos x="T2" y="T3"/>
              </a:cxn>
              <a:cxn ang="T96">
                <a:pos x="T4" y="T5"/>
              </a:cxn>
              <a:cxn ang="T97">
                <a:pos x="T6" y="T7"/>
              </a:cxn>
              <a:cxn ang="T98">
                <a:pos x="T8" y="T9"/>
              </a:cxn>
              <a:cxn ang="T99">
                <a:pos x="T10" y="T11"/>
              </a:cxn>
              <a:cxn ang="T100">
                <a:pos x="T12" y="T13"/>
              </a:cxn>
              <a:cxn ang="T101">
                <a:pos x="T14" y="T15"/>
              </a:cxn>
              <a:cxn ang="T102">
                <a:pos x="T16" y="T17"/>
              </a:cxn>
              <a:cxn ang="T103">
                <a:pos x="T18" y="T19"/>
              </a:cxn>
              <a:cxn ang="T104">
                <a:pos x="T20" y="T21"/>
              </a:cxn>
              <a:cxn ang="T105">
                <a:pos x="T22" y="T23"/>
              </a:cxn>
              <a:cxn ang="T106">
                <a:pos x="T24" y="T25"/>
              </a:cxn>
              <a:cxn ang="T107">
                <a:pos x="T26" y="T27"/>
              </a:cxn>
              <a:cxn ang="T108">
                <a:pos x="T28" y="T29"/>
              </a:cxn>
              <a:cxn ang="T109">
                <a:pos x="T30" y="T31"/>
              </a:cxn>
              <a:cxn ang="T110">
                <a:pos x="T32" y="T33"/>
              </a:cxn>
              <a:cxn ang="T111">
                <a:pos x="T34" y="T35"/>
              </a:cxn>
              <a:cxn ang="T112">
                <a:pos x="T36" y="T37"/>
              </a:cxn>
              <a:cxn ang="T113">
                <a:pos x="T38" y="T39"/>
              </a:cxn>
              <a:cxn ang="T114">
                <a:pos x="T40" y="T41"/>
              </a:cxn>
              <a:cxn ang="T115">
                <a:pos x="T42" y="T43"/>
              </a:cxn>
              <a:cxn ang="T116">
                <a:pos x="T44" y="T45"/>
              </a:cxn>
              <a:cxn ang="T117">
                <a:pos x="T46" y="T47"/>
              </a:cxn>
              <a:cxn ang="T118">
                <a:pos x="T48" y="T49"/>
              </a:cxn>
              <a:cxn ang="T119">
                <a:pos x="T50" y="T51"/>
              </a:cxn>
              <a:cxn ang="T120">
                <a:pos x="T52" y="T53"/>
              </a:cxn>
              <a:cxn ang="T121">
                <a:pos x="T54" y="T55"/>
              </a:cxn>
              <a:cxn ang="T122">
                <a:pos x="T56" y="T57"/>
              </a:cxn>
              <a:cxn ang="T123">
                <a:pos x="T58" y="T59"/>
              </a:cxn>
              <a:cxn ang="T124">
                <a:pos x="T60" y="T61"/>
              </a:cxn>
              <a:cxn ang="T125">
                <a:pos x="T62" y="T63"/>
              </a:cxn>
              <a:cxn ang="T126">
                <a:pos x="T64" y="T65"/>
              </a:cxn>
              <a:cxn ang="T127">
                <a:pos x="T66" y="T67"/>
              </a:cxn>
              <a:cxn ang="T128">
                <a:pos x="T68" y="T69"/>
              </a:cxn>
              <a:cxn ang="T129">
                <a:pos x="T70" y="T71"/>
              </a:cxn>
              <a:cxn ang="T130">
                <a:pos x="T72" y="T73"/>
              </a:cxn>
              <a:cxn ang="T131">
                <a:pos x="T74" y="T75"/>
              </a:cxn>
              <a:cxn ang="T132">
                <a:pos x="T76" y="T77"/>
              </a:cxn>
              <a:cxn ang="T133">
                <a:pos x="T78" y="T79"/>
              </a:cxn>
              <a:cxn ang="T134">
                <a:pos x="T80" y="T81"/>
              </a:cxn>
              <a:cxn ang="T135">
                <a:pos x="T82" y="T83"/>
              </a:cxn>
              <a:cxn ang="T136">
                <a:pos x="T84" y="T85"/>
              </a:cxn>
              <a:cxn ang="T137">
                <a:pos x="T86" y="T87"/>
              </a:cxn>
              <a:cxn ang="T138">
                <a:pos x="T88" y="T89"/>
              </a:cxn>
              <a:cxn ang="T139">
                <a:pos x="T90" y="T91"/>
              </a:cxn>
              <a:cxn ang="T140">
                <a:pos x="T92" y="T93"/>
              </a:cxn>
            </a:cxnLst>
            <a:rect l="0" t="0" r="r" b="b"/>
            <a:pathLst>
              <a:path w="246" h="284">
                <a:moveTo>
                  <a:pt x="33" y="44"/>
                </a:moveTo>
                <a:lnTo>
                  <a:pt x="30" y="27"/>
                </a:lnTo>
                <a:lnTo>
                  <a:pt x="28" y="24"/>
                </a:lnTo>
                <a:lnTo>
                  <a:pt x="26" y="22"/>
                </a:lnTo>
                <a:lnTo>
                  <a:pt x="24" y="17"/>
                </a:lnTo>
                <a:lnTo>
                  <a:pt x="20" y="6"/>
                </a:lnTo>
                <a:lnTo>
                  <a:pt x="35" y="5"/>
                </a:lnTo>
                <a:lnTo>
                  <a:pt x="50" y="3"/>
                </a:lnTo>
                <a:lnTo>
                  <a:pt x="67" y="1"/>
                </a:lnTo>
                <a:lnTo>
                  <a:pt x="87" y="0"/>
                </a:lnTo>
                <a:lnTo>
                  <a:pt x="126" y="12"/>
                </a:lnTo>
                <a:lnTo>
                  <a:pt x="127" y="22"/>
                </a:lnTo>
                <a:lnTo>
                  <a:pt x="131" y="30"/>
                </a:lnTo>
                <a:lnTo>
                  <a:pt x="135" y="39"/>
                </a:lnTo>
                <a:lnTo>
                  <a:pt x="139" y="46"/>
                </a:lnTo>
                <a:lnTo>
                  <a:pt x="145" y="52"/>
                </a:lnTo>
                <a:lnTo>
                  <a:pt x="151" y="57"/>
                </a:lnTo>
                <a:lnTo>
                  <a:pt x="157" y="62"/>
                </a:lnTo>
                <a:lnTo>
                  <a:pt x="165" y="67"/>
                </a:lnTo>
                <a:lnTo>
                  <a:pt x="178" y="77"/>
                </a:lnTo>
                <a:lnTo>
                  <a:pt x="191" y="87"/>
                </a:lnTo>
                <a:lnTo>
                  <a:pt x="198" y="94"/>
                </a:lnTo>
                <a:lnTo>
                  <a:pt x="203" y="101"/>
                </a:lnTo>
                <a:lnTo>
                  <a:pt x="209" y="109"/>
                </a:lnTo>
                <a:lnTo>
                  <a:pt x="212" y="117"/>
                </a:lnTo>
                <a:lnTo>
                  <a:pt x="220" y="117"/>
                </a:lnTo>
                <a:lnTo>
                  <a:pt x="226" y="117"/>
                </a:lnTo>
                <a:lnTo>
                  <a:pt x="223" y="121"/>
                </a:lnTo>
                <a:lnTo>
                  <a:pt x="221" y="124"/>
                </a:lnTo>
                <a:lnTo>
                  <a:pt x="220" y="126"/>
                </a:lnTo>
                <a:lnTo>
                  <a:pt x="221" y="129"/>
                </a:lnTo>
                <a:lnTo>
                  <a:pt x="223" y="135"/>
                </a:lnTo>
                <a:lnTo>
                  <a:pt x="228" y="140"/>
                </a:lnTo>
                <a:lnTo>
                  <a:pt x="234" y="146"/>
                </a:lnTo>
                <a:lnTo>
                  <a:pt x="239" y="154"/>
                </a:lnTo>
                <a:lnTo>
                  <a:pt x="241" y="158"/>
                </a:lnTo>
                <a:lnTo>
                  <a:pt x="244" y="162"/>
                </a:lnTo>
                <a:lnTo>
                  <a:pt x="245" y="167"/>
                </a:lnTo>
                <a:lnTo>
                  <a:pt x="246" y="173"/>
                </a:lnTo>
                <a:lnTo>
                  <a:pt x="245" y="179"/>
                </a:lnTo>
                <a:lnTo>
                  <a:pt x="241" y="184"/>
                </a:lnTo>
                <a:lnTo>
                  <a:pt x="237" y="189"/>
                </a:lnTo>
                <a:lnTo>
                  <a:pt x="233" y="192"/>
                </a:lnTo>
                <a:lnTo>
                  <a:pt x="227" y="196"/>
                </a:lnTo>
                <a:lnTo>
                  <a:pt x="223" y="198"/>
                </a:lnTo>
                <a:lnTo>
                  <a:pt x="221" y="201"/>
                </a:lnTo>
                <a:lnTo>
                  <a:pt x="220" y="204"/>
                </a:lnTo>
                <a:lnTo>
                  <a:pt x="203" y="209"/>
                </a:lnTo>
                <a:lnTo>
                  <a:pt x="189" y="215"/>
                </a:lnTo>
                <a:lnTo>
                  <a:pt x="176" y="222"/>
                </a:lnTo>
                <a:lnTo>
                  <a:pt x="164" y="230"/>
                </a:lnTo>
                <a:lnTo>
                  <a:pt x="139" y="246"/>
                </a:lnTo>
                <a:lnTo>
                  <a:pt x="113" y="265"/>
                </a:lnTo>
                <a:lnTo>
                  <a:pt x="99" y="247"/>
                </a:lnTo>
                <a:lnTo>
                  <a:pt x="88" y="231"/>
                </a:lnTo>
                <a:lnTo>
                  <a:pt x="83" y="225"/>
                </a:lnTo>
                <a:lnTo>
                  <a:pt x="79" y="220"/>
                </a:lnTo>
                <a:lnTo>
                  <a:pt x="76" y="217"/>
                </a:lnTo>
                <a:lnTo>
                  <a:pt x="72" y="216"/>
                </a:lnTo>
                <a:lnTo>
                  <a:pt x="66" y="216"/>
                </a:lnTo>
                <a:lnTo>
                  <a:pt x="60" y="217"/>
                </a:lnTo>
                <a:lnTo>
                  <a:pt x="57" y="219"/>
                </a:lnTo>
                <a:lnTo>
                  <a:pt x="54" y="221"/>
                </a:lnTo>
                <a:lnTo>
                  <a:pt x="52" y="224"/>
                </a:lnTo>
                <a:lnTo>
                  <a:pt x="49" y="228"/>
                </a:lnTo>
                <a:lnTo>
                  <a:pt x="48" y="231"/>
                </a:lnTo>
                <a:lnTo>
                  <a:pt x="48" y="236"/>
                </a:lnTo>
                <a:lnTo>
                  <a:pt x="47" y="246"/>
                </a:lnTo>
                <a:lnTo>
                  <a:pt x="45" y="257"/>
                </a:lnTo>
                <a:lnTo>
                  <a:pt x="43" y="264"/>
                </a:lnTo>
                <a:lnTo>
                  <a:pt x="41" y="270"/>
                </a:lnTo>
                <a:lnTo>
                  <a:pt x="37" y="277"/>
                </a:lnTo>
                <a:lnTo>
                  <a:pt x="33" y="284"/>
                </a:lnTo>
                <a:lnTo>
                  <a:pt x="30" y="262"/>
                </a:lnTo>
                <a:lnTo>
                  <a:pt x="26" y="243"/>
                </a:lnTo>
                <a:lnTo>
                  <a:pt x="23" y="234"/>
                </a:lnTo>
                <a:lnTo>
                  <a:pt x="17" y="227"/>
                </a:lnTo>
                <a:lnTo>
                  <a:pt x="14" y="224"/>
                </a:lnTo>
                <a:lnTo>
                  <a:pt x="11" y="221"/>
                </a:lnTo>
                <a:lnTo>
                  <a:pt x="5" y="218"/>
                </a:lnTo>
                <a:lnTo>
                  <a:pt x="0" y="216"/>
                </a:lnTo>
                <a:lnTo>
                  <a:pt x="0" y="210"/>
                </a:lnTo>
                <a:lnTo>
                  <a:pt x="1" y="204"/>
                </a:lnTo>
                <a:lnTo>
                  <a:pt x="2" y="197"/>
                </a:lnTo>
                <a:lnTo>
                  <a:pt x="4" y="193"/>
                </a:lnTo>
                <a:lnTo>
                  <a:pt x="9" y="184"/>
                </a:lnTo>
                <a:lnTo>
                  <a:pt x="15" y="176"/>
                </a:lnTo>
                <a:lnTo>
                  <a:pt x="23" y="169"/>
                </a:lnTo>
                <a:lnTo>
                  <a:pt x="31" y="161"/>
                </a:lnTo>
                <a:lnTo>
                  <a:pt x="38" y="153"/>
                </a:lnTo>
                <a:lnTo>
                  <a:pt x="46" y="141"/>
                </a:lnTo>
                <a:lnTo>
                  <a:pt x="0" y="62"/>
                </a:lnTo>
                <a:lnTo>
                  <a:pt x="33" y="44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fr-FR" dirty="0"/>
          </a:p>
        </p:txBody>
      </p:sp>
      <p:sp>
        <p:nvSpPr>
          <p:cNvPr id="75" name="Freeform 354"/>
          <p:cNvSpPr>
            <a:spLocks/>
          </p:cNvSpPr>
          <p:nvPr>
            <p:custDataLst>
              <p:tags r:id="rId55"/>
            </p:custDataLst>
          </p:nvPr>
        </p:nvSpPr>
        <p:spPr bwMode="auto">
          <a:xfrm>
            <a:off x="1606608" y="4118011"/>
            <a:ext cx="84646" cy="82283"/>
          </a:xfrm>
          <a:custGeom>
            <a:avLst/>
            <a:gdLst>
              <a:gd name="T0" fmla="*/ 20750672 w 160"/>
              <a:gd name="T1" fmla="*/ 0 h 117"/>
              <a:gd name="T2" fmla="*/ 20750672 w 160"/>
              <a:gd name="T3" fmla="*/ 2392376 h 117"/>
              <a:gd name="T4" fmla="*/ 20750672 w 160"/>
              <a:gd name="T5" fmla="*/ 4785268 h 117"/>
              <a:gd name="T6" fmla="*/ 20932849 w 160"/>
              <a:gd name="T7" fmla="*/ 6646062 h 117"/>
              <a:gd name="T8" fmla="*/ 21296776 w 160"/>
              <a:gd name="T9" fmla="*/ 8506856 h 117"/>
              <a:gd name="T10" fmla="*/ 21661130 w 160"/>
              <a:gd name="T11" fmla="*/ 9038438 h 117"/>
              <a:gd name="T12" fmla="*/ 22025057 w 160"/>
              <a:gd name="T13" fmla="*/ 9836069 h 117"/>
              <a:gd name="T14" fmla="*/ 22388984 w 160"/>
              <a:gd name="T15" fmla="*/ 10102117 h 117"/>
              <a:gd name="T16" fmla="*/ 23117265 w 160"/>
              <a:gd name="T17" fmla="*/ 10367650 h 117"/>
              <a:gd name="T18" fmla="*/ 23845119 w 160"/>
              <a:gd name="T19" fmla="*/ 10633699 h 117"/>
              <a:gd name="T20" fmla="*/ 24573400 w 160"/>
              <a:gd name="T21" fmla="*/ 10367650 h 117"/>
              <a:gd name="T22" fmla="*/ 25483431 w 160"/>
              <a:gd name="T23" fmla="*/ 10102117 h 117"/>
              <a:gd name="T24" fmla="*/ 26575639 w 160"/>
              <a:gd name="T25" fmla="*/ 9570535 h 117"/>
              <a:gd name="T26" fmla="*/ 27121743 w 160"/>
              <a:gd name="T27" fmla="*/ 11431330 h 117"/>
              <a:gd name="T28" fmla="*/ 27849597 w 160"/>
              <a:gd name="T29" fmla="*/ 13823706 h 117"/>
              <a:gd name="T30" fmla="*/ 28577878 w 160"/>
              <a:gd name="T31" fmla="*/ 17013712 h 117"/>
              <a:gd name="T32" fmla="*/ 29123982 w 160"/>
              <a:gd name="T33" fmla="*/ 19672137 h 117"/>
              <a:gd name="T34" fmla="*/ 24209473 w 160"/>
              <a:gd name="T35" fmla="*/ 23394241 h 117"/>
              <a:gd name="T36" fmla="*/ 19294537 w 160"/>
              <a:gd name="T37" fmla="*/ 27115830 h 117"/>
              <a:gd name="T38" fmla="*/ 16746194 w 160"/>
              <a:gd name="T39" fmla="*/ 28445042 h 117"/>
              <a:gd name="T40" fmla="*/ 13833924 w 160"/>
              <a:gd name="T41" fmla="*/ 30040303 h 117"/>
              <a:gd name="T42" fmla="*/ 11285580 w 160"/>
              <a:gd name="T43" fmla="*/ 30837418 h 117"/>
              <a:gd name="T44" fmla="*/ 8555060 w 160"/>
              <a:gd name="T45" fmla="*/ 31103467 h 117"/>
              <a:gd name="T46" fmla="*/ 5824967 w 160"/>
              <a:gd name="T47" fmla="*/ 26318199 h 117"/>
              <a:gd name="T48" fmla="*/ 3822728 w 160"/>
              <a:gd name="T49" fmla="*/ 22065029 h 117"/>
              <a:gd name="T50" fmla="*/ 1820062 w 160"/>
              <a:gd name="T51" fmla="*/ 18342925 h 117"/>
              <a:gd name="T52" fmla="*/ 0 w 160"/>
              <a:gd name="T53" fmla="*/ 14621336 h 117"/>
              <a:gd name="T54" fmla="*/ 2366166 w 160"/>
              <a:gd name="T55" fmla="*/ 12760542 h 117"/>
              <a:gd name="T56" fmla="*/ 7462852 w 160"/>
              <a:gd name="T57" fmla="*/ 8506856 h 117"/>
              <a:gd name="T58" fmla="*/ 10921653 w 160"/>
              <a:gd name="T59" fmla="*/ 6114480 h 117"/>
              <a:gd name="T60" fmla="*/ 14197851 w 160"/>
              <a:gd name="T61" fmla="*/ 3721588 h 117"/>
              <a:gd name="T62" fmla="*/ 17656225 w 160"/>
              <a:gd name="T63" fmla="*/ 1595261 h 117"/>
              <a:gd name="T64" fmla="*/ 20750672 w 160"/>
              <a:gd name="T65" fmla="*/ 0 h 117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0" t="0" r="r" b="b"/>
            <a:pathLst>
              <a:path w="160" h="117">
                <a:moveTo>
                  <a:pt x="114" y="0"/>
                </a:moveTo>
                <a:lnTo>
                  <a:pt x="114" y="9"/>
                </a:lnTo>
                <a:lnTo>
                  <a:pt x="114" y="18"/>
                </a:lnTo>
                <a:lnTo>
                  <a:pt x="115" y="25"/>
                </a:lnTo>
                <a:lnTo>
                  <a:pt x="117" y="32"/>
                </a:lnTo>
                <a:lnTo>
                  <a:pt x="119" y="34"/>
                </a:lnTo>
                <a:lnTo>
                  <a:pt x="121" y="37"/>
                </a:lnTo>
                <a:lnTo>
                  <a:pt x="123" y="38"/>
                </a:lnTo>
                <a:lnTo>
                  <a:pt x="127" y="39"/>
                </a:lnTo>
                <a:lnTo>
                  <a:pt x="131" y="40"/>
                </a:lnTo>
                <a:lnTo>
                  <a:pt x="135" y="39"/>
                </a:lnTo>
                <a:lnTo>
                  <a:pt x="140" y="38"/>
                </a:lnTo>
                <a:lnTo>
                  <a:pt x="146" y="36"/>
                </a:lnTo>
                <a:lnTo>
                  <a:pt x="149" y="43"/>
                </a:lnTo>
                <a:lnTo>
                  <a:pt x="153" y="52"/>
                </a:lnTo>
                <a:lnTo>
                  <a:pt x="157" y="64"/>
                </a:lnTo>
                <a:lnTo>
                  <a:pt x="160" y="74"/>
                </a:lnTo>
                <a:lnTo>
                  <a:pt x="133" y="88"/>
                </a:lnTo>
                <a:lnTo>
                  <a:pt x="106" y="102"/>
                </a:lnTo>
                <a:lnTo>
                  <a:pt x="92" y="107"/>
                </a:lnTo>
                <a:lnTo>
                  <a:pt x="76" y="113"/>
                </a:lnTo>
                <a:lnTo>
                  <a:pt x="62" y="116"/>
                </a:lnTo>
                <a:lnTo>
                  <a:pt x="47" y="117"/>
                </a:lnTo>
                <a:lnTo>
                  <a:pt x="32" y="99"/>
                </a:lnTo>
                <a:lnTo>
                  <a:pt x="21" y="83"/>
                </a:lnTo>
                <a:lnTo>
                  <a:pt x="10" y="69"/>
                </a:lnTo>
                <a:lnTo>
                  <a:pt x="0" y="55"/>
                </a:lnTo>
                <a:lnTo>
                  <a:pt x="13" y="48"/>
                </a:lnTo>
                <a:lnTo>
                  <a:pt x="41" y="32"/>
                </a:lnTo>
                <a:lnTo>
                  <a:pt x="60" y="23"/>
                </a:lnTo>
                <a:lnTo>
                  <a:pt x="78" y="14"/>
                </a:lnTo>
                <a:lnTo>
                  <a:pt x="97" y="6"/>
                </a:lnTo>
                <a:lnTo>
                  <a:pt x="114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fr-FR" dirty="0"/>
          </a:p>
        </p:txBody>
      </p:sp>
      <p:sp>
        <p:nvSpPr>
          <p:cNvPr id="76" name="Freeform 437"/>
          <p:cNvSpPr>
            <a:spLocks/>
          </p:cNvSpPr>
          <p:nvPr>
            <p:custDataLst>
              <p:tags r:id="rId56"/>
            </p:custDataLst>
          </p:nvPr>
        </p:nvSpPr>
        <p:spPr bwMode="auto">
          <a:xfrm>
            <a:off x="1057396" y="4118011"/>
            <a:ext cx="19685" cy="77953"/>
          </a:xfrm>
          <a:custGeom>
            <a:avLst/>
            <a:gdLst>
              <a:gd name="T0" fmla="*/ 3235678 w 45"/>
              <a:gd name="T1" fmla="*/ 0 h 36"/>
              <a:gd name="T2" fmla="*/ 0 w 45"/>
              <a:gd name="T3" fmla="*/ 45362813 h 36"/>
              <a:gd name="T4" fmla="*/ 2862439 w 45"/>
              <a:gd name="T5" fmla="*/ 90725625 h 36"/>
              <a:gd name="T6" fmla="*/ 5600347 w 45"/>
              <a:gd name="T7" fmla="*/ 37803138 h 36"/>
              <a:gd name="T8" fmla="*/ 3235678 w 45"/>
              <a:gd name="T9" fmla="*/ 0 h 3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45" h="36">
                <a:moveTo>
                  <a:pt x="26" y="0"/>
                </a:moveTo>
                <a:lnTo>
                  <a:pt x="0" y="18"/>
                </a:lnTo>
                <a:lnTo>
                  <a:pt x="23" y="36"/>
                </a:lnTo>
                <a:lnTo>
                  <a:pt x="45" y="15"/>
                </a:lnTo>
                <a:lnTo>
                  <a:pt x="26" y="0"/>
                </a:lnTo>
                <a:close/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fr-FR" dirty="0"/>
          </a:p>
        </p:txBody>
      </p:sp>
      <p:sp>
        <p:nvSpPr>
          <p:cNvPr id="77" name="Freeform 442"/>
          <p:cNvSpPr>
            <a:spLocks/>
          </p:cNvSpPr>
          <p:nvPr>
            <p:custDataLst>
              <p:tags r:id="rId57"/>
            </p:custDataLst>
          </p:nvPr>
        </p:nvSpPr>
        <p:spPr bwMode="auto">
          <a:xfrm>
            <a:off x="2309363" y="4135334"/>
            <a:ext cx="153543" cy="149410"/>
          </a:xfrm>
          <a:custGeom>
            <a:avLst/>
            <a:gdLst>
              <a:gd name="T0" fmla="*/ 6500147 w 279"/>
              <a:gd name="T1" fmla="*/ 25083665 h 204"/>
              <a:gd name="T2" fmla="*/ 11621353 w 279"/>
              <a:gd name="T3" fmla="*/ 40940901 h 204"/>
              <a:gd name="T4" fmla="*/ 11621353 w 279"/>
              <a:gd name="T5" fmla="*/ 51608507 h 204"/>
              <a:gd name="T6" fmla="*/ 20091161 w 279"/>
              <a:gd name="T7" fmla="*/ 56509795 h 204"/>
              <a:gd name="T8" fmla="*/ 24030926 w 279"/>
              <a:gd name="T9" fmla="*/ 58239851 h 204"/>
              <a:gd name="T10" fmla="*/ 27379527 w 279"/>
              <a:gd name="T11" fmla="*/ 58816536 h 204"/>
              <a:gd name="T12" fmla="*/ 28758023 w 279"/>
              <a:gd name="T13" fmla="*/ 57951508 h 204"/>
              <a:gd name="T14" fmla="*/ 29742854 w 279"/>
              <a:gd name="T15" fmla="*/ 55933110 h 204"/>
              <a:gd name="T16" fmla="*/ 31515903 w 279"/>
              <a:gd name="T17" fmla="*/ 49590645 h 204"/>
              <a:gd name="T18" fmla="*/ 33879674 w 279"/>
              <a:gd name="T19" fmla="*/ 42959300 h 204"/>
              <a:gd name="T20" fmla="*/ 35652280 w 279"/>
              <a:gd name="T21" fmla="*/ 40652559 h 204"/>
              <a:gd name="T22" fmla="*/ 37818995 w 279"/>
              <a:gd name="T23" fmla="*/ 39210845 h 204"/>
              <a:gd name="T24" fmla="*/ 41167596 w 279"/>
              <a:gd name="T25" fmla="*/ 39787531 h 204"/>
              <a:gd name="T26" fmla="*/ 43334312 w 279"/>
              <a:gd name="T27" fmla="*/ 40940901 h 204"/>
              <a:gd name="T28" fmla="*/ 44909863 w 279"/>
              <a:gd name="T29" fmla="*/ 42670957 h 204"/>
              <a:gd name="T30" fmla="*/ 45501027 w 279"/>
              <a:gd name="T31" fmla="*/ 44400477 h 204"/>
              <a:gd name="T32" fmla="*/ 46091748 w 279"/>
              <a:gd name="T33" fmla="*/ 47283903 h 204"/>
              <a:gd name="T34" fmla="*/ 45501027 w 279"/>
              <a:gd name="T35" fmla="*/ 48148931 h 204"/>
              <a:gd name="T36" fmla="*/ 46091748 w 279"/>
              <a:gd name="T37" fmla="*/ 44112671 h 204"/>
              <a:gd name="T38" fmla="*/ 46879524 w 279"/>
              <a:gd name="T39" fmla="*/ 40364216 h 204"/>
              <a:gd name="T40" fmla="*/ 48258464 w 279"/>
              <a:gd name="T41" fmla="*/ 33732871 h 204"/>
              <a:gd name="T42" fmla="*/ 50031513 w 279"/>
              <a:gd name="T43" fmla="*/ 33156186 h 204"/>
              <a:gd name="T44" fmla="*/ 52001174 w 279"/>
              <a:gd name="T45" fmla="*/ 31715010 h 204"/>
              <a:gd name="T46" fmla="*/ 54955665 w 279"/>
              <a:gd name="T47" fmla="*/ 28543240 h 204"/>
              <a:gd name="T48" fmla="*/ 49637404 w 279"/>
              <a:gd name="T49" fmla="*/ 21623553 h 204"/>
              <a:gd name="T50" fmla="*/ 44713252 w 279"/>
              <a:gd name="T51" fmla="*/ 16722264 h 204"/>
              <a:gd name="T52" fmla="*/ 40182766 w 279"/>
              <a:gd name="T53" fmla="*/ 12686004 h 204"/>
              <a:gd name="T54" fmla="*/ 36440055 w 279"/>
              <a:gd name="T55" fmla="*/ 8937549 h 204"/>
              <a:gd name="T56" fmla="*/ 28758023 w 279"/>
              <a:gd name="T57" fmla="*/ 19605691 h 204"/>
              <a:gd name="T58" fmla="*/ 15561119 w 279"/>
              <a:gd name="T59" fmla="*/ 7208030 h 204"/>
              <a:gd name="T60" fmla="*/ 10242413 w 279"/>
              <a:gd name="T61" fmla="*/ 3459575 h 204"/>
              <a:gd name="T62" fmla="*/ 9060972 w 279"/>
              <a:gd name="T63" fmla="*/ 17875635 h 204"/>
              <a:gd name="T64" fmla="*/ 0 w 279"/>
              <a:gd name="T65" fmla="*/ 16145579 h 204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0" t="0" r="r" b="b"/>
            <a:pathLst>
              <a:path w="279" h="204">
                <a:moveTo>
                  <a:pt x="0" y="56"/>
                </a:moveTo>
                <a:lnTo>
                  <a:pt x="33" y="87"/>
                </a:lnTo>
                <a:lnTo>
                  <a:pt x="46" y="123"/>
                </a:lnTo>
                <a:lnTo>
                  <a:pt x="59" y="142"/>
                </a:lnTo>
                <a:lnTo>
                  <a:pt x="59" y="173"/>
                </a:lnTo>
                <a:lnTo>
                  <a:pt x="59" y="179"/>
                </a:lnTo>
                <a:lnTo>
                  <a:pt x="80" y="188"/>
                </a:lnTo>
                <a:lnTo>
                  <a:pt x="102" y="196"/>
                </a:lnTo>
                <a:lnTo>
                  <a:pt x="112" y="199"/>
                </a:lnTo>
                <a:lnTo>
                  <a:pt x="122" y="202"/>
                </a:lnTo>
                <a:lnTo>
                  <a:pt x="130" y="203"/>
                </a:lnTo>
                <a:lnTo>
                  <a:pt x="139" y="204"/>
                </a:lnTo>
                <a:lnTo>
                  <a:pt x="142" y="203"/>
                </a:lnTo>
                <a:lnTo>
                  <a:pt x="146" y="201"/>
                </a:lnTo>
                <a:lnTo>
                  <a:pt x="148" y="198"/>
                </a:lnTo>
                <a:lnTo>
                  <a:pt x="151" y="194"/>
                </a:lnTo>
                <a:lnTo>
                  <a:pt x="156" y="183"/>
                </a:lnTo>
                <a:lnTo>
                  <a:pt x="160" y="172"/>
                </a:lnTo>
                <a:lnTo>
                  <a:pt x="165" y="160"/>
                </a:lnTo>
                <a:lnTo>
                  <a:pt x="172" y="149"/>
                </a:lnTo>
                <a:lnTo>
                  <a:pt x="176" y="145"/>
                </a:lnTo>
                <a:lnTo>
                  <a:pt x="181" y="141"/>
                </a:lnTo>
                <a:lnTo>
                  <a:pt x="186" y="138"/>
                </a:lnTo>
                <a:lnTo>
                  <a:pt x="192" y="136"/>
                </a:lnTo>
                <a:lnTo>
                  <a:pt x="201" y="137"/>
                </a:lnTo>
                <a:lnTo>
                  <a:pt x="209" y="138"/>
                </a:lnTo>
                <a:lnTo>
                  <a:pt x="215" y="140"/>
                </a:lnTo>
                <a:lnTo>
                  <a:pt x="220" y="142"/>
                </a:lnTo>
                <a:lnTo>
                  <a:pt x="225" y="145"/>
                </a:lnTo>
                <a:lnTo>
                  <a:pt x="228" y="148"/>
                </a:lnTo>
                <a:lnTo>
                  <a:pt x="230" y="151"/>
                </a:lnTo>
                <a:lnTo>
                  <a:pt x="231" y="154"/>
                </a:lnTo>
                <a:lnTo>
                  <a:pt x="234" y="160"/>
                </a:lnTo>
                <a:lnTo>
                  <a:pt x="234" y="164"/>
                </a:lnTo>
                <a:lnTo>
                  <a:pt x="232" y="167"/>
                </a:lnTo>
                <a:lnTo>
                  <a:pt x="231" y="167"/>
                </a:lnTo>
                <a:lnTo>
                  <a:pt x="232" y="160"/>
                </a:lnTo>
                <a:lnTo>
                  <a:pt x="234" y="153"/>
                </a:lnTo>
                <a:lnTo>
                  <a:pt x="236" y="147"/>
                </a:lnTo>
                <a:lnTo>
                  <a:pt x="238" y="140"/>
                </a:lnTo>
                <a:lnTo>
                  <a:pt x="243" y="127"/>
                </a:lnTo>
                <a:lnTo>
                  <a:pt x="245" y="117"/>
                </a:lnTo>
                <a:lnTo>
                  <a:pt x="250" y="117"/>
                </a:lnTo>
                <a:lnTo>
                  <a:pt x="254" y="115"/>
                </a:lnTo>
                <a:lnTo>
                  <a:pt x="260" y="113"/>
                </a:lnTo>
                <a:lnTo>
                  <a:pt x="264" y="110"/>
                </a:lnTo>
                <a:lnTo>
                  <a:pt x="272" y="104"/>
                </a:lnTo>
                <a:lnTo>
                  <a:pt x="279" y="99"/>
                </a:lnTo>
                <a:lnTo>
                  <a:pt x="265" y="87"/>
                </a:lnTo>
                <a:lnTo>
                  <a:pt x="252" y="75"/>
                </a:lnTo>
                <a:lnTo>
                  <a:pt x="239" y="66"/>
                </a:lnTo>
                <a:lnTo>
                  <a:pt x="227" y="58"/>
                </a:lnTo>
                <a:lnTo>
                  <a:pt x="215" y="51"/>
                </a:lnTo>
                <a:lnTo>
                  <a:pt x="204" y="44"/>
                </a:lnTo>
                <a:lnTo>
                  <a:pt x="194" y="38"/>
                </a:lnTo>
                <a:lnTo>
                  <a:pt x="185" y="31"/>
                </a:lnTo>
                <a:lnTo>
                  <a:pt x="172" y="31"/>
                </a:lnTo>
                <a:lnTo>
                  <a:pt x="146" y="68"/>
                </a:lnTo>
                <a:lnTo>
                  <a:pt x="112" y="50"/>
                </a:lnTo>
                <a:lnTo>
                  <a:pt x="79" y="25"/>
                </a:lnTo>
                <a:lnTo>
                  <a:pt x="33" y="0"/>
                </a:lnTo>
                <a:lnTo>
                  <a:pt x="52" y="12"/>
                </a:lnTo>
                <a:lnTo>
                  <a:pt x="72" y="74"/>
                </a:lnTo>
                <a:lnTo>
                  <a:pt x="46" y="62"/>
                </a:lnTo>
                <a:lnTo>
                  <a:pt x="19" y="50"/>
                </a:lnTo>
                <a:lnTo>
                  <a:pt x="0" y="5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 dirty="0"/>
          </a:p>
        </p:txBody>
      </p:sp>
      <p:sp>
        <p:nvSpPr>
          <p:cNvPr id="78" name="Freeform 443"/>
          <p:cNvSpPr>
            <a:spLocks/>
          </p:cNvSpPr>
          <p:nvPr>
            <p:custDataLst>
              <p:tags r:id="rId58"/>
            </p:custDataLst>
          </p:nvPr>
        </p:nvSpPr>
        <p:spPr bwMode="auto">
          <a:xfrm>
            <a:off x="1647947" y="3552856"/>
            <a:ext cx="259842" cy="205708"/>
          </a:xfrm>
          <a:custGeom>
            <a:avLst/>
            <a:gdLst>
              <a:gd name="T0" fmla="*/ 47042895 w 485"/>
              <a:gd name="T1" fmla="*/ 5371706 h 291"/>
              <a:gd name="T2" fmla="*/ 56003426 w 485"/>
              <a:gd name="T3" fmla="*/ 11817753 h 291"/>
              <a:gd name="T4" fmla="*/ 69444006 w 485"/>
              <a:gd name="T5" fmla="*/ 11817753 h 291"/>
              <a:gd name="T6" fmla="*/ 79337790 w 485"/>
              <a:gd name="T7" fmla="*/ 35184802 h 291"/>
              <a:gd name="T8" fmla="*/ 90538562 w 485"/>
              <a:gd name="T9" fmla="*/ 44853873 h 291"/>
              <a:gd name="T10" fmla="*/ 76910899 w 485"/>
              <a:gd name="T11" fmla="*/ 46465644 h 291"/>
              <a:gd name="T12" fmla="*/ 80831428 w 485"/>
              <a:gd name="T13" fmla="*/ 56403170 h 291"/>
              <a:gd name="T14" fmla="*/ 73177452 w 485"/>
              <a:gd name="T15" fmla="*/ 64729443 h 291"/>
              <a:gd name="T16" fmla="*/ 71870897 w 485"/>
              <a:gd name="T17" fmla="*/ 78158967 h 291"/>
              <a:gd name="T18" fmla="*/ 53203233 w 485"/>
              <a:gd name="T19" fmla="*/ 71444464 h 291"/>
              <a:gd name="T20" fmla="*/ 32295328 w 485"/>
              <a:gd name="T21" fmla="*/ 68221441 h 291"/>
              <a:gd name="T22" fmla="*/ 11200772 w 485"/>
              <a:gd name="T23" fmla="*/ 71444464 h 291"/>
              <a:gd name="T24" fmla="*/ 2800193 w 485"/>
              <a:gd name="T25" fmla="*/ 72787261 h 291"/>
              <a:gd name="T26" fmla="*/ 1493206 w 485"/>
              <a:gd name="T27" fmla="*/ 69026808 h 291"/>
              <a:gd name="T28" fmla="*/ 559952 w 485"/>
              <a:gd name="T29" fmla="*/ 65535329 h 291"/>
              <a:gd name="T30" fmla="*/ 0 w 485"/>
              <a:gd name="T31" fmla="*/ 61506420 h 291"/>
              <a:gd name="T32" fmla="*/ 933254 w 485"/>
              <a:gd name="T33" fmla="*/ 58820826 h 291"/>
              <a:gd name="T34" fmla="*/ 2613542 w 485"/>
              <a:gd name="T35" fmla="*/ 55597803 h 291"/>
              <a:gd name="T36" fmla="*/ 4293399 w 485"/>
              <a:gd name="T37" fmla="*/ 50763008 h 291"/>
              <a:gd name="T38" fmla="*/ 5787036 w 485"/>
              <a:gd name="T39" fmla="*/ 44585417 h 291"/>
              <a:gd name="T40" fmla="*/ 7653976 w 485"/>
              <a:gd name="T41" fmla="*/ 36796573 h 291"/>
              <a:gd name="T42" fmla="*/ 8960531 w 485"/>
              <a:gd name="T43" fmla="*/ 33842005 h 291"/>
              <a:gd name="T44" fmla="*/ 11200772 w 485"/>
              <a:gd name="T45" fmla="*/ 31961779 h 291"/>
              <a:gd name="T46" fmla="*/ 16240773 w 485"/>
              <a:gd name="T47" fmla="*/ 29813097 h 291"/>
              <a:gd name="T48" fmla="*/ 16614507 w 485"/>
              <a:gd name="T49" fmla="*/ 28470300 h 291"/>
              <a:gd name="T50" fmla="*/ 17547760 w 485"/>
              <a:gd name="T51" fmla="*/ 26858529 h 291"/>
              <a:gd name="T52" fmla="*/ 18854315 w 485"/>
              <a:gd name="T53" fmla="*/ 25515732 h 291"/>
              <a:gd name="T54" fmla="*/ 19788001 w 485"/>
              <a:gd name="T55" fmla="*/ 24978821 h 291"/>
              <a:gd name="T56" fmla="*/ 19788001 w 485"/>
              <a:gd name="T57" fmla="*/ 20412482 h 291"/>
              <a:gd name="T58" fmla="*/ 20347953 w 485"/>
              <a:gd name="T59" fmla="*/ 18801229 h 291"/>
              <a:gd name="T60" fmla="*/ 21094556 w 485"/>
              <a:gd name="T61" fmla="*/ 17995344 h 291"/>
              <a:gd name="T62" fmla="*/ 22774845 w 485"/>
              <a:gd name="T63" fmla="*/ 18532774 h 291"/>
              <a:gd name="T64" fmla="*/ 23894749 w 485"/>
              <a:gd name="T65" fmla="*/ 18532774 h 291"/>
              <a:gd name="T66" fmla="*/ 24641352 w 485"/>
              <a:gd name="T67" fmla="*/ 17726888 h 291"/>
              <a:gd name="T68" fmla="*/ 25014653 w 485"/>
              <a:gd name="T69" fmla="*/ 15040776 h 291"/>
              <a:gd name="T70" fmla="*/ 25948339 w 485"/>
              <a:gd name="T71" fmla="*/ 11817753 h 291"/>
              <a:gd name="T72" fmla="*/ 26881592 w 485"/>
              <a:gd name="T73" fmla="*/ 10474956 h 291"/>
              <a:gd name="T74" fmla="*/ 39762221 w 485"/>
              <a:gd name="T75" fmla="*/ 0 h 291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0" t="0" r="r" b="b"/>
            <a:pathLst>
              <a:path w="485" h="291">
                <a:moveTo>
                  <a:pt x="206" y="6"/>
                </a:moveTo>
                <a:lnTo>
                  <a:pt x="252" y="20"/>
                </a:lnTo>
                <a:lnTo>
                  <a:pt x="292" y="20"/>
                </a:lnTo>
                <a:lnTo>
                  <a:pt x="300" y="44"/>
                </a:lnTo>
                <a:lnTo>
                  <a:pt x="339" y="32"/>
                </a:lnTo>
                <a:lnTo>
                  <a:pt x="372" y="44"/>
                </a:lnTo>
                <a:lnTo>
                  <a:pt x="379" y="93"/>
                </a:lnTo>
                <a:lnTo>
                  <a:pt x="425" y="131"/>
                </a:lnTo>
                <a:lnTo>
                  <a:pt x="459" y="149"/>
                </a:lnTo>
                <a:lnTo>
                  <a:pt x="485" y="167"/>
                </a:lnTo>
                <a:lnTo>
                  <a:pt x="459" y="186"/>
                </a:lnTo>
                <a:lnTo>
                  <a:pt x="412" y="173"/>
                </a:lnTo>
                <a:lnTo>
                  <a:pt x="418" y="198"/>
                </a:lnTo>
                <a:lnTo>
                  <a:pt x="433" y="210"/>
                </a:lnTo>
                <a:lnTo>
                  <a:pt x="433" y="241"/>
                </a:lnTo>
                <a:lnTo>
                  <a:pt x="392" y="241"/>
                </a:lnTo>
                <a:lnTo>
                  <a:pt x="385" y="266"/>
                </a:lnTo>
                <a:lnTo>
                  <a:pt x="385" y="291"/>
                </a:lnTo>
                <a:lnTo>
                  <a:pt x="339" y="278"/>
                </a:lnTo>
                <a:lnTo>
                  <a:pt x="285" y="266"/>
                </a:lnTo>
                <a:lnTo>
                  <a:pt x="239" y="272"/>
                </a:lnTo>
                <a:lnTo>
                  <a:pt x="173" y="254"/>
                </a:lnTo>
                <a:lnTo>
                  <a:pt x="113" y="254"/>
                </a:lnTo>
                <a:lnTo>
                  <a:pt x="60" y="266"/>
                </a:lnTo>
                <a:lnTo>
                  <a:pt x="20" y="278"/>
                </a:lnTo>
                <a:lnTo>
                  <a:pt x="15" y="271"/>
                </a:lnTo>
                <a:lnTo>
                  <a:pt x="11" y="264"/>
                </a:lnTo>
                <a:lnTo>
                  <a:pt x="8" y="257"/>
                </a:lnTo>
                <a:lnTo>
                  <a:pt x="5" y="251"/>
                </a:lnTo>
                <a:lnTo>
                  <a:pt x="3" y="244"/>
                </a:lnTo>
                <a:lnTo>
                  <a:pt x="1" y="237"/>
                </a:lnTo>
                <a:lnTo>
                  <a:pt x="0" y="229"/>
                </a:lnTo>
                <a:lnTo>
                  <a:pt x="0" y="222"/>
                </a:lnTo>
                <a:lnTo>
                  <a:pt x="5" y="219"/>
                </a:lnTo>
                <a:lnTo>
                  <a:pt x="10" y="214"/>
                </a:lnTo>
                <a:lnTo>
                  <a:pt x="14" y="207"/>
                </a:lnTo>
                <a:lnTo>
                  <a:pt x="20" y="198"/>
                </a:lnTo>
                <a:lnTo>
                  <a:pt x="23" y="189"/>
                </a:lnTo>
                <a:lnTo>
                  <a:pt x="27" y="178"/>
                </a:lnTo>
                <a:lnTo>
                  <a:pt x="31" y="166"/>
                </a:lnTo>
                <a:lnTo>
                  <a:pt x="33" y="155"/>
                </a:lnTo>
                <a:lnTo>
                  <a:pt x="41" y="137"/>
                </a:lnTo>
                <a:lnTo>
                  <a:pt x="44" y="131"/>
                </a:lnTo>
                <a:lnTo>
                  <a:pt x="48" y="126"/>
                </a:lnTo>
                <a:lnTo>
                  <a:pt x="54" y="123"/>
                </a:lnTo>
                <a:lnTo>
                  <a:pt x="60" y="119"/>
                </a:lnTo>
                <a:lnTo>
                  <a:pt x="75" y="115"/>
                </a:lnTo>
                <a:lnTo>
                  <a:pt x="87" y="111"/>
                </a:lnTo>
                <a:lnTo>
                  <a:pt x="87" y="109"/>
                </a:lnTo>
                <a:lnTo>
                  <a:pt x="89" y="106"/>
                </a:lnTo>
                <a:lnTo>
                  <a:pt x="91" y="103"/>
                </a:lnTo>
                <a:lnTo>
                  <a:pt x="94" y="100"/>
                </a:lnTo>
                <a:lnTo>
                  <a:pt x="98" y="97"/>
                </a:lnTo>
                <a:lnTo>
                  <a:pt x="101" y="95"/>
                </a:lnTo>
                <a:lnTo>
                  <a:pt x="103" y="94"/>
                </a:lnTo>
                <a:lnTo>
                  <a:pt x="106" y="93"/>
                </a:lnTo>
                <a:lnTo>
                  <a:pt x="106" y="81"/>
                </a:lnTo>
                <a:lnTo>
                  <a:pt x="106" y="76"/>
                </a:lnTo>
                <a:lnTo>
                  <a:pt x="107" y="72"/>
                </a:lnTo>
                <a:lnTo>
                  <a:pt x="109" y="70"/>
                </a:lnTo>
                <a:lnTo>
                  <a:pt x="110" y="68"/>
                </a:lnTo>
                <a:lnTo>
                  <a:pt x="113" y="67"/>
                </a:lnTo>
                <a:lnTo>
                  <a:pt x="117" y="68"/>
                </a:lnTo>
                <a:lnTo>
                  <a:pt x="122" y="69"/>
                </a:lnTo>
                <a:lnTo>
                  <a:pt x="126" y="69"/>
                </a:lnTo>
                <a:lnTo>
                  <a:pt x="128" y="69"/>
                </a:lnTo>
                <a:lnTo>
                  <a:pt x="129" y="68"/>
                </a:lnTo>
                <a:lnTo>
                  <a:pt x="132" y="66"/>
                </a:lnTo>
                <a:lnTo>
                  <a:pt x="133" y="62"/>
                </a:lnTo>
                <a:lnTo>
                  <a:pt x="134" y="56"/>
                </a:lnTo>
                <a:lnTo>
                  <a:pt x="137" y="48"/>
                </a:lnTo>
                <a:lnTo>
                  <a:pt x="139" y="44"/>
                </a:lnTo>
                <a:lnTo>
                  <a:pt x="142" y="41"/>
                </a:lnTo>
                <a:lnTo>
                  <a:pt x="144" y="39"/>
                </a:lnTo>
                <a:lnTo>
                  <a:pt x="146" y="38"/>
                </a:lnTo>
                <a:lnTo>
                  <a:pt x="213" y="0"/>
                </a:lnTo>
                <a:lnTo>
                  <a:pt x="206" y="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 dirty="0"/>
          </a:p>
        </p:txBody>
      </p:sp>
      <p:sp>
        <p:nvSpPr>
          <p:cNvPr id="79" name="Freeform 444"/>
          <p:cNvSpPr>
            <a:spLocks/>
          </p:cNvSpPr>
          <p:nvPr>
            <p:custDataLst>
              <p:tags r:id="rId59"/>
            </p:custDataLst>
          </p:nvPr>
        </p:nvSpPr>
        <p:spPr bwMode="auto">
          <a:xfrm>
            <a:off x="1470782" y="4005413"/>
            <a:ext cx="102362" cy="119095"/>
          </a:xfrm>
          <a:custGeom>
            <a:avLst/>
            <a:gdLst>
              <a:gd name="T0" fmla="*/ 16939615 w 186"/>
              <a:gd name="T1" fmla="*/ 40668397 h 166"/>
              <a:gd name="T2" fmla="*/ 16348894 w 186"/>
              <a:gd name="T3" fmla="*/ 37625591 h 166"/>
              <a:gd name="T4" fmla="*/ 15364064 w 186"/>
              <a:gd name="T5" fmla="*/ 35135593 h 166"/>
              <a:gd name="T6" fmla="*/ 14575845 w 186"/>
              <a:gd name="T7" fmla="*/ 32645594 h 166"/>
              <a:gd name="T8" fmla="*/ 13788069 w 186"/>
              <a:gd name="T9" fmla="*/ 30432262 h 166"/>
              <a:gd name="T10" fmla="*/ 11818408 w 186"/>
              <a:gd name="T11" fmla="*/ 26282265 h 166"/>
              <a:gd name="T12" fmla="*/ 9651693 w 186"/>
              <a:gd name="T13" fmla="*/ 22686127 h 166"/>
              <a:gd name="T14" fmla="*/ 7287922 w 186"/>
              <a:gd name="T15" fmla="*/ 19366129 h 166"/>
              <a:gd name="T16" fmla="*/ 4924152 w 186"/>
              <a:gd name="T17" fmla="*/ 15492798 h 166"/>
              <a:gd name="T18" fmla="*/ 2560825 w 186"/>
              <a:gd name="T19" fmla="*/ 10512801 h 166"/>
              <a:gd name="T20" fmla="*/ 0 w 186"/>
              <a:gd name="T21" fmla="*/ 4979997 h 166"/>
              <a:gd name="T22" fmla="*/ 0 w 186"/>
              <a:gd name="T23" fmla="*/ 0 h 166"/>
              <a:gd name="T24" fmla="*/ 1378940 w 186"/>
              <a:gd name="T25" fmla="*/ 553333 h 166"/>
              <a:gd name="T26" fmla="*/ 2757436 w 186"/>
              <a:gd name="T27" fmla="*/ 829999 h 166"/>
              <a:gd name="T28" fmla="*/ 3939322 w 186"/>
              <a:gd name="T29" fmla="*/ 1106666 h 166"/>
              <a:gd name="T30" fmla="*/ 5318262 w 186"/>
              <a:gd name="T31" fmla="*/ 1106666 h 166"/>
              <a:gd name="T32" fmla="*/ 6500147 w 186"/>
              <a:gd name="T33" fmla="*/ 1106666 h 166"/>
              <a:gd name="T34" fmla="*/ 7879087 w 186"/>
              <a:gd name="T35" fmla="*/ 829999 h 166"/>
              <a:gd name="T36" fmla="*/ 9257583 w 186"/>
              <a:gd name="T37" fmla="*/ 553333 h 166"/>
              <a:gd name="T38" fmla="*/ 10439468 w 186"/>
              <a:gd name="T39" fmla="*/ 0 h 166"/>
              <a:gd name="T40" fmla="*/ 27576138 w 186"/>
              <a:gd name="T41" fmla="*/ 3319998 h 166"/>
              <a:gd name="T42" fmla="*/ 36637110 w 186"/>
              <a:gd name="T43" fmla="*/ 25175599 h 166"/>
              <a:gd name="T44" fmla="*/ 33682619 w 186"/>
              <a:gd name="T45" fmla="*/ 30985595 h 166"/>
              <a:gd name="T46" fmla="*/ 30531073 w 186"/>
              <a:gd name="T47" fmla="*/ 35688926 h 166"/>
              <a:gd name="T48" fmla="*/ 29349188 w 186"/>
              <a:gd name="T49" fmla="*/ 37902258 h 166"/>
              <a:gd name="T50" fmla="*/ 28364358 w 186"/>
              <a:gd name="T51" fmla="*/ 40115064 h 166"/>
              <a:gd name="T52" fmla="*/ 27970248 w 186"/>
              <a:gd name="T53" fmla="*/ 41498396 h 166"/>
              <a:gd name="T54" fmla="*/ 27773193 w 186"/>
              <a:gd name="T55" fmla="*/ 43158395 h 166"/>
              <a:gd name="T56" fmla="*/ 27576138 w 186"/>
              <a:gd name="T57" fmla="*/ 44541728 h 166"/>
              <a:gd name="T58" fmla="*/ 27576138 w 186"/>
              <a:gd name="T59" fmla="*/ 45925060 h 166"/>
              <a:gd name="T60" fmla="*/ 16939615 w 186"/>
              <a:gd name="T61" fmla="*/ 40668397 h 16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186" h="166">
                <a:moveTo>
                  <a:pt x="86" y="147"/>
                </a:moveTo>
                <a:lnTo>
                  <a:pt x="83" y="136"/>
                </a:lnTo>
                <a:lnTo>
                  <a:pt x="78" y="127"/>
                </a:lnTo>
                <a:lnTo>
                  <a:pt x="74" y="118"/>
                </a:lnTo>
                <a:lnTo>
                  <a:pt x="70" y="110"/>
                </a:lnTo>
                <a:lnTo>
                  <a:pt x="60" y="95"/>
                </a:lnTo>
                <a:lnTo>
                  <a:pt x="49" y="82"/>
                </a:lnTo>
                <a:lnTo>
                  <a:pt x="37" y="70"/>
                </a:lnTo>
                <a:lnTo>
                  <a:pt x="25" y="56"/>
                </a:lnTo>
                <a:lnTo>
                  <a:pt x="13" y="38"/>
                </a:lnTo>
                <a:lnTo>
                  <a:pt x="0" y="18"/>
                </a:lnTo>
                <a:lnTo>
                  <a:pt x="0" y="0"/>
                </a:lnTo>
                <a:lnTo>
                  <a:pt x="7" y="2"/>
                </a:lnTo>
                <a:lnTo>
                  <a:pt x="14" y="3"/>
                </a:lnTo>
                <a:lnTo>
                  <a:pt x="20" y="4"/>
                </a:lnTo>
                <a:lnTo>
                  <a:pt x="27" y="4"/>
                </a:lnTo>
                <a:lnTo>
                  <a:pt x="33" y="4"/>
                </a:lnTo>
                <a:lnTo>
                  <a:pt x="40" y="3"/>
                </a:lnTo>
                <a:lnTo>
                  <a:pt x="47" y="2"/>
                </a:lnTo>
                <a:lnTo>
                  <a:pt x="53" y="0"/>
                </a:lnTo>
                <a:lnTo>
                  <a:pt x="140" y="12"/>
                </a:lnTo>
                <a:lnTo>
                  <a:pt x="186" y="91"/>
                </a:lnTo>
                <a:lnTo>
                  <a:pt x="171" y="112"/>
                </a:lnTo>
                <a:lnTo>
                  <a:pt x="155" y="129"/>
                </a:lnTo>
                <a:lnTo>
                  <a:pt x="149" y="137"/>
                </a:lnTo>
                <a:lnTo>
                  <a:pt x="144" y="145"/>
                </a:lnTo>
                <a:lnTo>
                  <a:pt x="142" y="150"/>
                </a:lnTo>
                <a:lnTo>
                  <a:pt x="141" y="156"/>
                </a:lnTo>
                <a:lnTo>
                  <a:pt x="140" y="161"/>
                </a:lnTo>
                <a:lnTo>
                  <a:pt x="140" y="166"/>
                </a:lnTo>
                <a:lnTo>
                  <a:pt x="86" y="147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fr-FR" dirty="0"/>
          </a:p>
        </p:txBody>
      </p:sp>
      <p:sp>
        <p:nvSpPr>
          <p:cNvPr id="80" name="Freeform 446"/>
          <p:cNvSpPr>
            <a:spLocks/>
          </p:cNvSpPr>
          <p:nvPr>
            <p:custDataLst>
              <p:tags r:id="rId60"/>
            </p:custDataLst>
          </p:nvPr>
        </p:nvSpPr>
        <p:spPr bwMode="auto">
          <a:xfrm>
            <a:off x="1667632" y="4053051"/>
            <a:ext cx="165354" cy="132087"/>
          </a:xfrm>
          <a:custGeom>
            <a:avLst/>
            <a:gdLst>
              <a:gd name="T0" fmla="*/ 14524002 w 311"/>
              <a:gd name="T1" fmla="*/ 11121763 h 179"/>
              <a:gd name="T2" fmla="*/ 21142621 w 311"/>
              <a:gd name="T3" fmla="*/ 7609627 h 179"/>
              <a:gd name="T4" fmla="*/ 27209832 w 311"/>
              <a:gd name="T5" fmla="*/ 4097492 h 179"/>
              <a:gd name="T6" fmla="*/ 32725634 w 311"/>
              <a:gd name="T7" fmla="*/ 1170712 h 179"/>
              <a:gd name="T8" fmla="*/ 38792415 w 311"/>
              <a:gd name="T9" fmla="*/ 0 h 179"/>
              <a:gd name="T10" fmla="*/ 43388917 w 311"/>
              <a:gd name="T11" fmla="*/ 585356 h 179"/>
              <a:gd name="T12" fmla="*/ 47065690 w 311"/>
              <a:gd name="T13" fmla="*/ 1756068 h 179"/>
              <a:gd name="T14" fmla="*/ 53684309 w 311"/>
              <a:gd name="T15" fmla="*/ 3512136 h 179"/>
              <a:gd name="T16" fmla="*/ 52765009 w 311"/>
              <a:gd name="T17" fmla="*/ 8194983 h 179"/>
              <a:gd name="T18" fmla="*/ 51110354 w 311"/>
              <a:gd name="T19" fmla="*/ 12292475 h 179"/>
              <a:gd name="T20" fmla="*/ 49455699 w 311"/>
              <a:gd name="T21" fmla="*/ 15511933 h 179"/>
              <a:gd name="T22" fmla="*/ 48720344 w 311"/>
              <a:gd name="T23" fmla="*/ 18146035 h 179"/>
              <a:gd name="T24" fmla="*/ 48904290 w 311"/>
              <a:gd name="T25" fmla="*/ 19316747 h 179"/>
              <a:gd name="T26" fmla="*/ 49823591 w 311"/>
              <a:gd name="T27" fmla="*/ 20780136 h 179"/>
              <a:gd name="T28" fmla="*/ 52397546 w 311"/>
              <a:gd name="T29" fmla="*/ 23121560 h 179"/>
              <a:gd name="T30" fmla="*/ 57177564 w 311"/>
              <a:gd name="T31" fmla="*/ 27218511 h 179"/>
              <a:gd name="T32" fmla="*/ 52765009 w 311"/>
              <a:gd name="T33" fmla="*/ 31316003 h 179"/>
              <a:gd name="T34" fmla="*/ 51662191 w 311"/>
              <a:gd name="T35" fmla="*/ 33657426 h 179"/>
              <a:gd name="T36" fmla="*/ 51110354 w 311"/>
              <a:gd name="T37" fmla="*/ 37754918 h 179"/>
              <a:gd name="T38" fmla="*/ 46330335 w 311"/>
              <a:gd name="T39" fmla="*/ 39803664 h 179"/>
              <a:gd name="T40" fmla="*/ 38792415 w 311"/>
              <a:gd name="T41" fmla="*/ 43315800 h 179"/>
              <a:gd name="T42" fmla="*/ 35115643 w 311"/>
              <a:gd name="T43" fmla="*/ 49169359 h 179"/>
              <a:gd name="T44" fmla="*/ 32725634 w 311"/>
              <a:gd name="T45" fmla="*/ 51510783 h 179"/>
              <a:gd name="T46" fmla="*/ 30335195 w 311"/>
              <a:gd name="T47" fmla="*/ 52388817 h 179"/>
              <a:gd name="T48" fmla="*/ 27761240 w 311"/>
              <a:gd name="T49" fmla="*/ 51218105 h 179"/>
              <a:gd name="T50" fmla="*/ 25187714 w 311"/>
              <a:gd name="T51" fmla="*/ 48876681 h 179"/>
              <a:gd name="T52" fmla="*/ 22061921 w 311"/>
              <a:gd name="T53" fmla="*/ 46242579 h 179"/>
              <a:gd name="T54" fmla="*/ 18017257 w 311"/>
              <a:gd name="T55" fmla="*/ 45364546 h 179"/>
              <a:gd name="T56" fmla="*/ 12133992 w 311"/>
              <a:gd name="T57" fmla="*/ 45364546 h 179"/>
              <a:gd name="T58" fmla="*/ 9376520 w 311"/>
              <a:gd name="T59" fmla="*/ 45949901 h 179"/>
              <a:gd name="T60" fmla="*/ 7170028 w 311"/>
              <a:gd name="T61" fmla="*/ 47120613 h 179"/>
              <a:gd name="T62" fmla="*/ 6618619 w 311"/>
              <a:gd name="T63" fmla="*/ 41559732 h 179"/>
              <a:gd name="T64" fmla="*/ 5883265 w 311"/>
              <a:gd name="T65" fmla="*/ 35998850 h 179"/>
              <a:gd name="T66" fmla="*/ 3860718 w 311"/>
              <a:gd name="T67" fmla="*/ 37462240 h 179"/>
              <a:gd name="T68" fmla="*/ 2390009 w 311"/>
              <a:gd name="T69" fmla="*/ 37754918 h 179"/>
              <a:gd name="T70" fmla="*/ 1286763 w 311"/>
              <a:gd name="T71" fmla="*/ 36876884 h 179"/>
              <a:gd name="T72" fmla="*/ 551409 w 311"/>
              <a:gd name="T73" fmla="*/ 35413494 h 179"/>
              <a:gd name="T74" fmla="*/ 0 w 311"/>
              <a:gd name="T75" fmla="*/ 30730647 h 179"/>
              <a:gd name="T76" fmla="*/ 0 w 311"/>
              <a:gd name="T77" fmla="*/ 25462984 h 179"/>
              <a:gd name="T78" fmla="*/ 551409 w 311"/>
              <a:gd name="T79" fmla="*/ 23999594 h 179"/>
              <a:gd name="T80" fmla="*/ 2390009 w 311"/>
              <a:gd name="T81" fmla="*/ 22828882 h 179"/>
              <a:gd name="T82" fmla="*/ 3860718 w 311"/>
              <a:gd name="T83" fmla="*/ 21072814 h 179"/>
              <a:gd name="T84" fmla="*/ 4596073 w 311"/>
              <a:gd name="T85" fmla="*/ 19902102 h 179"/>
              <a:gd name="T86" fmla="*/ 4780019 w 311"/>
              <a:gd name="T87" fmla="*/ 18146035 h 179"/>
              <a:gd name="T88" fmla="*/ 4412556 w 311"/>
              <a:gd name="T89" fmla="*/ 14926577 h 179"/>
              <a:gd name="T90" fmla="*/ 3493255 w 311"/>
              <a:gd name="T91" fmla="*/ 12585153 h 179"/>
              <a:gd name="T92" fmla="*/ 1470709 w 311"/>
              <a:gd name="T93" fmla="*/ 8487661 h 179"/>
              <a:gd name="T94" fmla="*/ 183946 w 311"/>
              <a:gd name="T95" fmla="*/ 5268204 h 179"/>
              <a:gd name="T96" fmla="*/ 183946 w 311"/>
              <a:gd name="T97" fmla="*/ 3804814 h 179"/>
              <a:gd name="T98" fmla="*/ 1103246 w 311"/>
              <a:gd name="T99" fmla="*/ 1756068 h 179"/>
              <a:gd name="T100" fmla="*/ 0 w 311"/>
              <a:gd name="T101" fmla="*/ 1756068 h 179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0" t="0" r="r" b="b"/>
            <a:pathLst>
              <a:path w="311" h="179">
                <a:moveTo>
                  <a:pt x="0" y="6"/>
                </a:moveTo>
                <a:lnTo>
                  <a:pt x="79" y="38"/>
                </a:lnTo>
                <a:lnTo>
                  <a:pt x="97" y="33"/>
                </a:lnTo>
                <a:lnTo>
                  <a:pt x="115" y="26"/>
                </a:lnTo>
                <a:lnTo>
                  <a:pt x="132" y="20"/>
                </a:lnTo>
                <a:lnTo>
                  <a:pt x="148" y="14"/>
                </a:lnTo>
                <a:lnTo>
                  <a:pt x="163" y="9"/>
                </a:lnTo>
                <a:lnTo>
                  <a:pt x="178" y="4"/>
                </a:lnTo>
                <a:lnTo>
                  <a:pt x="195" y="1"/>
                </a:lnTo>
                <a:lnTo>
                  <a:pt x="211" y="0"/>
                </a:lnTo>
                <a:lnTo>
                  <a:pt x="224" y="1"/>
                </a:lnTo>
                <a:lnTo>
                  <a:pt x="236" y="2"/>
                </a:lnTo>
                <a:lnTo>
                  <a:pt x="247" y="4"/>
                </a:lnTo>
                <a:lnTo>
                  <a:pt x="256" y="6"/>
                </a:lnTo>
                <a:lnTo>
                  <a:pt x="275" y="10"/>
                </a:lnTo>
                <a:lnTo>
                  <a:pt x="292" y="12"/>
                </a:lnTo>
                <a:lnTo>
                  <a:pt x="290" y="21"/>
                </a:lnTo>
                <a:lnTo>
                  <a:pt x="287" y="28"/>
                </a:lnTo>
                <a:lnTo>
                  <a:pt x="283" y="36"/>
                </a:lnTo>
                <a:lnTo>
                  <a:pt x="278" y="42"/>
                </a:lnTo>
                <a:lnTo>
                  <a:pt x="273" y="48"/>
                </a:lnTo>
                <a:lnTo>
                  <a:pt x="269" y="53"/>
                </a:lnTo>
                <a:lnTo>
                  <a:pt x="266" y="57"/>
                </a:lnTo>
                <a:lnTo>
                  <a:pt x="265" y="62"/>
                </a:lnTo>
                <a:lnTo>
                  <a:pt x="265" y="64"/>
                </a:lnTo>
                <a:lnTo>
                  <a:pt x="266" y="66"/>
                </a:lnTo>
                <a:lnTo>
                  <a:pt x="269" y="69"/>
                </a:lnTo>
                <a:lnTo>
                  <a:pt x="271" y="71"/>
                </a:lnTo>
                <a:lnTo>
                  <a:pt x="277" y="75"/>
                </a:lnTo>
                <a:lnTo>
                  <a:pt x="285" y="79"/>
                </a:lnTo>
                <a:lnTo>
                  <a:pt x="301" y="87"/>
                </a:lnTo>
                <a:lnTo>
                  <a:pt x="311" y="93"/>
                </a:lnTo>
                <a:lnTo>
                  <a:pt x="298" y="100"/>
                </a:lnTo>
                <a:lnTo>
                  <a:pt x="287" y="107"/>
                </a:lnTo>
                <a:lnTo>
                  <a:pt x="283" y="110"/>
                </a:lnTo>
                <a:lnTo>
                  <a:pt x="281" y="115"/>
                </a:lnTo>
                <a:lnTo>
                  <a:pt x="278" y="121"/>
                </a:lnTo>
                <a:lnTo>
                  <a:pt x="278" y="129"/>
                </a:lnTo>
                <a:lnTo>
                  <a:pt x="271" y="131"/>
                </a:lnTo>
                <a:lnTo>
                  <a:pt x="252" y="136"/>
                </a:lnTo>
                <a:lnTo>
                  <a:pt x="230" y="143"/>
                </a:lnTo>
                <a:lnTo>
                  <a:pt x="211" y="148"/>
                </a:lnTo>
                <a:lnTo>
                  <a:pt x="202" y="158"/>
                </a:lnTo>
                <a:lnTo>
                  <a:pt x="191" y="168"/>
                </a:lnTo>
                <a:lnTo>
                  <a:pt x="185" y="172"/>
                </a:lnTo>
                <a:lnTo>
                  <a:pt x="178" y="176"/>
                </a:lnTo>
                <a:lnTo>
                  <a:pt x="172" y="178"/>
                </a:lnTo>
                <a:lnTo>
                  <a:pt x="165" y="179"/>
                </a:lnTo>
                <a:lnTo>
                  <a:pt x="158" y="178"/>
                </a:lnTo>
                <a:lnTo>
                  <a:pt x="151" y="175"/>
                </a:lnTo>
                <a:lnTo>
                  <a:pt x="144" y="171"/>
                </a:lnTo>
                <a:lnTo>
                  <a:pt x="137" y="167"/>
                </a:lnTo>
                <a:lnTo>
                  <a:pt x="129" y="162"/>
                </a:lnTo>
                <a:lnTo>
                  <a:pt x="120" y="158"/>
                </a:lnTo>
                <a:lnTo>
                  <a:pt x="110" y="156"/>
                </a:lnTo>
                <a:lnTo>
                  <a:pt x="98" y="155"/>
                </a:lnTo>
                <a:lnTo>
                  <a:pt x="83" y="155"/>
                </a:lnTo>
                <a:lnTo>
                  <a:pt x="66" y="155"/>
                </a:lnTo>
                <a:lnTo>
                  <a:pt x="59" y="156"/>
                </a:lnTo>
                <a:lnTo>
                  <a:pt x="51" y="157"/>
                </a:lnTo>
                <a:lnTo>
                  <a:pt x="45" y="159"/>
                </a:lnTo>
                <a:lnTo>
                  <a:pt x="39" y="161"/>
                </a:lnTo>
                <a:lnTo>
                  <a:pt x="38" y="151"/>
                </a:lnTo>
                <a:lnTo>
                  <a:pt x="36" y="142"/>
                </a:lnTo>
                <a:lnTo>
                  <a:pt x="34" y="132"/>
                </a:lnTo>
                <a:lnTo>
                  <a:pt x="32" y="123"/>
                </a:lnTo>
                <a:lnTo>
                  <a:pt x="26" y="126"/>
                </a:lnTo>
                <a:lnTo>
                  <a:pt x="21" y="128"/>
                </a:lnTo>
                <a:lnTo>
                  <a:pt x="17" y="129"/>
                </a:lnTo>
                <a:lnTo>
                  <a:pt x="13" y="129"/>
                </a:lnTo>
                <a:lnTo>
                  <a:pt x="9" y="128"/>
                </a:lnTo>
                <a:lnTo>
                  <a:pt x="7" y="126"/>
                </a:lnTo>
                <a:lnTo>
                  <a:pt x="5" y="124"/>
                </a:lnTo>
                <a:lnTo>
                  <a:pt x="3" y="121"/>
                </a:lnTo>
                <a:lnTo>
                  <a:pt x="1" y="114"/>
                </a:lnTo>
                <a:lnTo>
                  <a:pt x="0" y="105"/>
                </a:lnTo>
                <a:lnTo>
                  <a:pt x="0" y="96"/>
                </a:lnTo>
                <a:lnTo>
                  <a:pt x="0" y="87"/>
                </a:lnTo>
                <a:lnTo>
                  <a:pt x="1" y="84"/>
                </a:lnTo>
                <a:lnTo>
                  <a:pt x="3" y="82"/>
                </a:lnTo>
                <a:lnTo>
                  <a:pt x="7" y="80"/>
                </a:lnTo>
                <a:lnTo>
                  <a:pt x="13" y="78"/>
                </a:lnTo>
                <a:lnTo>
                  <a:pt x="17" y="76"/>
                </a:lnTo>
                <a:lnTo>
                  <a:pt x="21" y="72"/>
                </a:lnTo>
                <a:lnTo>
                  <a:pt x="23" y="70"/>
                </a:lnTo>
                <a:lnTo>
                  <a:pt x="25" y="68"/>
                </a:lnTo>
                <a:lnTo>
                  <a:pt x="25" y="65"/>
                </a:lnTo>
                <a:lnTo>
                  <a:pt x="26" y="62"/>
                </a:lnTo>
                <a:lnTo>
                  <a:pt x="25" y="56"/>
                </a:lnTo>
                <a:lnTo>
                  <a:pt x="24" y="51"/>
                </a:lnTo>
                <a:lnTo>
                  <a:pt x="21" y="47"/>
                </a:lnTo>
                <a:lnTo>
                  <a:pt x="19" y="43"/>
                </a:lnTo>
                <a:lnTo>
                  <a:pt x="14" y="36"/>
                </a:lnTo>
                <a:lnTo>
                  <a:pt x="8" y="29"/>
                </a:lnTo>
                <a:lnTo>
                  <a:pt x="3" y="24"/>
                </a:lnTo>
                <a:lnTo>
                  <a:pt x="1" y="18"/>
                </a:lnTo>
                <a:lnTo>
                  <a:pt x="0" y="16"/>
                </a:lnTo>
                <a:lnTo>
                  <a:pt x="1" y="13"/>
                </a:lnTo>
                <a:lnTo>
                  <a:pt x="3" y="10"/>
                </a:lnTo>
                <a:lnTo>
                  <a:pt x="6" y="6"/>
                </a:lnTo>
                <a:lnTo>
                  <a:pt x="3" y="6"/>
                </a:lnTo>
                <a:lnTo>
                  <a:pt x="0" y="6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fr-FR" dirty="0"/>
          </a:p>
        </p:txBody>
      </p:sp>
      <p:sp>
        <p:nvSpPr>
          <p:cNvPr id="81" name="Freeform 452"/>
          <p:cNvSpPr>
            <a:spLocks/>
          </p:cNvSpPr>
          <p:nvPr>
            <p:custDataLst>
              <p:tags r:id="rId61"/>
            </p:custDataLst>
          </p:nvPr>
        </p:nvSpPr>
        <p:spPr bwMode="auto">
          <a:xfrm>
            <a:off x="1411727" y="3955611"/>
            <a:ext cx="157480" cy="155905"/>
          </a:xfrm>
          <a:custGeom>
            <a:avLst/>
            <a:gdLst>
              <a:gd name="T0" fmla="*/ 48993729 w 292"/>
              <a:gd name="T1" fmla="*/ 24432522 h 223"/>
              <a:gd name="T2" fmla="*/ 31401620 w 292"/>
              <a:gd name="T3" fmla="*/ 20229050 h 223"/>
              <a:gd name="T4" fmla="*/ 28753322 w 292"/>
              <a:gd name="T5" fmla="*/ 20754420 h 223"/>
              <a:gd name="T6" fmla="*/ 26293784 w 292"/>
              <a:gd name="T7" fmla="*/ 20754420 h 223"/>
              <a:gd name="T8" fmla="*/ 23834682 w 292"/>
              <a:gd name="T9" fmla="*/ 20229050 h 223"/>
              <a:gd name="T10" fmla="*/ 22510750 w 292"/>
              <a:gd name="T11" fmla="*/ 24432522 h 223"/>
              <a:gd name="T12" fmla="*/ 27239760 w 292"/>
              <a:gd name="T13" fmla="*/ 34415576 h 223"/>
              <a:gd name="T14" fmla="*/ 31779575 w 292"/>
              <a:gd name="T15" fmla="*/ 41245898 h 223"/>
              <a:gd name="T16" fmla="*/ 35752240 w 292"/>
              <a:gd name="T17" fmla="*/ 48602103 h 223"/>
              <a:gd name="T18" fmla="*/ 37265801 w 292"/>
              <a:gd name="T19" fmla="*/ 53068004 h 223"/>
              <a:gd name="T20" fmla="*/ 38778928 w 292"/>
              <a:gd name="T21" fmla="*/ 58322216 h 223"/>
              <a:gd name="T22" fmla="*/ 33103942 w 292"/>
              <a:gd name="T23" fmla="*/ 58585157 h 223"/>
              <a:gd name="T24" fmla="*/ 30455644 w 292"/>
              <a:gd name="T25" fmla="*/ 58322216 h 223"/>
              <a:gd name="T26" fmla="*/ 27618151 w 292"/>
              <a:gd name="T27" fmla="*/ 56746106 h 223"/>
              <a:gd name="T28" fmla="*/ 25348243 w 292"/>
              <a:gd name="T29" fmla="*/ 54907055 h 223"/>
              <a:gd name="T30" fmla="*/ 24023877 w 292"/>
              <a:gd name="T31" fmla="*/ 52017264 h 223"/>
              <a:gd name="T32" fmla="*/ 22889140 w 292"/>
              <a:gd name="T33" fmla="*/ 49127473 h 223"/>
              <a:gd name="T34" fmla="*/ 21375579 w 292"/>
              <a:gd name="T35" fmla="*/ 47288422 h 223"/>
              <a:gd name="T36" fmla="*/ 17214154 w 292"/>
              <a:gd name="T37" fmla="*/ 38093678 h 223"/>
              <a:gd name="T38" fmla="*/ 12863099 w 292"/>
              <a:gd name="T39" fmla="*/ 29686734 h 223"/>
              <a:gd name="T40" fmla="*/ 10403997 w 292"/>
              <a:gd name="T41" fmla="*/ 26008632 h 223"/>
              <a:gd name="T42" fmla="*/ 7944894 w 292"/>
              <a:gd name="T43" fmla="*/ 22855900 h 223"/>
              <a:gd name="T44" fmla="*/ 5107401 w 292"/>
              <a:gd name="T45" fmla="*/ 20754420 h 223"/>
              <a:gd name="T46" fmla="*/ 2459103 w 292"/>
              <a:gd name="T47" fmla="*/ 19703680 h 223"/>
              <a:gd name="T48" fmla="*/ 756781 w 292"/>
              <a:gd name="T49" fmla="*/ 17076317 h 223"/>
              <a:gd name="T50" fmla="*/ 189195 w 292"/>
              <a:gd name="T51" fmla="*/ 15237266 h 223"/>
              <a:gd name="T52" fmla="*/ 0 w 292"/>
              <a:gd name="T53" fmla="*/ 12872845 h 223"/>
              <a:gd name="T54" fmla="*/ 7566503 w 292"/>
              <a:gd name="T55" fmla="*/ 14449468 h 223"/>
              <a:gd name="T56" fmla="*/ 13241490 w 292"/>
              <a:gd name="T57" fmla="*/ 14449468 h 223"/>
              <a:gd name="T58" fmla="*/ 17214154 w 292"/>
              <a:gd name="T59" fmla="*/ 13135787 h 223"/>
              <a:gd name="T60" fmla="*/ 20051647 w 292"/>
              <a:gd name="T61" fmla="*/ 10771365 h 223"/>
              <a:gd name="T62" fmla="*/ 24023877 w 292"/>
              <a:gd name="T63" fmla="*/ 5254212 h 223"/>
              <a:gd name="T64" fmla="*/ 26105024 w 292"/>
              <a:gd name="T65" fmla="*/ 2364421 h 223"/>
              <a:gd name="T66" fmla="*/ 28753322 w 292"/>
              <a:gd name="T67" fmla="*/ 0 h 223"/>
              <a:gd name="T68" fmla="*/ 32536356 w 292"/>
              <a:gd name="T69" fmla="*/ 3678102 h 223"/>
              <a:gd name="T70" fmla="*/ 36698216 w 292"/>
              <a:gd name="T71" fmla="*/ 6830322 h 223"/>
              <a:gd name="T72" fmla="*/ 41238031 w 292"/>
              <a:gd name="T73" fmla="*/ 8932314 h 223"/>
              <a:gd name="T74" fmla="*/ 46534627 w 292"/>
              <a:gd name="T75" fmla="*/ 9720626 h 223"/>
              <a:gd name="T76" fmla="*/ 49561315 w 292"/>
              <a:gd name="T77" fmla="*/ 8932314 h 223"/>
              <a:gd name="T78" fmla="*/ 52777199 w 292"/>
              <a:gd name="T79" fmla="*/ 8144003 h 223"/>
              <a:gd name="T80" fmla="*/ 53911935 w 292"/>
              <a:gd name="T81" fmla="*/ 12347475 h 223"/>
              <a:gd name="T82" fmla="*/ 54290325 w 292"/>
              <a:gd name="T83" fmla="*/ 12872845 h 223"/>
              <a:gd name="T84" fmla="*/ 55236301 w 292"/>
              <a:gd name="T85" fmla="*/ 18127057 h 223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0" t="0" r="r" b="b"/>
            <a:pathLst>
              <a:path w="292" h="223">
                <a:moveTo>
                  <a:pt x="292" y="69"/>
                </a:moveTo>
                <a:lnTo>
                  <a:pt x="259" y="93"/>
                </a:lnTo>
                <a:lnTo>
                  <a:pt x="172" y="75"/>
                </a:lnTo>
                <a:lnTo>
                  <a:pt x="166" y="77"/>
                </a:lnTo>
                <a:lnTo>
                  <a:pt x="159" y="78"/>
                </a:lnTo>
                <a:lnTo>
                  <a:pt x="152" y="79"/>
                </a:lnTo>
                <a:lnTo>
                  <a:pt x="146" y="79"/>
                </a:lnTo>
                <a:lnTo>
                  <a:pt x="139" y="79"/>
                </a:lnTo>
                <a:lnTo>
                  <a:pt x="133" y="78"/>
                </a:lnTo>
                <a:lnTo>
                  <a:pt x="126" y="77"/>
                </a:lnTo>
                <a:lnTo>
                  <a:pt x="119" y="75"/>
                </a:lnTo>
                <a:lnTo>
                  <a:pt x="119" y="93"/>
                </a:lnTo>
                <a:lnTo>
                  <a:pt x="132" y="113"/>
                </a:lnTo>
                <a:lnTo>
                  <a:pt x="144" y="131"/>
                </a:lnTo>
                <a:lnTo>
                  <a:pt x="156" y="145"/>
                </a:lnTo>
                <a:lnTo>
                  <a:pt x="168" y="157"/>
                </a:lnTo>
                <a:lnTo>
                  <a:pt x="179" y="170"/>
                </a:lnTo>
                <a:lnTo>
                  <a:pt x="189" y="185"/>
                </a:lnTo>
                <a:lnTo>
                  <a:pt x="193" y="193"/>
                </a:lnTo>
                <a:lnTo>
                  <a:pt x="197" y="202"/>
                </a:lnTo>
                <a:lnTo>
                  <a:pt x="202" y="211"/>
                </a:lnTo>
                <a:lnTo>
                  <a:pt x="205" y="222"/>
                </a:lnTo>
                <a:lnTo>
                  <a:pt x="191" y="223"/>
                </a:lnTo>
                <a:lnTo>
                  <a:pt x="175" y="223"/>
                </a:lnTo>
                <a:lnTo>
                  <a:pt x="168" y="223"/>
                </a:lnTo>
                <a:lnTo>
                  <a:pt x="161" y="222"/>
                </a:lnTo>
                <a:lnTo>
                  <a:pt x="154" y="220"/>
                </a:lnTo>
                <a:lnTo>
                  <a:pt x="146" y="216"/>
                </a:lnTo>
                <a:lnTo>
                  <a:pt x="139" y="213"/>
                </a:lnTo>
                <a:lnTo>
                  <a:pt x="134" y="209"/>
                </a:lnTo>
                <a:lnTo>
                  <a:pt x="130" y="203"/>
                </a:lnTo>
                <a:lnTo>
                  <a:pt x="127" y="198"/>
                </a:lnTo>
                <a:lnTo>
                  <a:pt x="124" y="192"/>
                </a:lnTo>
                <a:lnTo>
                  <a:pt x="121" y="187"/>
                </a:lnTo>
                <a:lnTo>
                  <a:pt x="117" y="183"/>
                </a:lnTo>
                <a:lnTo>
                  <a:pt x="113" y="180"/>
                </a:lnTo>
                <a:lnTo>
                  <a:pt x="102" y="162"/>
                </a:lnTo>
                <a:lnTo>
                  <a:pt x="91" y="145"/>
                </a:lnTo>
                <a:lnTo>
                  <a:pt x="80" y="129"/>
                </a:lnTo>
                <a:lnTo>
                  <a:pt x="68" y="113"/>
                </a:lnTo>
                <a:lnTo>
                  <a:pt x="61" y="105"/>
                </a:lnTo>
                <a:lnTo>
                  <a:pt x="55" y="99"/>
                </a:lnTo>
                <a:lnTo>
                  <a:pt x="48" y="93"/>
                </a:lnTo>
                <a:lnTo>
                  <a:pt x="42" y="87"/>
                </a:lnTo>
                <a:lnTo>
                  <a:pt x="35" y="83"/>
                </a:lnTo>
                <a:lnTo>
                  <a:pt x="27" y="79"/>
                </a:lnTo>
                <a:lnTo>
                  <a:pt x="21" y="76"/>
                </a:lnTo>
                <a:lnTo>
                  <a:pt x="13" y="75"/>
                </a:lnTo>
                <a:lnTo>
                  <a:pt x="9" y="70"/>
                </a:lnTo>
                <a:lnTo>
                  <a:pt x="4" y="65"/>
                </a:lnTo>
                <a:lnTo>
                  <a:pt x="2" y="62"/>
                </a:lnTo>
                <a:lnTo>
                  <a:pt x="1" y="58"/>
                </a:lnTo>
                <a:lnTo>
                  <a:pt x="0" y="54"/>
                </a:lnTo>
                <a:lnTo>
                  <a:pt x="0" y="49"/>
                </a:lnTo>
                <a:lnTo>
                  <a:pt x="22" y="53"/>
                </a:lnTo>
                <a:lnTo>
                  <a:pt x="40" y="55"/>
                </a:lnTo>
                <a:lnTo>
                  <a:pt x="57" y="56"/>
                </a:lnTo>
                <a:lnTo>
                  <a:pt x="70" y="55"/>
                </a:lnTo>
                <a:lnTo>
                  <a:pt x="82" y="53"/>
                </a:lnTo>
                <a:lnTo>
                  <a:pt x="91" y="50"/>
                </a:lnTo>
                <a:lnTo>
                  <a:pt x="99" y="46"/>
                </a:lnTo>
                <a:lnTo>
                  <a:pt x="106" y="41"/>
                </a:lnTo>
                <a:lnTo>
                  <a:pt x="117" y="31"/>
                </a:lnTo>
                <a:lnTo>
                  <a:pt x="127" y="20"/>
                </a:lnTo>
                <a:lnTo>
                  <a:pt x="132" y="14"/>
                </a:lnTo>
                <a:lnTo>
                  <a:pt x="138" y="9"/>
                </a:lnTo>
                <a:lnTo>
                  <a:pt x="145" y="4"/>
                </a:lnTo>
                <a:lnTo>
                  <a:pt x="152" y="0"/>
                </a:lnTo>
                <a:lnTo>
                  <a:pt x="162" y="8"/>
                </a:lnTo>
                <a:lnTo>
                  <a:pt x="172" y="14"/>
                </a:lnTo>
                <a:lnTo>
                  <a:pt x="183" y="21"/>
                </a:lnTo>
                <a:lnTo>
                  <a:pt x="194" y="26"/>
                </a:lnTo>
                <a:lnTo>
                  <a:pt x="205" y="31"/>
                </a:lnTo>
                <a:lnTo>
                  <a:pt x="218" y="34"/>
                </a:lnTo>
                <a:lnTo>
                  <a:pt x="231" y="37"/>
                </a:lnTo>
                <a:lnTo>
                  <a:pt x="246" y="37"/>
                </a:lnTo>
                <a:lnTo>
                  <a:pt x="255" y="36"/>
                </a:lnTo>
                <a:lnTo>
                  <a:pt x="262" y="34"/>
                </a:lnTo>
                <a:lnTo>
                  <a:pt x="270" y="32"/>
                </a:lnTo>
                <a:lnTo>
                  <a:pt x="279" y="31"/>
                </a:lnTo>
                <a:lnTo>
                  <a:pt x="283" y="42"/>
                </a:lnTo>
                <a:lnTo>
                  <a:pt x="285" y="47"/>
                </a:lnTo>
                <a:lnTo>
                  <a:pt x="287" y="49"/>
                </a:lnTo>
                <a:lnTo>
                  <a:pt x="289" y="52"/>
                </a:lnTo>
                <a:lnTo>
                  <a:pt x="292" y="6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fr-FR" dirty="0"/>
          </a:p>
        </p:txBody>
      </p:sp>
      <p:sp>
        <p:nvSpPr>
          <p:cNvPr id="82" name="Freeform 453"/>
          <p:cNvSpPr>
            <a:spLocks/>
          </p:cNvSpPr>
          <p:nvPr>
            <p:custDataLst>
              <p:tags r:id="rId62"/>
            </p:custDataLst>
          </p:nvPr>
        </p:nvSpPr>
        <p:spPr bwMode="auto">
          <a:xfrm>
            <a:off x="1350702" y="3762894"/>
            <a:ext cx="208661" cy="106103"/>
          </a:xfrm>
          <a:custGeom>
            <a:avLst/>
            <a:gdLst>
              <a:gd name="T0" fmla="*/ 73925117 w 379"/>
              <a:gd name="T1" fmla="*/ 26321978 h 147"/>
              <a:gd name="T2" fmla="*/ 70968094 w 379"/>
              <a:gd name="T3" fmla="*/ 28282023 h 147"/>
              <a:gd name="T4" fmla="*/ 69785285 w 379"/>
              <a:gd name="T5" fmla="*/ 30242069 h 147"/>
              <a:gd name="T6" fmla="*/ 68405341 w 379"/>
              <a:gd name="T7" fmla="*/ 32762506 h 147"/>
              <a:gd name="T8" fmla="*/ 65645454 w 379"/>
              <a:gd name="T9" fmla="*/ 35562874 h 147"/>
              <a:gd name="T10" fmla="*/ 63082701 w 379"/>
              <a:gd name="T11" fmla="*/ 36682598 h 147"/>
              <a:gd name="T12" fmla="*/ 61308488 w 379"/>
              <a:gd name="T13" fmla="*/ 36962529 h 147"/>
              <a:gd name="T14" fmla="*/ 59337139 w 379"/>
              <a:gd name="T15" fmla="*/ 36402667 h 147"/>
              <a:gd name="T16" fmla="*/ 57365791 w 379"/>
              <a:gd name="T17" fmla="*/ 35282414 h 147"/>
              <a:gd name="T18" fmla="*/ 55394443 w 379"/>
              <a:gd name="T19" fmla="*/ 33322368 h 147"/>
              <a:gd name="T20" fmla="*/ 54211634 w 379"/>
              <a:gd name="T21" fmla="*/ 32482575 h 147"/>
              <a:gd name="T22" fmla="*/ 53028825 w 379"/>
              <a:gd name="T23" fmla="*/ 33042437 h 147"/>
              <a:gd name="T24" fmla="*/ 52634555 w 379"/>
              <a:gd name="T25" fmla="*/ 34442621 h 147"/>
              <a:gd name="T26" fmla="*/ 52437420 w 379"/>
              <a:gd name="T27" fmla="*/ 39203035 h 147"/>
              <a:gd name="T28" fmla="*/ 50663207 w 379"/>
              <a:gd name="T29" fmla="*/ 40603219 h 147"/>
              <a:gd name="T30" fmla="*/ 48100454 w 379"/>
              <a:gd name="T31" fmla="*/ 39203035 h 147"/>
              <a:gd name="T32" fmla="*/ 45143432 w 379"/>
              <a:gd name="T33" fmla="*/ 36682598 h 147"/>
              <a:gd name="T34" fmla="*/ 22276236 w 379"/>
              <a:gd name="T35" fmla="*/ 39482966 h 147"/>
              <a:gd name="T36" fmla="*/ 15770786 w 379"/>
              <a:gd name="T37" fmla="*/ 34722552 h 147"/>
              <a:gd name="T38" fmla="*/ 11433820 w 379"/>
              <a:gd name="T39" fmla="*/ 30522530 h 147"/>
              <a:gd name="T40" fmla="*/ 8871067 w 379"/>
              <a:gd name="T41" fmla="*/ 26321978 h 147"/>
              <a:gd name="T42" fmla="*/ 7293989 w 379"/>
              <a:gd name="T43" fmla="*/ 22961748 h 147"/>
              <a:gd name="T44" fmla="*/ 5125506 w 379"/>
              <a:gd name="T45" fmla="*/ 16521219 h 147"/>
              <a:gd name="T46" fmla="*/ 3154157 w 379"/>
              <a:gd name="T47" fmla="*/ 13440920 h 147"/>
              <a:gd name="T48" fmla="*/ 0 w 379"/>
              <a:gd name="T49" fmla="*/ 10080690 h 147"/>
              <a:gd name="T50" fmla="*/ 5716910 w 379"/>
              <a:gd name="T51" fmla="*/ 11200943 h 147"/>
              <a:gd name="T52" fmla="*/ 10251011 w 379"/>
              <a:gd name="T53" fmla="*/ 10640552 h 147"/>
              <a:gd name="T54" fmla="*/ 14193708 w 379"/>
              <a:gd name="T55" fmla="*/ 9240897 h 147"/>
              <a:gd name="T56" fmla="*/ 17150730 w 379"/>
              <a:gd name="T57" fmla="*/ 7000391 h 147"/>
              <a:gd name="T58" fmla="*/ 23459045 w 379"/>
              <a:gd name="T59" fmla="*/ 2239977 h 147"/>
              <a:gd name="T60" fmla="*/ 27204606 w 379"/>
              <a:gd name="T61" fmla="*/ 559862 h 147"/>
              <a:gd name="T62" fmla="*/ 31344438 w 379"/>
              <a:gd name="T63" fmla="*/ 0 h 147"/>
              <a:gd name="T64" fmla="*/ 39426522 w 379"/>
              <a:gd name="T65" fmla="*/ 6440529 h 147"/>
              <a:gd name="T66" fmla="*/ 48100454 w 379"/>
              <a:gd name="T67" fmla="*/ 12601127 h 147"/>
              <a:gd name="T68" fmla="*/ 57562926 w 379"/>
              <a:gd name="T69" fmla="*/ 18761196 h 147"/>
              <a:gd name="T70" fmla="*/ 65645454 w 379"/>
              <a:gd name="T71" fmla="*/ 22401886 h 147"/>
              <a:gd name="T72" fmla="*/ 69785285 w 379"/>
              <a:gd name="T73" fmla="*/ 24082001 h 147"/>
              <a:gd name="T74" fmla="*/ 74713656 w 379"/>
              <a:gd name="T75" fmla="*/ 25762116 h 147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0" t="0" r="r" b="b"/>
            <a:pathLst>
              <a:path w="379" h="147">
                <a:moveTo>
                  <a:pt x="379" y="92"/>
                </a:moveTo>
                <a:lnTo>
                  <a:pt x="375" y="94"/>
                </a:lnTo>
                <a:lnTo>
                  <a:pt x="366" y="98"/>
                </a:lnTo>
                <a:lnTo>
                  <a:pt x="360" y="101"/>
                </a:lnTo>
                <a:lnTo>
                  <a:pt x="357" y="105"/>
                </a:lnTo>
                <a:lnTo>
                  <a:pt x="354" y="108"/>
                </a:lnTo>
                <a:lnTo>
                  <a:pt x="353" y="111"/>
                </a:lnTo>
                <a:lnTo>
                  <a:pt x="347" y="117"/>
                </a:lnTo>
                <a:lnTo>
                  <a:pt x="341" y="123"/>
                </a:lnTo>
                <a:lnTo>
                  <a:pt x="333" y="127"/>
                </a:lnTo>
                <a:lnTo>
                  <a:pt x="324" y="130"/>
                </a:lnTo>
                <a:lnTo>
                  <a:pt x="320" y="131"/>
                </a:lnTo>
                <a:lnTo>
                  <a:pt x="315" y="132"/>
                </a:lnTo>
                <a:lnTo>
                  <a:pt x="311" y="132"/>
                </a:lnTo>
                <a:lnTo>
                  <a:pt x="306" y="131"/>
                </a:lnTo>
                <a:lnTo>
                  <a:pt x="301" y="130"/>
                </a:lnTo>
                <a:lnTo>
                  <a:pt x="296" y="128"/>
                </a:lnTo>
                <a:lnTo>
                  <a:pt x="291" y="126"/>
                </a:lnTo>
                <a:lnTo>
                  <a:pt x="286" y="123"/>
                </a:lnTo>
                <a:lnTo>
                  <a:pt x="281" y="119"/>
                </a:lnTo>
                <a:lnTo>
                  <a:pt x="277" y="117"/>
                </a:lnTo>
                <a:lnTo>
                  <a:pt x="275" y="116"/>
                </a:lnTo>
                <a:lnTo>
                  <a:pt x="271" y="116"/>
                </a:lnTo>
                <a:lnTo>
                  <a:pt x="269" y="118"/>
                </a:lnTo>
                <a:lnTo>
                  <a:pt x="268" y="120"/>
                </a:lnTo>
                <a:lnTo>
                  <a:pt x="267" y="123"/>
                </a:lnTo>
                <a:lnTo>
                  <a:pt x="266" y="126"/>
                </a:lnTo>
                <a:lnTo>
                  <a:pt x="266" y="140"/>
                </a:lnTo>
                <a:lnTo>
                  <a:pt x="266" y="147"/>
                </a:lnTo>
                <a:lnTo>
                  <a:pt x="257" y="145"/>
                </a:lnTo>
                <a:lnTo>
                  <a:pt x="251" y="143"/>
                </a:lnTo>
                <a:lnTo>
                  <a:pt x="244" y="140"/>
                </a:lnTo>
                <a:lnTo>
                  <a:pt x="240" y="137"/>
                </a:lnTo>
                <a:lnTo>
                  <a:pt x="229" y="131"/>
                </a:lnTo>
                <a:lnTo>
                  <a:pt x="213" y="123"/>
                </a:lnTo>
                <a:lnTo>
                  <a:pt x="113" y="141"/>
                </a:lnTo>
                <a:lnTo>
                  <a:pt x="95" y="132"/>
                </a:lnTo>
                <a:lnTo>
                  <a:pt x="80" y="124"/>
                </a:lnTo>
                <a:lnTo>
                  <a:pt x="68" y="116"/>
                </a:lnTo>
                <a:lnTo>
                  <a:pt x="58" y="109"/>
                </a:lnTo>
                <a:lnTo>
                  <a:pt x="51" y="101"/>
                </a:lnTo>
                <a:lnTo>
                  <a:pt x="45" y="94"/>
                </a:lnTo>
                <a:lnTo>
                  <a:pt x="40" y="88"/>
                </a:lnTo>
                <a:lnTo>
                  <a:pt x="37" y="82"/>
                </a:lnTo>
                <a:lnTo>
                  <a:pt x="31" y="70"/>
                </a:lnTo>
                <a:lnTo>
                  <a:pt x="26" y="59"/>
                </a:lnTo>
                <a:lnTo>
                  <a:pt x="21" y="54"/>
                </a:lnTo>
                <a:lnTo>
                  <a:pt x="16" y="48"/>
                </a:lnTo>
                <a:lnTo>
                  <a:pt x="9" y="42"/>
                </a:lnTo>
                <a:lnTo>
                  <a:pt x="0" y="36"/>
                </a:lnTo>
                <a:lnTo>
                  <a:pt x="16" y="39"/>
                </a:lnTo>
                <a:lnTo>
                  <a:pt x="29" y="40"/>
                </a:lnTo>
                <a:lnTo>
                  <a:pt x="41" y="40"/>
                </a:lnTo>
                <a:lnTo>
                  <a:pt x="52" y="38"/>
                </a:lnTo>
                <a:lnTo>
                  <a:pt x="62" y="36"/>
                </a:lnTo>
                <a:lnTo>
                  <a:pt x="72" y="33"/>
                </a:lnTo>
                <a:lnTo>
                  <a:pt x="79" y="29"/>
                </a:lnTo>
                <a:lnTo>
                  <a:pt x="87" y="25"/>
                </a:lnTo>
                <a:lnTo>
                  <a:pt x="102" y="16"/>
                </a:lnTo>
                <a:lnTo>
                  <a:pt x="119" y="8"/>
                </a:lnTo>
                <a:lnTo>
                  <a:pt x="128" y="5"/>
                </a:lnTo>
                <a:lnTo>
                  <a:pt x="138" y="2"/>
                </a:lnTo>
                <a:lnTo>
                  <a:pt x="149" y="1"/>
                </a:lnTo>
                <a:lnTo>
                  <a:pt x="159" y="0"/>
                </a:lnTo>
                <a:lnTo>
                  <a:pt x="179" y="11"/>
                </a:lnTo>
                <a:lnTo>
                  <a:pt x="200" y="23"/>
                </a:lnTo>
                <a:lnTo>
                  <a:pt x="222" y="34"/>
                </a:lnTo>
                <a:lnTo>
                  <a:pt x="244" y="45"/>
                </a:lnTo>
                <a:lnTo>
                  <a:pt x="278" y="61"/>
                </a:lnTo>
                <a:lnTo>
                  <a:pt x="292" y="67"/>
                </a:lnTo>
                <a:lnTo>
                  <a:pt x="314" y="73"/>
                </a:lnTo>
                <a:lnTo>
                  <a:pt x="333" y="80"/>
                </a:lnTo>
                <a:lnTo>
                  <a:pt x="343" y="83"/>
                </a:lnTo>
                <a:lnTo>
                  <a:pt x="354" y="86"/>
                </a:lnTo>
                <a:lnTo>
                  <a:pt x="365" y="89"/>
                </a:lnTo>
                <a:lnTo>
                  <a:pt x="379" y="92"/>
                </a:lnTo>
              </a:path>
            </a:pathLst>
          </a:custGeom>
          <a:solidFill>
            <a:srgbClr val="92D05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fr-FR" dirty="0"/>
          </a:p>
        </p:txBody>
      </p:sp>
      <p:sp>
        <p:nvSpPr>
          <p:cNvPr id="83" name="Freeform 454"/>
          <p:cNvSpPr>
            <a:spLocks/>
          </p:cNvSpPr>
          <p:nvPr>
            <p:custDataLst>
              <p:tags r:id="rId63"/>
            </p:custDataLst>
          </p:nvPr>
        </p:nvSpPr>
        <p:spPr bwMode="auto">
          <a:xfrm>
            <a:off x="1305428" y="3565848"/>
            <a:ext cx="37401" cy="82283"/>
          </a:xfrm>
          <a:custGeom>
            <a:avLst/>
            <a:gdLst>
              <a:gd name="T0" fmla="*/ 0 w 61"/>
              <a:gd name="T1" fmla="*/ 0 h 67"/>
              <a:gd name="T2" fmla="*/ 0 w 61"/>
              <a:gd name="T3" fmla="*/ 7295724 h 67"/>
              <a:gd name="T4" fmla="*/ 0 w 61"/>
              <a:gd name="T5" fmla="*/ 14592347 h 67"/>
              <a:gd name="T6" fmla="*/ 244263 w 61"/>
              <a:gd name="T7" fmla="*/ 19456163 h 67"/>
              <a:gd name="T8" fmla="*/ 489020 w 61"/>
              <a:gd name="T9" fmla="*/ 24319979 h 67"/>
              <a:gd name="T10" fmla="*/ 733283 w 61"/>
              <a:gd name="T11" fmla="*/ 29183794 h 67"/>
              <a:gd name="T12" fmla="*/ 1467060 w 61"/>
              <a:gd name="T13" fmla="*/ 34048510 h 67"/>
              <a:gd name="T14" fmla="*/ 2934120 w 61"/>
              <a:gd name="T15" fmla="*/ 44587378 h 67"/>
              <a:gd name="T16" fmla="*/ 5134462 w 61"/>
              <a:gd name="T17" fmla="*/ 54315009 h 67"/>
              <a:gd name="T18" fmla="*/ 6845785 w 61"/>
              <a:gd name="T19" fmla="*/ 52693437 h 67"/>
              <a:gd name="T20" fmla="*/ 8557108 w 61"/>
              <a:gd name="T21" fmla="*/ 49451194 h 67"/>
              <a:gd name="T22" fmla="*/ 10268430 w 61"/>
              <a:gd name="T23" fmla="*/ 47019286 h 67"/>
              <a:gd name="T24" fmla="*/ 11735490 w 61"/>
              <a:gd name="T25" fmla="*/ 42965806 h 67"/>
              <a:gd name="T26" fmla="*/ 12957793 w 61"/>
              <a:gd name="T27" fmla="*/ 38101990 h 67"/>
              <a:gd name="T28" fmla="*/ 13935833 w 61"/>
              <a:gd name="T29" fmla="*/ 32426938 h 67"/>
              <a:gd name="T30" fmla="*/ 14424853 w 61"/>
              <a:gd name="T31" fmla="*/ 25941551 h 67"/>
              <a:gd name="T32" fmla="*/ 14913873 w 61"/>
              <a:gd name="T33" fmla="*/ 19456163 h 67"/>
              <a:gd name="T34" fmla="*/ 12957793 w 61"/>
              <a:gd name="T35" fmla="*/ 11349203 h 67"/>
              <a:gd name="T36" fmla="*/ 10024168 w 61"/>
              <a:gd name="T37" fmla="*/ 0 h 67"/>
              <a:gd name="T38" fmla="*/ 6845785 w 61"/>
              <a:gd name="T39" fmla="*/ 2431908 h 67"/>
              <a:gd name="T40" fmla="*/ 4400685 w 61"/>
              <a:gd name="T41" fmla="*/ 3242244 h 67"/>
              <a:gd name="T42" fmla="*/ 3178383 w 61"/>
              <a:gd name="T43" fmla="*/ 3242244 h 67"/>
              <a:gd name="T44" fmla="*/ 2445100 w 61"/>
              <a:gd name="T45" fmla="*/ 2431908 h 67"/>
              <a:gd name="T46" fmla="*/ 1467060 w 61"/>
              <a:gd name="T47" fmla="*/ 1621572 h 67"/>
              <a:gd name="T48" fmla="*/ 0 w 61"/>
              <a:gd name="T49" fmla="*/ 0 h 67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61" h="67">
                <a:moveTo>
                  <a:pt x="0" y="0"/>
                </a:moveTo>
                <a:lnTo>
                  <a:pt x="0" y="9"/>
                </a:lnTo>
                <a:lnTo>
                  <a:pt x="0" y="18"/>
                </a:lnTo>
                <a:lnTo>
                  <a:pt x="1" y="24"/>
                </a:lnTo>
                <a:lnTo>
                  <a:pt x="2" y="30"/>
                </a:lnTo>
                <a:lnTo>
                  <a:pt x="3" y="36"/>
                </a:lnTo>
                <a:lnTo>
                  <a:pt x="6" y="42"/>
                </a:lnTo>
                <a:lnTo>
                  <a:pt x="12" y="55"/>
                </a:lnTo>
                <a:lnTo>
                  <a:pt x="21" y="67"/>
                </a:lnTo>
                <a:lnTo>
                  <a:pt x="28" y="65"/>
                </a:lnTo>
                <a:lnTo>
                  <a:pt x="35" y="61"/>
                </a:lnTo>
                <a:lnTo>
                  <a:pt x="42" y="58"/>
                </a:lnTo>
                <a:lnTo>
                  <a:pt x="48" y="53"/>
                </a:lnTo>
                <a:lnTo>
                  <a:pt x="53" y="47"/>
                </a:lnTo>
                <a:lnTo>
                  <a:pt x="57" y="40"/>
                </a:lnTo>
                <a:lnTo>
                  <a:pt x="59" y="32"/>
                </a:lnTo>
                <a:lnTo>
                  <a:pt x="61" y="24"/>
                </a:lnTo>
                <a:lnTo>
                  <a:pt x="53" y="14"/>
                </a:lnTo>
                <a:lnTo>
                  <a:pt x="41" y="0"/>
                </a:lnTo>
                <a:lnTo>
                  <a:pt x="28" y="3"/>
                </a:lnTo>
                <a:lnTo>
                  <a:pt x="18" y="4"/>
                </a:lnTo>
                <a:lnTo>
                  <a:pt x="13" y="4"/>
                </a:lnTo>
                <a:lnTo>
                  <a:pt x="10" y="3"/>
                </a:lnTo>
                <a:lnTo>
                  <a:pt x="6" y="2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fr-FR" dirty="0"/>
          </a:p>
        </p:txBody>
      </p:sp>
      <p:sp>
        <p:nvSpPr>
          <p:cNvPr id="84" name="Freeform 455"/>
          <p:cNvSpPr>
            <a:spLocks/>
          </p:cNvSpPr>
          <p:nvPr>
            <p:custDataLst>
              <p:tags r:id="rId64"/>
            </p:custDataLst>
          </p:nvPr>
        </p:nvSpPr>
        <p:spPr bwMode="auto">
          <a:xfrm>
            <a:off x="1269995" y="3572343"/>
            <a:ext cx="31496" cy="80119"/>
          </a:xfrm>
          <a:custGeom>
            <a:avLst/>
            <a:gdLst>
              <a:gd name="T0" fmla="*/ 0 w 60"/>
              <a:gd name="T1" fmla="*/ 6843511 h 55"/>
              <a:gd name="T2" fmla="*/ 0 w 60"/>
              <a:gd name="T3" fmla="*/ 27372976 h 55"/>
              <a:gd name="T4" fmla="*/ 896197 w 60"/>
              <a:gd name="T5" fmla="*/ 36497657 h 55"/>
              <a:gd name="T6" fmla="*/ 1791970 w 60"/>
              <a:gd name="T7" fmla="*/ 45622339 h 55"/>
              <a:gd name="T8" fmla="*/ 2867237 w 60"/>
              <a:gd name="T9" fmla="*/ 51324196 h 55"/>
              <a:gd name="T10" fmla="*/ 3763433 w 60"/>
              <a:gd name="T11" fmla="*/ 55886537 h 55"/>
              <a:gd name="T12" fmla="*/ 4838700 w 60"/>
              <a:gd name="T13" fmla="*/ 59308293 h 55"/>
              <a:gd name="T14" fmla="*/ 5913967 w 60"/>
              <a:gd name="T15" fmla="*/ 61589463 h 55"/>
              <a:gd name="T16" fmla="*/ 7168303 w 60"/>
              <a:gd name="T17" fmla="*/ 62730048 h 55"/>
              <a:gd name="T18" fmla="*/ 8243570 w 60"/>
              <a:gd name="T19" fmla="*/ 62730048 h 55"/>
              <a:gd name="T20" fmla="*/ 9498330 w 60"/>
              <a:gd name="T21" fmla="*/ 59308293 h 55"/>
              <a:gd name="T22" fmla="*/ 10752667 w 60"/>
              <a:gd name="T23" fmla="*/ 55886537 h 55"/>
              <a:gd name="T24" fmla="*/ 8960697 w 60"/>
              <a:gd name="T25" fmla="*/ 38778828 h 55"/>
              <a:gd name="T26" fmla="*/ 7526867 w 60"/>
              <a:gd name="T27" fmla="*/ 25091806 h 55"/>
              <a:gd name="T28" fmla="*/ 6989233 w 60"/>
              <a:gd name="T29" fmla="*/ 19388880 h 55"/>
              <a:gd name="T30" fmla="*/ 6272530 w 60"/>
              <a:gd name="T31" fmla="*/ 13687022 h 55"/>
              <a:gd name="T32" fmla="*/ 6093037 w 60"/>
              <a:gd name="T33" fmla="*/ 6843511 h 55"/>
              <a:gd name="T34" fmla="*/ 5913967 w 60"/>
              <a:gd name="T35" fmla="*/ 0 h 55"/>
              <a:gd name="T36" fmla="*/ 4121997 w 60"/>
              <a:gd name="T37" fmla="*/ 1140585 h 55"/>
              <a:gd name="T38" fmla="*/ 2688167 w 60"/>
              <a:gd name="T39" fmla="*/ 3421755 h 55"/>
              <a:gd name="T40" fmla="*/ 1254337 w 60"/>
              <a:gd name="T41" fmla="*/ 5702926 h 55"/>
              <a:gd name="T42" fmla="*/ 0 w 60"/>
              <a:gd name="T43" fmla="*/ 6843511 h 55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</a:gdLst>
            <a:ahLst/>
            <a:cxnLst>
              <a:cxn ang="T44">
                <a:pos x="T0" y="T1"/>
              </a:cxn>
              <a:cxn ang="T45">
                <a:pos x="T2" y="T3"/>
              </a:cxn>
              <a:cxn ang="T46">
                <a:pos x="T4" y="T5"/>
              </a:cxn>
              <a:cxn ang="T47">
                <a:pos x="T6" y="T7"/>
              </a:cxn>
              <a:cxn ang="T48">
                <a:pos x="T8" y="T9"/>
              </a:cxn>
              <a:cxn ang="T49">
                <a:pos x="T10" y="T11"/>
              </a:cxn>
              <a:cxn ang="T50">
                <a:pos x="T12" y="T13"/>
              </a:cxn>
              <a:cxn ang="T51">
                <a:pos x="T14" y="T15"/>
              </a:cxn>
              <a:cxn ang="T52">
                <a:pos x="T16" y="T17"/>
              </a:cxn>
              <a:cxn ang="T53">
                <a:pos x="T18" y="T19"/>
              </a:cxn>
              <a:cxn ang="T54">
                <a:pos x="T20" y="T21"/>
              </a:cxn>
              <a:cxn ang="T55">
                <a:pos x="T22" y="T23"/>
              </a:cxn>
              <a:cxn ang="T56">
                <a:pos x="T24" y="T25"/>
              </a:cxn>
              <a:cxn ang="T57">
                <a:pos x="T26" y="T27"/>
              </a:cxn>
              <a:cxn ang="T58">
                <a:pos x="T28" y="T29"/>
              </a:cxn>
              <a:cxn ang="T59">
                <a:pos x="T30" y="T31"/>
              </a:cxn>
              <a:cxn ang="T60">
                <a:pos x="T32" y="T33"/>
              </a:cxn>
              <a:cxn ang="T61">
                <a:pos x="T34" y="T35"/>
              </a:cxn>
              <a:cxn ang="T62">
                <a:pos x="T36" y="T37"/>
              </a:cxn>
              <a:cxn ang="T63">
                <a:pos x="T38" y="T39"/>
              </a:cxn>
              <a:cxn ang="T64">
                <a:pos x="T40" y="T41"/>
              </a:cxn>
              <a:cxn ang="T65">
                <a:pos x="T42" y="T43"/>
              </a:cxn>
            </a:cxnLst>
            <a:rect l="0" t="0" r="r" b="b"/>
            <a:pathLst>
              <a:path w="60" h="55">
                <a:moveTo>
                  <a:pt x="0" y="6"/>
                </a:moveTo>
                <a:lnTo>
                  <a:pt x="0" y="24"/>
                </a:lnTo>
                <a:lnTo>
                  <a:pt x="5" y="32"/>
                </a:lnTo>
                <a:lnTo>
                  <a:pt x="10" y="40"/>
                </a:lnTo>
                <a:lnTo>
                  <a:pt x="16" y="45"/>
                </a:lnTo>
                <a:lnTo>
                  <a:pt x="21" y="49"/>
                </a:lnTo>
                <a:lnTo>
                  <a:pt x="27" y="52"/>
                </a:lnTo>
                <a:lnTo>
                  <a:pt x="33" y="54"/>
                </a:lnTo>
                <a:lnTo>
                  <a:pt x="40" y="55"/>
                </a:lnTo>
                <a:lnTo>
                  <a:pt x="46" y="55"/>
                </a:lnTo>
                <a:lnTo>
                  <a:pt x="53" y="52"/>
                </a:lnTo>
                <a:lnTo>
                  <a:pt x="60" y="49"/>
                </a:lnTo>
                <a:lnTo>
                  <a:pt x="50" y="34"/>
                </a:lnTo>
                <a:lnTo>
                  <a:pt x="42" y="22"/>
                </a:lnTo>
                <a:lnTo>
                  <a:pt x="39" y="17"/>
                </a:lnTo>
                <a:lnTo>
                  <a:pt x="35" y="12"/>
                </a:lnTo>
                <a:lnTo>
                  <a:pt x="34" y="6"/>
                </a:lnTo>
                <a:lnTo>
                  <a:pt x="33" y="0"/>
                </a:lnTo>
                <a:lnTo>
                  <a:pt x="23" y="1"/>
                </a:lnTo>
                <a:lnTo>
                  <a:pt x="15" y="3"/>
                </a:lnTo>
                <a:lnTo>
                  <a:pt x="7" y="5"/>
                </a:lnTo>
                <a:lnTo>
                  <a:pt x="0" y="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 dirty="0"/>
          </a:p>
        </p:txBody>
      </p:sp>
      <p:sp>
        <p:nvSpPr>
          <p:cNvPr id="85" name="Freeform 456"/>
          <p:cNvSpPr>
            <a:spLocks/>
          </p:cNvSpPr>
          <p:nvPr>
            <p:custDataLst>
              <p:tags r:id="rId65"/>
            </p:custDataLst>
          </p:nvPr>
        </p:nvSpPr>
        <p:spPr bwMode="auto">
          <a:xfrm>
            <a:off x="1232592" y="3498721"/>
            <a:ext cx="64961" cy="106103"/>
          </a:xfrm>
          <a:custGeom>
            <a:avLst/>
            <a:gdLst>
              <a:gd name="T0" fmla="*/ 14103723 w 120"/>
              <a:gd name="T1" fmla="*/ 35636365 h 148"/>
              <a:gd name="T2" fmla="*/ 13341477 w 120"/>
              <a:gd name="T3" fmla="*/ 36188765 h 148"/>
              <a:gd name="T4" fmla="*/ 12769575 w 120"/>
              <a:gd name="T5" fmla="*/ 36464702 h 148"/>
              <a:gd name="T6" fmla="*/ 12197673 w 120"/>
              <a:gd name="T7" fmla="*/ 36741165 h 148"/>
              <a:gd name="T8" fmla="*/ 11435427 w 120"/>
              <a:gd name="T9" fmla="*/ 36741165 h 148"/>
              <a:gd name="T10" fmla="*/ 10673182 w 120"/>
              <a:gd name="T11" fmla="*/ 36741165 h 148"/>
              <a:gd name="T12" fmla="*/ 10101280 w 120"/>
              <a:gd name="T13" fmla="*/ 36464702 h 148"/>
              <a:gd name="T14" fmla="*/ 9529377 w 120"/>
              <a:gd name="T15" fmla="*/ 36188765 h 148"/>
              <a:gd name="T16" fmla="*/ 8957911 w 120"/>
              <a:gd name="T17" fmla="*/ 35636365 h 148"/>
              <a:gd name="T18" fmla="*/ 7814107 w 120"/>
              <a:gd name="T19" fmla="*/ 35359902 h 148"/>
              <a:gd name="T20" fmla="*/ 6479959 w 120"/>
              <a:gd name="T21" fmla="*/ 34531039 h 148"/>
              <a:gd name="T22" fmla="*/ 4955468 w 120"/>
              <a:gd name="T23" fmla="*/ 33149777 h 148"/>
              <a:gd name="T24" fmla="*/ 3621321 w 120"/>
              <a:gd name="T25" fmla="*/ 31768514 h 148"/>
              <a:gd name="T26" fmla="*/ 2096393 w 120"/>
              <a:gd name="T27" fmla="*/ 29834852 h 148"/>
              <a:gd name="T28" fmla="*/ 1143368 w 120"/>
              <a:gd name="T29" fmla="*/ 27901189 h 148"/>
              <a:gd name="T30" fmla="*/ 571902 w 120"/>
              <a:gd name="T31" fmla="*/ 26796389 h 148"/>
              <a:gd name="T32" fmla="*/ 381123 w 120"/>
              <a:gd name="T33" fmla="*/ 25967527 h 148"/>
              <a:gd name="T34" fmla="*/ 190780 w 120"/>
              <a:gd name="T35" fmla="*/ 24862727 h 148"/>
              <a:gd name="T36" fmla="*/ 0 w 120"/>
              <a:gd name="T37" fmla="*/ 24033864 h 148"/>
              <a:gd name="T38" fmla="*/ 381123 w 120"/>
              <a:gd name="T39" fmla="*/ 20166013 h 148"/>
              <a:gd name="T40" fmla="*/ 1524927 w 120"/>
              <a:gd name="T41" fmla="*/ 15193889 h 148"/>
              <a:gd name="T42" fmla="*/ 2668295 w 120"/>
              <a:gd name="T43" fmla="*/ 9668838 h 148"/>
              <a:gd name="T44" fmla="*/ 3811664 w 120"/>
              <a:gd name="T45" fmla="*/ 4972650 h 148"/>
              <a:gd name="T46" fmla="*/ 6098836 w 120"/>
              <a:gd name="T47" fmla="*/ 4696188 h 148"/>
              <a:gd name="T48" fmla="*/ 8004886 w 120"/>
              <a:gd name="T49" fmla="*/ 4420251 h 148"/>
              <a:gd name="T50" fmla="*/ 9720157 w 120"/>
              <a:gd name="T51" fmla="*/ 3867325 h 148"/>
              <a:gd name="T52" fmla="*/ 11054305 w 120"/>
              <a:gd name="T53" fmla="*/ 3038988 h 148"/>
              <a:gd name="T54" fmla="*/ 13341477 w 120"/>
              <a:gd name="T55" fmla="*/ 1381263 h 148"/>
              <a:gd name="T56" fmla="*/ 15247091 w 120"/>
              <a:gd name="T57" fmla="*/ 0 h 148"/>
              <a:gd name="T58" fmla="*/ 16200116 w 120"/>
              <a:gd name="T59" fmla="*/ 552400 h 148"/>
              <a:gd name="T60" fmla="*/ 17725043 w 120"/>
              <a:gd name="T61" fmla="*/ 1933663 h 148"/>
              <a:gd name="T62" fmla="*/ 18678068 w 120"/>
              <a:gd name="T63" fmla="*/ 2762525 h 148"/>
              <a:gd name="T64" fmla="*/ 19440314 w 120"/>
              <a:gd name="T65" fmla="*/ 3591388 h 148"/>
              <a:gd name="T66" fmla="*/ 20202559 w 120"/>
              <a:gd name="T67" fmla="*/ 4420251 h 148"/>
              <a:gd name="T68" fmla="*/ 20393339 w 120"/>
              <a:gd name="T69" fmla="*/ 4972650 h 148"/>
              <a:gd name="T70" fmla="*/ 19059191 w 120"/>
              <a:gd name="T71" fmla="*/ 7735176 h 148"/>
              <a:gd name="T72" fmla="*/ 17725043 w 120"/>
              <a:gd name="T73" fmla="*/ 10221238 h 148"/>
              <a:gd name="T74" fmla="*/ 18106166 w 120"/>
              <a:gd name="T75" fmla="*/ 11602501 h 148"/>
              <a:gd name="T76" fmla="*/ 18678068 w 120"/>
              <a:gd name="T77" fmla="*/ 13536163 h 148"/>
              <a:gd name="T78" fmla="*/ 19440314 w 120"/>
              <a:gd name="T79" fmla="*/ 15469826 h 148"/>
              <a:gd name="T80" fmla="*/ 20393339 w 120"/>
              <a:gd name="T81" fmla="*/ 17403488 h 148"/>
              <a:gd name="T82" fmla="*/ 21917830 w 120"/>
              <a:gd name="T83" fmla="*/ 20718939 h 148"/>
              <a:gd name="T84" fmla="*/ 22870855 w 120"/>
              <a:gd name="T85" fmla="*/ 21823739 h 148"/>
              <a:gd name="T86" fmla="*/ 21536707 w 120"/>
              <a:gd name="T87" fmla="*/ 22376139 h 148"/>
              <a:gd name="T88" fmla="*/ 20393339 w 120"/>
              <a:gd name="T89" fmla="*/ 23205001 h 148"/>
              <a:gd name="T90" fmla="*/ 19059191 w 120"/>
              <a:gd name="T91" fmla="*/ 24033864 h 148"/>
              <a:gd name="T92" fmla="*/ 18296509 w 120"/>
              <a:gd name="T93" fmla="*/ 25138664 h 148"/>
              <a:gd name="T94" fmla="*/ 17153141 w 120"/>
              <a:gd name="T95" fmla="*/ 26243464 h 148"/>
              <a:gd name="T96" fmla="*/ 16581239 w 120"/>
              <a:gd name="T97" fmla="*/ 27348789 h 148"/>
              <a:gd name="T98" fmla="*/ 15628214 w 120"/>
              <a:gd name="T99" fmla="*/ 28730052 h 148"/>
              <a:gd name="T100" fmla="*/ 15247091 w 120"/>
              <a:gd name="T101" fmla="*/ 30111314 h 148"/>
              <a:gd name="T102" fmla="*/ 14865968 w 120"/>
              <a:gd name="T103" fmla="*/ 31492577 h 148"/>
              <a:gd name="T104" fmla="*/ 14675625 w 120"/>
              <a:gd name="T105" fmla="*/ 33149777 h 148"/>
              <a:gd name="T106" fmla="*/ 14484845 w 120"/>
              <a:gd name="T107" fmla="*/ 34531039 h 148"/>
              <a:gd name="T108" fmla="*/ 14294502 w 120"/>
              <a:gd name="T109" fmla="*/ 35912302 h 148"/>
              <a:gd name="T110" fmla="*/ 14484845 w 120"/>
              <a:gd name="T111" fmla="*/ 37293564 h 148"/>
              <a:gd name="T112" fmla="*/ 14675625 w 120"/>
              <a:gd name="T113" fmla="*/ 38674827 h 148"/>
              <a:gd name="T114" fmla="*/ 14865968 w 120"/>
              <a:gd name="T115" fmla="*/ 39780152 h 148"/>
              <a:gd name="T116" fmla="*/ 15247091 w 120"/>
              <a:gd name="T117" fmla="*/ 40884952 h 148"/>
              <a:gd name="T118" fmla="*/ 14103723 w 120"/>
              <a:gd name="T119" fmla="*/ 35636365 h 148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120" h="148">
                <a:moveTo>
                  <a:pt x="74" y="129"/>
                </a:moveTo>
                <a:lnTo>
                  <a:pt x="70" y="131"/>
                </a:lnTo>
                <a:lnTo>
                  <a:pt x="67" y="132"/>
                </a:lnTo>
                <a:lnTo>
                  <a:pt x="64" y="133"/>
                </a:lnTo>
                <a:lnTo>
                  <a:pt x="60" y="133"/>
                </a:lnTo>
                <a:lnTo>
                  <a:pt x="56" y="133"/>
                </a:lnTo>
                <a:lnTo>
                  <a:pt x="53" y="132"/>
                </a:lnTo>
                <a:lnTo>
                  <a:pt x="50" y="131"/>
                </a:lnTo>
                <a:lnTo>
                  <a:pt x="47" y="129"/>
                </a:lnTo>
                <a:lnTo>
                  <a:pt x="41" y="128"/>
                </a:lnTo>
                <a:lnTo>
                  <a:pt x="34" y="125"/>
                </a:lnTo>
                <a:lnTo>
                  <a:pt x="26" y="120"/>
                </a:lnTo>
                <a:lnTo>
                  <a:pt x="19" y="115"/>
                </a:lnTo>
                <a:lnTo>
                  <a:pt x="11" y="108"/>
                </a:lnTo>
                <a:lnTo>
                  <a:pt x="6" y="101"/>
                </a:lnTo>
                <a:lnTo>
                  <a:pt x="3" y="97"/>
                </a:lnTo>
                <a:lnTo>
                  <a:pt x="2" y="94"/>
                </a:lnTo>
                <a:lnTo>
                  <a:pt x="1" y="90"/>
                </a:lnTo>
                <a:lnTo>
                  <a:pt x="0" y="87"/>
                </a:lnTo>
                <a:lnTo>
                  <a:pt x="2" y="73"/>
                </a:lnTo>
                <a:lnTo>
                  <a:pt x="8" y="55"/>
                </a:lnTo>
                <a:lnTo>
                  <a:pt x="14" y="35"/>
                </a:lnTo>
                <a:lnTo>
                  <a:pt x="20" y="18"/>
                </a:lnTo>
                <a:lnTo>
                  <a:pt x="32" y="17"/>
                </a:lnTo>
                <a:lnTo>
                  <a:pt x="42" y="16"/>
                </a:lnTo>
                <a:lnTo>
                  <a:pt x="51" y="14"/>
                </a:lnTo>
                <a:lnTo>
                  <a:pt x="58" y="11"/>
                </a:lnTo>
                <a:lnTo>
                  <a:pt x="70" y="5"/>
                </a:lnTo>
                <a:lnTo>
                  <a:pt x="80" y="0"/>
                </a:lnTo>
                <a:lnTo>
                  <a:pt x="85" y="2"/>
                </a:lnTo>
                <a:lnTo>
                  <a:pt x="93" y="7"/>
                </a:lnTo>
                <a:lnTo>
                  <a:pt x="98" y="10"/>
                </a:lnTo>
                <a:lnTo>
                  <a:pt x="102" y="13"/>
                </a:lnTo>
                <a:lnTo>
                  <a:pt x="106" y="16"/>
                </a:lnTo>
                <a:lnTo>
                  <a:pt x="107" y="18"/>
                </a:lnTo>
                <a:lnTo>
                  <a:pt x="100" y="28"/>
                </a:lnTo>
                <a:lnTo>
                  <a:pt x="93" y="37"/>
                </a:lnTo>
                <a:lnTo>
                  <a:pt x="95" y="42"/>
                </a:lnTo>
                <a:lnTo>
                  <a:pt x="98" y="49"/>
                </a:lnTo>
                <a:lnTo>
                  <a:pt x="102" y="56"/>
                </a:lnTo>
                <a:lnTo>
                  <a:pt x="107" y="63"/>
                </a:lnTo>
                <a:lnTo>
                  <a:pt x="115" y="75"/>
                </a:lnTo>
                <a:lnTo>
                  <a:pt x="120" y="79"/>
                </a:lnTo>
                <a:lnTo>
                  <a:pt x="113" y="81"/>
                </a:lnTo>
                <a:lnTo>
                  <a:pt x="107" y="84"/>
                </a:lnTo>
                <a:lnTo>
                  <a:pt x="100" y="87"/>
                </a:lnTo>
                <a:lnTo>
                  <a:pt x="96" y="91"/>
                </a:lnTo>
                <a:lnTo>
                  <a:pt x="90" y="95"/>
                </a:lnTo>
                <a:lnTo>
                  <a:pt x="87" y="99"/>
                </a:lnTo>
                <a:lnTo>
                  <a:pt x="82" y="104"/>
                </a:lnTo>
                <a:lnTo>
                  <a:pt x="80" y="109"/>
                </a:lnTo>
                <a:lnTo>
                  <a:pt x="78" y="114"/>
                </a:lnTo>
                <a:lnTo>
                  <a:pt x="77" y="120"/>
                </a:lnTo>
                <a:lnTo>
                  <a:pt x="76" y="125"/>
                </a:lnTo>
                <a:lnTo>
                  <a:pt x="75" y="130"/>
                </a:lnTo>
                <a:lnTo>
                  <a:pt x="76" y="135"/>
                </a:lnTo>
                <a:lnTo>
                  <a:pt x="77" y="140"/>
                </a:lnTo>
                <a:lnTo>
                  <a:pt x="78" y="144"/>
                </a:lnTo>
                <a:lnTo>
                  <a:pt x="80" y="148"/>
                </a:lnTo>
                <a:lnTo>
                  <a:pt x="74" y="12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fr-FR" dirty="0"/>
          </a:p>
        </p:txBody>
      </p:sp>
      <p:sp>
        <p:nvSpPr>
          <p:cNvPr id="86" name="Freeform 458"/>
          <p:cNvSpPr>
            <a:spLocks/>
          </p:cNvSpPr>
          <p:nvPr>
            <p:custDataLst>
              <p:tags r:id="rId66"/>
            </p:custDataLst>
          </p:nvPr>
        </p:nvSpPr>
        <p:spPr bwMode="auto">
          <a:xfrm>
            <a:off x="1266058" y="4098524"/>
            <a:ext cx="21653" cy="77953"/>
          </a:xfrm>
          <a:custGeom>
            <a:avLst/>
            <a:gdLst>
              <a:gd name="T0" fmla="*/ 1334097 w 40"/>
              <a:gd name="T1" fmla="*/ 11706532 h 93"/>
              <a:gd name="T2" fmla="*/ 1905977 w 40"/>
              <a:gd name="T3" fmla="*/ 11328605 h 93"/>
              <a:gd name="T4" fmla="*/ 2668194 w 40"/>
              <a:gd name="T5" fmla="*/ 9818124 h 93"/>
              <a:gd name="T6" fmla="*/ 3811518 w 40"/>
              <a:gd name="T7" fmla="*/ 7552403 h 93"/>
              <a:gd name="T8" fmla="*/ 4764507 w 40"/>
              <a:gd name="T9" fmla="*/ 5664610 h 93"/>
              <a:gd name="T10" fmla="*/ 6670047 w 40"/>
              <a:gd name="T11" fmla="*/ 1510481 h 93"/>
              <a:gd name="T12" fmla="*/ 7623036 w 40"/>
              <a:gd name="T13" fmla="*/ 0 h 93"/>
              <a:gd name="T14" fmla="*/ 7051156 w 40"/>
              <a:gd name="T15" fmla="*/ 9818124 h 93"/>
              <a:gd name="T16" fmla="*/ 6670047 w 40"/>
              <a:gd name="T17" fmla="*/ 20014176 h 93"/>
              <a:gd name="T18" fmla="*/ 6479712 w 40"/>
              <a:gd name="T19" fmla="*/ 24546232 h 93"/>
              <a:gd name="T20" fmla="*/ 6479712 w 40"/>
              <a:gd name="T21" fmla="*/ 29077674 h 93"/>
              <a:gd name="T22" fmla="*/ 6670047 w 40"/>
              <a:gd name="T23" fmla="*/ 30965468 h 93"/>
              <a:gd name="T24" fmla="*/ 6860820 w 40"/>
              <a:gd name="T25" fmla="*/ 32475948 h 93"/>
              <a:gd name="T26" fmla="*/ 7051156 w 40"/>
              <a:gd name="T27" fmla="*/ 33986429 h 93"/>
              <a:gd name="T28" fmla="*/ 7623036 w 40"/>
              <a:gd name="T29" fmla="*/ 35119597 h 93"/>
              <a:gd name="T30" fmla="*/ 4954843 w 40"/>
              <a:gd name="T31" fmla="*/ 35119597 h 93"/>
              <a:gd name="T32" fmla="*/ 2477421 w 40"/>
              <a:gd name="T33" fmla="*/ 35119597 h 93"/>
              <a:gd name="T34" fmla="*/ 2096313 w 40"/>
              <a:gd name="T35" fmla="*/ 34741669 h 93"/>
              <a:gd name="T36" fmla="*/ 1524433 w 40"/>
              <a:gd name="T37" fmla="*/ 34364356 h 93"/>
              <a:gd name="T38" fmla="*/ 1143324 w 40"/>
              <a:gd name="T39" fmla="*/ 33231189 h 93"/>
              <a:gd name="T40" fmla="*/ 762216 w 40"/>
              <a:gd name="T41" fmla="*/ 32475948 h 93"/>
              <a:gd name="T42" fmla="*/ 190772 w 40"/>
              <a:gd name="T43" fmla="*/ 30210227 h 93"/>
              <a:gd name="T44" fmla="*/ 0 w 40"/>
              <a:gd name="T45" fmla="*/ 27567194 h 93"/>
              <a:gd name="T46" fmla="*/ 190772 w 40"/>
              <a:gd name="T47" fmla="*/ 24168305 h 93"/>
              <a:gd name="T48" fmla="*/ 571881 w 40"/>
              <a:gd name="T49" fmla="*/ 18881623 h 93"/>
              <a:gd name="T50" fmla="*/ 1143324 w 40"/>
              <a:gd name="T51" fmla="*/ 13972253 h 93"/>
              <a:gd name="T52" fmla="*/ 1334097 w 40"/>
              <a:gd name="T53" fmla="*/ 11706532 h 93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0" t="0" r="r" b="b"/>
            <a:pathLst>
              <a:path w="40" h="93">
                <a:moveTo>
                  <a:pt x="7" y="31"/>
                </a:moveTo>
                <a:lnTo>
                  <a:pt x="10" y="30"/>
                </a:lnTo>
                <a:lnTo>
                  <a:pt x="14" y="26"/>
                </a:lnTo>
                <a:lnTo>
                  <a:pt x="20" y="20"/>
                </a:lnTo>
                <a:lnTo>
                  <a:pt x="25" y="15"/>
                </a:lnTo>
                <a:lnTo>
                  <a:pt x="35" y="4"/>
                </a:lnTo>
                <a:lnTo>
                  <a:pt x="40" y="0"/>
                </a:lnTo>
                <a:lnTo>
                  <a:pt x="37" y="26"/>
                </a:lnTo>
                <a:lnTo>
                  <a:pt x="35" y="53"/>
                </a:lnTo>
                <a:lnTo>
                  <a:pt x="34" y="65"/>
                </a:lnTo>
                <a:lnTo>
                  <a:pt x="34" y="77"/>
                </a:lnTo>
                <a:lnTo>
                  <a:pt x="35" y="82"/>
                </a:lnTo>
                <a:lnTo>
                  <a:pt x="36" y="86"/>
                </a:lnTo>
                <a:lnTo>
                  <a:pt x="37" y="90"/>
                </a:lnTo>
                <a:lnTo>
                  <a:pt x="40" y="93"/>
                </a:lnTo>
                <a:lnTo>
                  <a:pt x="26" y="93"/>
                </a:lnTo>
                <a:lnTo>
                  <a:pt x="13" y="93"/>
                </a:lnTo>
                <a:lnTo>
                  <a:pt x="11" y="92"/>
                </a:lnTo>
                <a:lnTo>
                  <a:pt x="8" y="91"/>
                </a:lnTo>
                <a:lnTo>
                  <a:pt x="6" y="88"/>
                </a:lnTo>
                <a:lnTo>
                  <a:pt x="4" y="86"/>
                </a:lnTo>
                <a:lnTo>
                  <a:pt x="1" y="80"/>
                </a:lnTo>
                <a:lnTo>
                  <a:pt x="0" y="73"/>
                </a:lnTo>
                <a:lnTo>
                  <a:pt x="1" y="64"/>
                </a:lnTo>
                <a:lnTo>
                  <a:pt x="3" y="50"/>
                </a:lnTo>
                <a:lnTo>
                  <a:pt x="6" y="37"/>
                </a:lnTo>
                <a:lnTo>
                  <a:pt x="7" y="3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fr-FR" dirty="0"/>
          </a:p>
        </p:txBody>
      </p:sp>
      <p:sp>
        <p:nvSpPr>
          <p:cNvPr id="87" name="Freeform 459"/>
          <p:cNvSpPr>
            <a:spLocks/>
          </p:cNvSpPr>
          <p:nvPr>
            <p:custDataLst>
              <p:tags r:id="rId67"/>
            </p:custDataLst>
          </p:nvPr>
        </p:nvSpPr>
        <p:spPr bwMode="auto">
          <a:xfrm>
            <a:off x="916064" y="3758563"/>
            <a:ext cx="366141" cy="372440"/>
          </a:xfrm>
          <a:custGeom>
            <a:avLst/>
            <a:gdLst>
              <a:gd name="T0" fmla="*/ 29464799 w 664"/>
              <a:gd name="T1" fmla="*/ 123647372 h 518"/>
              <a:gd name="T2" fmla="*/ 29860129 w 664"/>
              <a:gd name="T3" fmla="*/ 119757200 h 518"/>
              <a:gd name="T4" fmla="*/ 28871580 w 664"/>
              <a:gd name="T5" fmla="*/ 111143474 h 518"/>
              <a:gd name="T6" fmla="*/ 29860129 w 664"/>
              <a:gd name="T7" fmla="*/ 98084515 h 518"/>
              <a:gd name="T8" fmla="*/ 28871580 w 664"/>
              <a:gd name="T9" fmla="*/ 82802149 h 518"/>
              <a:gd name="T10" fmla="*/ 26498708 w 664"/>
              <a:gd name="T11" fmla="*/ 69742663 h 518"/>
              <a:gd name="T12" fmla="*/ 21554630 w 664"/>
              <a:gd name="T13" fmla="*/ 66964195 h 518"/>
              <a:gd name="T14" fmla="*/ 3955084 w 664"/>
              <a:gd name="T15" fmla="*/ 53349120 h 518"/>
              <a:gd name="T16" fmla="*/ 4746190 w 664"/>
              <a:gd name="T17" fmla="*/ 47513863 h 518"/>
              <a:gd name="T18" fmla="*/ 7119062 w 664"/>
              <a:gd name="T19" fmla="*/ 44179806 h 518"/>
              <a:gd name="T20" fmla="*/ 9491935 w 664"/>
              <a:gd name="T21" fmla="*/ 41123017 h 518"/>
              <a:gd name="T22" fmla="*/ 19774976 w 664"/>
              <a:gd name="T23" fmla="*/ 43068103 h 518"/>
              <a:gd name="T24" fmla="*/ 24718609 w 664"/>
              <a:gd name="T25" fmla="*/ 42234720 h 518"/>
              <a:gd name="T26" fmla="*/ 29069468 w 664"/>
              <a:gd name="T27" fmla="*/ 43623691 h 518"/>
              <a:gd name="T28" fmla="*/ 32628777 w 664"/>
              <a:gd name="T29" fmla="*/ 26118972 h 518"/>
              <a:gd name="T30" fmla="*/ 36583861 w 664"/>
              <a:gd name="T31" fmla="*/ 30286411 h 518"/>
              <a:gd name="T32" fmla="*/ 40934276 w 664"/>
              <a:gd name="T33" fmla="*/ 30564732 h 518"/>
              <a:gd name="T34" fmla="*/ 46669014 w 664"/>
              <a:gd name="T35" fmla="*/ 27507943 h 518"/>
              <a:gd name="T36" fmla="*/ 52205865 w 664"/>
              <a:gd name="T37" fmla="*/ 22228800 h 518"/>
              <a:gd name="T38" fmla="*/ 57149943 w 664"/>
              <a:gd name="T39" fmla="*/ 15837954 h 518"/>
              <a:gd name="T40" fmla="*/ 60907139 w 664"/>
              <a:gd name="T41" fmla="*/ 8891520 h 518"/>
              <a:gd name="T42" fmla="*/ 62884681 w 664"/>
              <a:gd name="T43" fmla="*/ 3334056 h 518"/>
              <a:gd name="T44" fmla="*/ 73167722 w 664"/>
              <a:gd name="T45" fmla="*/ 1111176 h 518"/>
              <a:gd name="T46" fmla="*/ 79891009 w 664"/>
              <a:gd name="T47" fmla="*/ 8891520 h 518"/>
              <a:gd name="T48" fmla="*/ 90371938 w 664"/>
              <a:gd name="T49" fmla="*/ 16949658 h 518"/>
              <a:gd name="T50" fmla="*/ 101050309 w 664"/>
              <a:gd name="T51" fmla="*/ 25007268 h 518"/>
              <a:gd name="T52" fmla="*/ 109158365 w 664"/>
              <a:gd name="T53" fmla="*/ 29730823 h 518"/>
              <a:gd name="T54" fmla="*/ 114299885 w 664"/>
              <a:gd name="T55" fmla="*/ 32231497 h 518"/>
              <a:gd name="T56" fmla="*/ 123198602 w 664"/>
              <a:gd name="T57" fmla="*/ 33620994 h 518"/>
              <a:gd name="T58" fmla="*/ 130119777 w 664"/>
              <a:gd name="T59" fmla="*/ 37788960 h 518"/>
              <a:gd name="T60" fmla="*/ 127549017 w 664"/>
              <a:gd name="T61" fmla="*/ 46124892 h 518"/>
              <a:gd name="T62" fmla="*/ 122605384 w 664"/>
              <a:gd name="T63" fmla="*/ 65574697 h 518"/>
              <a:gd name="T64" fmla="*/ 118254525 w 664"/>
              <a:gd name="T65" fmla="*/ 75577921 h 518"/>
              <a:gd name="T66" fmla="*/ 115683764 w 664"/>
              <a:gd name="T67" fmla="*/ 79467565 h 518"/>
              <a:gd name="T68" fmla="*/ 118452412 w 664"/>
              <a:gd name="T69" fmla="*/ 82802149 h 518"/>
              <a:gd name="T70" fmla="*/ 122209609 w 664"/>
              <a:gd name="T71" fmla="*/ 85302823 h 518"/>
              <a:gd name="T72" fmla="*/ 123198602 w 664"/>
              <a:gd name="T73" fmla="*/ 92804845 h 518"/>
              <a:gd name="T74" fmla="*/ 122605384 w 664"/>
              <a:gd name="T75" fmla="*/ 96417223 h 518"/>
              <a:gd name="T76" fmla="*/ 122209609 w 664"/>
              <a:gd name="T77" fmla="*/ 103363657 h 518"/>
              <a:gd name="T78" fmla="*/ 123000715 w 664"/>
              <a:gd name="T79" fmla="*/ 110865680 h 518"/>
              <a:gd name="T80" fmla="*/ 124978257 w 664"/>
              <a:gd name="T81" fmla="*/ 117534320 h 518"/>
              <a:gd name="T82" fmla="*/ 120232067 w 664"/>
              <a:gd name="T83" fmla="*/ 126981428 h 518"/>
              <a:gd name="T84" fmla="*/ 112519786 w 664"/>
              <a:gd name="T85" fmla="*/ 134483978 h 518"/>
              <a:gd name="T86" fmla="*/ 107180823 w 664"/>
              <a:gd name="T87" fmla="*/ 135872948 h 518"/>
              <a:gd name="T88" fmla="*/ 100654978 w 664"/>
              <a:gd name="T89" fmla="*/ 133650068 h 518"/>
              <a:gd name="T90" fmla="*/ 94327022 w 664"/>
              <a:gd name="T91" fmla="*/ 127815338 h 518"/>
              <a:gd name="T92" fmla="*/ 91558374 w 664"/>
              <a:gd name="T93" fmla="*/ 126703634 h 518"/>
              <a:gd name="T94" fmla="*/ 87603290 w 664"/>
              <a:gd name="T95" fmla="*/ 126981428 h 518"/>
              <a:gd name="T96" fmla="*/ 83648206 w 664"/>
              <a:gd name="T97" fmla="*/ 129204308 h 518"/>
              <a:gd name="T98" fmla="*/ 80286784 w 664"/>
              <a:gd name="T99" fmla="*/ 132538892 h 518"/>
              <a:gd name="T100" fmla="*/ 76727031 w 664"/>
              <a:gd name="T101" fmla="*/ 139763120 h 518"/>
              <a:gd name="T102" fmla="*/ 76133813 w 664"/>
              <a:gd name="T103" fmla="*/ 143653292 h 518"/>
              <a:gd name="T104" fmla="*/ 65850772 w 664"/>
              <a:gd name="T105" fmla="*/ 143097704 h 518"/>
              <a:gd name="T106" fmla="*/ 62686794 w 664"/>
              <a:gd name="T107" fmla="*/ 140874824 h 518"/>
              <a:gd name="T108" fmla="*/ 60709252 w 664"/>
              <a:gd name="T109" fmla="*/ 138929738 h 518"/>
              <a:gd name="T110" fmla="*/ 58534267 w 664"/>
              <a:gd name="T111" fmla="*/ 141152618 h 518"/>
              <a:gd name="T112" fmla="*/ 56754167 w 664"/>
              <a:gd name="T113" fmla="*/ 143375498 h 518"/>
              <a:gd name="T114" fmla="*/ 52996971 w 664"/>
              <a:gd name="T115" fmla="*/ 143375498 h 518"/>
              <a:gd name="T116" fmla="*/ 44889360 w 664"/>
              <a:gd name="T117" fmla="*/ 140597029 h 518"/>
              <a:gd name="T118" fmla="*/ 36583861 w 664"/>
              <a:gd name="T119" fmla="*/ 135317360 h 518"/>
              <a:gd name="T120" fmla="*/ 31640228 w 664"/>
              <a:gd name="T121" fmla="*/ 130316012 h 518"/>
              <a:gd name="T122" fmla="*/ 28871580 w 664"/>
              <a:gd name="T123" fmla="*/ 125036869 h 518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0" t="0" r="r" b="b"/>
            <a:pathLst>
              <a:path w="664" h="518">
                <a:moveTo>
                  <a:pt x="146" y="450"/>
                </a:moveTo>
                <a:lnTo>
                  <a:pt x="148" y="447"/>
                </a:lnTo>
                <a:lnTo>
                  <a:pt x="149" y="445"/>
                </a:lnTo>
                <a:lnTo>
                  <a:pt x="150" y="441"/>
                </a:lnTo>
                <a:lnTo>
                  <a:pt x="151" y="438"/>
                </a:lnTo>
                <a:lnTo>
                  <a:pt x="151" y="431"/>
                </a:lnTo>
                <a:lnTo>
                  <a:pt x="150" y="424"/>
                </a:lnTo>
                <a:lnTo>
                  <a:pt x="147" y="411"/>
                </a:lnTo>
                <a:lnTo>
                  <a:pt x="146" y="400"/>
                </a:lnTo>
                <a:lnTo>
                  <a:pt x="147" y="378"/>
                </a:lnTo>
                <a:lnTo>
                  <a:pt x="149" y="364"/>
                </a:lnTo>
                <a:lnTo>
                  <a:pt x="151" y="353"/>
                </a:lnTo>
                <a:lnTo>
                  <a:pt x="152" y="339"/>
                </a:lnTo>
                <a:lnTo>
                  <a:pt x="150" y="320"/>
                </a:lnTo>
                <a:lnTo>
                  <a:pt x="146" y="298"/>
                </a:lnTo>
                <a:lnTo>
                  <a:pt x="141" y="273"/>
                </a:lnTo>
                <a:lnTo>
                  <a:pt x="139" y="252"/>
                </a:lnTo>
                <a:lnTo>
                  <a:pt x="134" y="251"/>
                </a:lnTo>
                <a:lnTo>
                  <a:pt x="127" y="249"/>
                </a:lnTo>
                <a:lnTo>
                  <a:pt x="119" y="246"/>
                </a:lnTo>
                <a:lnTo>
                  <a:pt x="109" y="241"/>
                </a:lnTo>
                <a:lnTo>
                  <a:pt x="87" y="231"/>
                </a:lnTo>
                <a:lnTo>
                  <a:pt x="64" y="217"/>
                </a:lnTo>
                <a:lnTo>
                  <a:pt x="20" y="192"/>
                </a:lnTo>
                <a:lnTo>
                  <a:pt x="0" y="178"/>
                </a:lnTo>
                <a:lnTo>
                  <a:pt x="19" y="172"/>
                </a:lnTo>
                <a:lnTo>
                  <a:pt x="24" y="171"/>
                </a:lnTo>
                <a:lnTo>
                  <a:pt x="28" y="168"/>
                </a:lnTo>
                <a:lnTo>
                  <a:pt x="31" y="165"/>
                </a:lnTo>
                <a:lnTo>
                  <a:pt x="36" y="159"/>
                </a:lnTo>
                <a:lnTo>
                  <a:pt x="39" y="155"/>
                </a:lnTo>
                <a:lnTo>
                  <a:pt x="44" y="151"/>
                </a:lnTo>
                <a:lnTo>
                  <a:pt x="48" y="148"/>
                </a:lnTo>
                <a:lnTo>
                  <a:pt x="52" y="147"/>
                </a:lnTo>
                <a:lnTo>
                  <a:pt x="92" y="159"/>
                </a:lnTo>
                <a:lnTo>
                  <a:pt x="100" y="155"/>
                </a:lnTo>
                <a:lnTo>
                  <a:pt x="108" y="153"/>
                </a:lnTo>
                <a:lnTo>
                  <a:pt x="116" y="152"/>
                </a:lnTo>
                <a:lnTo>
                  <a:pt x="125" y="152"/>
                </a:lnTo>
                <a:lnTo>
                  <a:pt x="132" y="153"/>
                </a:lnTo>
                <a:lnTo>
                  <a:pt x="140" y="155"/>
                </a:lnTo>
                <a:lnTo>
                  <a:pt x="147" y="157"/>
                </a:lnTo>
                <a:lnTo>
                  <a:pt x="152" y="159"/>
                </a:lnTo>
                <a:lnTo>
                  <a:pt x="152" y="86"/>
                </a:lnTo>
                <a:lnTo>
                  <a:pt x="165" y="94"/>
                </a:lnTo>
                <a:lnTo>
                  <a:pt x="175" y="102"/>
                </a:lnTo>
                <a:lnTo>
                  <a:pt x="181" y="105"/>
                </a:lnTo>
                <a:lnTo>
                  <a:pt x="185" y="109"/>
                </a:lnTo>
                <a:lnTo>
                  <a:pt x="192" y="110"/>
                </a:lnTo>
                <a:lnTo>
                  <a:pt x="198" y="111"/>
                </a:lnTo>
                <a:lnTo>
                  <a:pt x="207" y="110"/>
                </a:lnTo>
                <a:lnTo>
                  <a:pt x="217" y="107"/>
                </a:lnTo>
                <a:lnTo>
                  <a:pt x="226" y="103"/>
                </a:lnTo>
                <a:lnTo>
                  <a:pt x="236" y="99"/>
                </a:lnTo>
                <a:lnTo>
                  <a:pt x="246" y="93"/>
                </a:lnTo>
                <a:lnTo>
                  <a:pt x="255" y="87"/>
                </a:lnTo>
                <a:lnTo>
                  <a:pt x="264" y="80"/>
                </a:lnTo>
                <a:lnTo>
                  <a:pt x="273" y="73"/>
                </a:lnTo>
                <a:lnTo>
                  <a:pt x="282" y="65"/>
                </a:lnTo>
                <a:lnTo>
                  <a:pt x="289" y="57"/>
                </a:lnTo>
                <a:lnTo>
                  <a:pt x="297" y="48"/>
                </a:lnTo>
                <a:lnTo>
                  <a:pt x="303" y="40"/>
                </a:lnTo>
                <a:lnTo>
                  <a:pt x="308" y="32"/>
                </a:lnTo>
                <a:lnTo>
                  <a:pt x="313" y="25"/>
                </a:lnTo>
                <a:lnTo>
                  <a:pt x="316" y="18"/>
                </a:lnTo>
                <a:lnTo>
                  <a:pt x="318" y="12"/>
                </a:lnTo>
                <a:lnTo>
                  <a:pt x="337" y="11"/>
                </a:lnTo>
                <a:lnTo>
                  <a:pt x="354" y="8"/>
                </a:lnTo>
                <a:lnTo>
                  <a:pt x="370" y="4"/>
                </a:lnTo>
                <a:lnTo>
                  <a:pt x="385" y="0"/>
                </a:lnTo>
                <a:lnTo>
                  <a:pt x="385" y="24"/>
                </a:lnTo>
                <a:lnTo>
                  <a:pt x="404" y="32"/>
                </a:lnTo>
                <a:lnTo>
                  <a:pt x="422" y="40"/>
                </a:lnTo>
                <a:lnTo>
                  <a:pt x="440" y="50"/>
                </a:lnTo>
                <a:lnTo>
                  <a:pt x="457" y="61"/>
                </a:lnTo>
                <a:lnTo>
                  <a:pt x="475" y="72"/>
                </a:lnTo>
                <a:lnTo>
                  <a:pt x="493" y="81"/>
                </a:lnTo>
                <a:lnTo>
                  <a:pt x="511" y="90"/>
                </a:lnTo>
                <a:lnTo>
                  <a:pt x="531" y="98"/>
                </a:lnTo>
                <a:lnTo>
                  <a:pt x="538" y="101"/>
                </a:lnTo>
                <a:lnTo>
                  <a:pt x="552" y="107"/>
                </a:lnTo>
                <a:lnTo>
                  <a:pt x="561" y="111"/>
                </a:lnTo>
                <a:lnTo>
                  <a:pt x="569" y="114"/>
                </a:lnTo>
                <a:lnTo>
                  <a:pt x="578" y="116"/>
                </a:lnTo>
                <a:lnTo>
                  <a:pt x="584" y="117"/>
                </a:lnTo>
                <a:lnTo>
                  <a:pt x="604" y="118"/>
                </a:lnTo>
                <a:lnTo>
                  <a:pt x="623" y="121"/>
                </a:lnTo>
                <a:lnTo>
                  <a:pt x="644" y="124"/>
                </a:lnTo>
                <a:lnTo>
                  <a:pt x="664" y="129"/>
                </a:lnTo>
                <a:lnTo>
                  <a:pt x="658" y="136"/>
                </a:lnTo>
                <a:lnTo>
                  <a:pt x="654" y="145"/>
                </a:lnTo>
                <a:lnTo>
                  <a:pt x="650" y="155"/>
                </a:lnTo>
                <a:lnTo>
                  <a:pt x="645" y="166"/>
                </a:lnTo>
                <a:lnTo>
                  <a:pt x="638" y="189"/>
                </a:lnTo>
                <a:lnTo>
                  <a:pt x="629" y="212"/>
                </a:lnTo>
                <a:lnTo>
                  <a:pt x="620" y="236"/>
                </a:lnTo>
                <a:lnTo>
                  <a:pt x="609" y="256"/>
                </a:lnTo>
                <a:lnTo>
                  <a:pt x="604" y="265"/>
                </a:lnTo>
                <a:lnTo>
                  <a:pt x="598" y="272"/>
                </a:lnTo>
                <a:lnTo>
                  <a:pt x="591" y="279"/>
                </a:lnTo>
                <a:lnTo>
                  <a:pt x="584" y="283"/>
                </a:lnTo>
                <a:lnTo>
                  <a:pt x="585" y="286"/>
                </a:lnTo>
                <a:lnTo>
                  <a:pt x="588" y="290"/>
                </a:lnTo>
                <a:lnTo>
                  <a:pt x="593" y="294"/>
                </a:lnTo>
                <a:lnTo>
                  <a:pt x="599" y="298"/>
                </a:lnTo>
                <a:lnTo>
                  <a:pt x="606" y="301"/>
                </a:lnTo>
                <a:lnTo>
                  <a:pt x="612" y="304"/>
                </a:lnTo>
                <a:lnTo>
                  <a:pt x="618" y="307"/>
                </a:lnTo>
                <a:lnTo>
                  <a:pt x="623" y="307"/>
                </a:lnTo>
                <a:lnTo>
                  <a:pt x="623" y="326"/>
                </a:lnTo>
                <a:lnTo>
                  <a:pt x="623" y="334"/>
                </a:lnTo>
                <a:lnTo>
                  <a:pt x="622" y="340"/>
                </a:lnTo>
                <a:lnTo>
                  <a:pt x="622" y="344"/>
                </a:lnTo>
                <a:lnTo>
                  <a:pt x="620" y="347"/>
                </a:lnTo>
                <a:lnTo>
                  <a:pt x="618" y="353"/>
                </a:lnTo>
                <a:lnTo>
                  <a:pt x="617" y="363"/>
                </a:lnTo>
                <a:lnTo>
                  <a:pt x="618" y="372"/>
                </a:lnTo>
                <a:lnTo>
                  <a:pt x="618" y="381"/>
                </a:lnTo>
                <a:lnTo>
                  <a:pt x="620" y="391"/>
                </a:lnTo>
                <a:lnTo>
                  <a:pt x="622" y="399"/>
                </a:lnTo>
                <a:lnTo>
                  <a:pt x="624" y="408"/>
                </a:lnTo>
                <a:lnTo>
                  <a:pt x="629" y="416"/>
                </a:lnTo>
                <a:lnTo>
                  <a:pt x="632" y="423"/>
                </a:lnTo>
                <a:lnTo>
                  <a:pt x="638" y="430"/>
                </a:lnTo>
                <a:lnTo>
                  <a:pt x="622" y="444"/>
                </a:lnTo>
                <a:lnTo>
                  <a:pt x="608" y="457"/>
                </a:lnTo>
                <a:lnTo>
                  <a:pt x="593" y="469"/>
                </a:lnTo>
                <a:lnTo>
                  <a:pt x="577" y="480"/>
                </a:lnTo>
                <a:lnTo>
                  <a:pt x="569" y="484"/>
                </a:lnTo>
                <a:lnTo>
                  <a:pt x="561" y="487"/>
                </a:lnTo>
                <a:lnTo>
                  <a:pt x="551" y="489"/>
                </a:lnTo>
                <a:lnTo>
                  <a:pt x="542" y="489"/>
                </a:lnTo>
                <a:lnTo>
                  <a:pt x="532" y="488"/>
                </a:lnTo>
                <a:lnTo>
                  <a:pt x="521" y="485"/>
                </a:lnTo>
                <a:lnTo>
                  <a:pt x="509" y="481"/>
                </a:lnTo>
                <a:lnTo>
                  <a:pt x="497" y="474"/>
                </a:lnTo>
                <a:lnTo>
                  <a:pt x="487" y="466"/>
                </a:lnTo>
                <a:lnTo>
                  <a:pt x="477" y="460"/>
                </a:lnTo>
                <a:lnTo>
                  <a:pt x="473" y="458"/>
                </a:lnTo>
                <a:lnTo>
                  <a:pt x="467" y="457"/>
                </a:lnTo>
                <a:lnTo>
                  <a:pt x="463" y="456"/>
                </a:lnTo>
                <a:lnTo>
                  <a:pt x="457" y="456"/>
                </a:lnTo>
                <a:lnTo>
                  <a:pt x="450" y="456"/>
                </a:lnTo>
                <a:lnTo>
                  <a:pt x="443" y="457"/>
                </a:lnTo>
                <a:lnTo>
                  <a:pt x="436" y="459"/>
                </a:lnTo>
                <a:lnTo>
                  <a:pt x="429" y="462"/>
                </a:lnTo>
                <a:lnTo>
                  <a:pt x="423" y="465"/>
                </a:lnTo>
                <a:lnTo>
                  <a:pt x="417" y="468"/>
                </a:lnTo>
                <a:lnTo>
                  <a:pt x="411" y="472"/>
                </a:lnTo>
                <a:lnTo>
                  <a:pt x="406" y="477"/>
                </a:lnTo>
                <a:lnTo>
                  <a:pt x="397" y="486"/>
                </a:lnTo>
                <a:lnTo>
                  <a:pt x="390" y="496"/>
                </a:lnTo>
                <a:lnTo>
                  <a:pt x="388" y="503"/>
                </a:lnTo>
                <a:lnTo>
                  <a:pt x="386" y="508"/>
                </a:lnTo>
                <a:lnTo>
                  <a:pt x="385" y="512"/>
                </a:lnTo>
                <a:lnTo>
                  <a:pt x="385" y="517"/>
                </a:lnTo>
                <a:lnTo>
                  <a:pt x="364" y="518"/>
                </a:lnTo>
                <a:lnTo>
                  <a:pt x="343" y="517"/>
                </a:lnTo>
                <a:lnTo>
                  <a:pt x="333" y="515"/>
                </a:lnTo>
                <a:lnTo>
                  <a:pt x="325" y="512"/>
                </a:lnTo>
                <a:lnTo>
                  <a:pt x="321" y="510"/>
                </a:lnTo>
                <a:lnTo>
                  <a:pt x="317" y="507"/>
                </a:lnTo>
                <a:lnTo>
                  <a:pt x="314" y="503"/>
                </a:lnTo>
                <a:lnTo>
                  <a:pt x="311" y="499"/>
                </a:lnTo>
                <a:lnTo>
                  <a:pt x="307" y="500"/>
                </a:lnTo>
                <a:lnTo>
                  <a:pt x="303" y="502"/>
                </a:lnTo>
                <a:lnTo>
                  <a:pt x="299" y="505"/>
                </a:lnTo>
                <a:lnTo>
                  <a:pt x="296" y="508"/>
                </a:lnTo>
                <a:lnTo>
                  <a:pt x="293" y="511"/>
                </a:lnTo>
                <a:lnTo>
                  <a:pt x="289" y="514"/>
                </a:lnTo>
                <a:lnTo>
                  <a:pt x="287" y="516"/>
                </a:lnTo>
                <a:lnTo>
                  <a:pt x="285" y="517"/>
                </a:lnTo>
                <a:lnTo>
                  <a:pt x="277" y="517"/>
                </a:lnTo>
                <a:lnTo>
                  <a:pt x="268" y="516"/>
                </a:lnTo>
                <a:lnTo>
                  <a:pt x="259" y="514"/>
                </a:lnTo>
                <a:lnTo>
                  <a:pt x="248" y="512"/>
                </a:lnTo>
                <a:lnTo>
                  <a:pt x="227" y="506"/>
                </a:lnTo>
                <a:lnTo>
                  <a:pt x="205" y="496"/>
                </a:lnTo>
                <a:lnTo>
                  <a:pt x="195" y="492"/>
                </a:lnTo>
                <a:lnTo>
                  <a:pt x="185" y="487"/>
                </a:lnTo>
                <a:lnTo>
                  <a:pt x="175" y="481"/>
                </a:lnTo>
                <a:lnTo>
                  <a:pt x="168" y="475"/>
                </a:lnTo>
                <a:lnTo>
                  <a:pt x="160" y="469"/>
                </a:lnTo>
                <a:lnTo>
                  <a:pt x="153" y="463"/>
                </a:lnTo>
                <a:lnTo>
                  <a:pt x="149" y="456"/>
                </a:lnTo>
                <a:lnTo>
                  <a:pt x="146" y="45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fr-FR" dirty="0"/>
          </a:p>
        </p:txBody>
      </p:sp>
      <p:sp>
        <p:nvSpPr>
          <p:cNvPr id="88" name="Freeform 460"/>
          <p:cNvSpPr>
            <a:spLocks/>
          </p:cNvSpPr>
          <p:nvPr>
            <p:custDataLst>
              <p:tags r:id="rId68"/>
            </p:custDataLst>
          </p:nvPr>
        </p:nvSpPr>
        <p:spPr bwMode="auto">
          <a:xfrm>
            <a:off x="2159757" y="4079035"/>
            <a:ext cx="187007" cy="112598"/>
          </a:xfrm>
          <a:custGeom>
            <a:avLst/>
            <a:gdLst>
              <a:gd name="T0" fmla="*/ 60943044 w 352"/>
              <a:gd name="T1" fmla="*/ 26490457 h 153"/>
              <a:gd name="T2" fmla="*/ 64614373 w 352"/>
              <a:gd name="T3" fmla="*/ 44539232 h 153"/>
              <a:gd name="T4" fmla="*/ 59841516 w 352"/>
              <a:gd name="T5" fmla="*/ 41045694 h 153"/>
              <a:gd name="T6" fmla="*/ 54885714 w 352"/>
              <a:gd name="T7" fmla="*/ 37552696 h 153"/>
              <a:gd name="T8" fmla="*/ 48827956 w 352"/>
              <a:gd name="T9" fmla="*/ 41045694 h 153"/>
              <a:gd name="T10" fmla="*/ 42586824 w 352"/>
              <a:gd name="T11" fmla="*/ 41045694 h 153"/>
              <a:gd name="T12" fmla="*/ 41669099 w 352"/>
              <a:gd name="T13" fmla="*/ 39299195 h 153"/>
              <a:gd name="T14" fmla="*/ 41485296 w 352"/>
              <a:gd name="T15" fmla="*/ 39299195 h 153"/>
              <a:gd name="T16" fmla="*/ 40200395 w 352"/>
              <a:gd name="T17" fmla="*/ 37552696 h 153"/>
              <a:gd name="T18" fmla="*/ 39098868 w 352"/>
              <a:gd name="T19" fmla="*/ 36388364 h 153"/>
              <a:gd name="T20" fmla="*/ 37630593 w 352"/>
              <a:gd name="T21" fmla="*/ 35224031 h 153"/>
              <a:gd name="T22" fmla="*/ 36161890 w 352"/>
              <a:gd name="T23" fmla="*/ 34350512 h 153"/>
              <a:gd name="T24" fmla="*/ 33224912 w 352"/>
              <a:gd name="T25" fmla="*/ 32894826 h 153"/>
              <a:gd name="T26" fmla="*/ 29920758 w 352"/>
              <a:gd name="T27" fmla="*/ 32021846 h 153"/>
              <a:gd name="T28" fmla="*/ 23129077 w 352"/>
              <a:gd name="T29" fmla="*/ 31148327 h 153"/>
              <a:gd name="T30" fmla="*/ 15786417 w 352"/>
              <a:gd name="T31" fmla="*/ 30274808 h 153"/>
              <a:gd name="T32" fmla="*/ 15603044 w 352"/>
              <a:gd name="T33" fmla="*/ 27363976 h 153"/>
              <a:gd name="T34" fmla="*/ 15052066 w 352"/>
              <a:gd name="T35" fmla="*/ 24453144 h 153"/>
              <a:gd name="T36" fmla="*/ 14684890 w 352"/>
              <a:gd name="T37" fmla="*/ 21833126 h 153"/>
              <a:gd name="T38" fmla="*/ 13767165 w 352"/>
              <a:gd name="T39" fmla="*/ 19503921 h 153"/>
              <a:gd name="T40" fmla="*/ 13032813 w 352"/>
              <a:gd name="T41" fmla="*/ 17175256 h 153"/>
              <a:gd name="T42" fmla="*/ 12298890 w 352"/>
              <a:gd name="T43" fmla="*/ 15137404 h 153"/>
              <a:gd name="T44" fmla="*/ 11197363 w 352"/>
              <a:gd name="T45" fmla="*/ 12808739 h 153"/>
              <a:gd name="T46" fmla="*/ 10279637 w 352"/>
              <a:gd name="T47" fmla="*/ 10770887 h 153"/>
              <a:gd name="T48" fmla="*/ 8077011 w 352"/>
              <a:gd name="T49" fmla="*/ 7568702 h 153"/>
              <a:gd name="T50" fmla="*/ 5323407 w 352"/>
              <a:gd name="T51" fmla="*/ 4657870 h 153"/>
              <a:gd name="T52" fmla="*/ 2753604 w 352"/>
              <a:gd name="T53" fmla="*/ 2037852 h 153"/>
              <a:gd name="T54" fmla="*/ 0 w 352"/>
              <a:gd name="T55" fmla="*/ 0 h 153"/>
              <a:gd name="T56" fmla="*/ 1284901 w 352"/>
              <a:gd name="T57" fmla="*/ 0 h 153"/>
              <a:gd name="T58" fmla="*/ 11013989 w 352"/>
              <a:gd name="T59" fmla="*/ 5240037 h 153"/>
              <a:gd name="T60" fmla="*/ 19457747 w 352"/>
              <a:gd name="T61" fmla="*/ 8733035 h 153"/>
              <a:gd name="T62" fmla="*/ 24597352 w 352"/>
              <a:gd name="T63" fmla="*/ 5240037 h 153"/>
              <a:gd name="T64" fmla="*/ 33041538 w 352"/>
              <a:gd name="T65" fmla="*/ 10480073 h 153"/>
              <a:gd name="T66" fmla="*/ 37813967 w 352"/>
              <a:gd name="T67" fmla="*/ 16010923 h 153"/>
              <a:gd name="T68" fmla="*/ 45156626 w 352"/>
              <a:gd name="T69" fmla="*/ 14264424 h 153"/>
              <a:gd name="T70" fmla="*/ 52499285 w 352"/>
              <a:gd name="T71" fmla="*/ 17757422 h 153"/>
              <a:gd name="T72" fmla="*/ 57455516 w 352"/>
              <a:gd name="T73" fmla="*/ 22997459 h 153"/>
              <a:gd name="T74" fmla="*/ 60943044 w 352"/>
              <a:gd name="T75" fmla="*/ 26490457 h 153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0" t="0" r="r" b="b"/>
            <a:pathLst>
              <a:path w="352" h="153">
                <a:moveTo>
                  <a:pt x="332" y="91"/>
                </a:moveTo>
                <a:lnTo>
                  <a:pt x="352" y="153"/>
                </a:lnTo>
                <a:lnTo>
                  <a:pt x="326" y="141"/>
                </a:lnTo>
                <a:lnTo>
                  <a:pt x="299" y="129"/>
                </a:lnTo>
                <a:lnTo>
                  <a:pt x="266" y="141"/>
                </a:lnTo>
                <a:lnTo>
                  <a:pt x="232" y="141"/>
                </a:lnTo>
                <a:lnTo>
                  <a:pt x="227" y="135"/>
                </a:lnTo>
                <a:lnTo>
                  <a:pt x="226" y="135"/>
                </a:lnTo>
                <a:lnTo>
                  <a:pt x="219" y="129"/>
                </a:lnTo>
                <a:lnTo>
                  <a:pt x="213" y="125"/>
                </a:lnTo>
                <a:lnTo>
                  <a:pt x="205" y="121"/>
                </a:lnTo>
                <a:lnTo>
                  <a:pt x="197" y="118"/>
                </a:lnTo>
                <a:lnTo>
                  <a:pt x="181" y="113"/>
                </a:lnTo>
                <a:lnTo>
                  <a:pt x="163" y="110"/>
                </a:lnTo>
                <a:lnTo>
                  <a:pt x="126" y="107"/>
                </a:lnTo>
                <a:lnTo>
                  <a:pt x="86" y="104"/>
                </a:lnTo>
                <a:lnTo>
                  <a:pt x="85" y="94"/>
                </a:lnTo>
                <a:lnTo>
                  <a:pt x="82" y="84"/>
                </a:lnTo>
                <a:lnTo>
                  <a:pt x="80" y="75"/>
                </a:lnTo>
                <a:lnTo>
                  <a:pt x="75" y="67"/>
                </a:lnTo>
                <a:lnTo>
                  <a:pt x="71" y="59"/>
                </a:lnTo>
                <a:lnTo>
                  <a:pt x="67" y="52"/>
                </a:lnTo>
                <a:lnTo>
                  <a:pt x="61" y="44"/>
                </a:lnTo>
                <a:lnTo>
                  <a:pt x="56" y="37"/>
                </a:lnTo>
                <a:lnTo>
                  <a:pt x="44" y="26"/>
                </a:lnTo>
                <a:lnTo>
                  <a:pt x="29" y="16"/>
                </a:lnTo>
                <a:lnTo>
                  <a:pt x="15" y="7"/>
                </a:lnTo>
                <a:lnTo>
                  <a:pt x="0" y="0"/>
                </a:lnTo>
                <a:lnTo>
                  <a:pt x="7" y="0"/>
                </a:lnTo>
                <a:lnTo>
                  <a:pt x="60" y="18"/>
                </a:lnTo>
                <a:lnTo>
                  <a:pt x="106" y="30"/>
                </a:lnTo>
                <a:lnTo>
                  <a:pt x="134" y="18"/>
                </a:lnTo>
                <a:lnTo>
                  <a:pt x="180" y="36"/>
                </a:lnTo>
                <a:lnTo>
                  <a:pt x="206" y="55"/>
                </a:lnTo>
                <a:lnTo>
                  <a:pt x="246" y="49"/>
                </a:lnTo>
                <a:lnTo>
                  <a:pt x="286" y="61"/>
                </a:lnTo>
                <a:lnTo>
                  <a:pt x="313" y="79"/>
                </a:lnTo>
                <a:lnTo>
                  <a:pt x="332" y="9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 dirty="0"/>
          </a:p>
        </p:txBody>
      </p:sp>
      <p:sp>
        <p:nvSpPr>
          <p:cNvPr id="89" name="Freeform 461"/>
          <p:cNvSpPr>
            <a:spLocks/>
          </p:cNvSpPr>
          <p:nvPr>
            <p:custDataLst>
              <p:tags r:id="rId69"/>
            </p:custDataLst>
          </p:nvPr>
        </p:nvSpPr>
        <p:spPr bwMode="auto">
          <a:xfrm>
            <a:off x="1600703" y="4161318"/>
            <a:ext cx="183070" cy="236024"/>
          </a:xfrm>
          <a:custGeom>
            <a:avLst/>
            <a:gdLst>
              <a:gd name="T0" fmla="*/ 45757657 w 331"/>
              <a:gd name="T1" fmla="*/ 11200903 h 327"/>
              <a:gd name="T2" fmla="*/ 38396325 w 331"/>
              <a:gd name="T3" fmla="*/ 15680841 h 327"/>
              <a:gd name="T4" fmla="*/ 36208086 w 331"/>
              <a:gd name="T5" fmla="*/ 18761129 h 327"/>
              <a:gd name="T6" fmla="*/ 36009155 w 331"/>
              <a:gd name="T7" fmla="*/ 22681736 h 327"/>
              <a:gd name="T8" fmla="*/ 36605947 w 331"/>
              <a:gd name="T9" fmla="*/ 26321884 h 327"/>
              <a:gd name="T10" fmla="*/ 35213432 w 331"/>
              <a:gd name="T11" fmla="*/ 28561853 h 327"/>
              <a:gd name="T12" fmla="*/ 33423054 w 331"/>
              <a:gd name="T13" fmla="*/ 29402172 h 327"/>
              <a:gd name="T14" fmla="*/ 31831162 w 331"/>
              <a:gd name="T15" fmla="*/ 27441604 h 327"/>
              <a:gd name="T16" fmla="*/ 29642923 w 331"/>
              <a:gd name="T17" fmla="*/ 23801456 h 327"/>
              <a:gd name="T18" fmla="*/ 25067068 w 331"/>
              <a:gd name="T19" fmla="*/ 20721168 h 327"/>
              <a:gd name="T20" fmla="*/ 25265998 w 331"/>
              <a:gd name="T21" fmla="*/ 26881744 h 327"/>
              <a:gd name="T22" fmla="*/ 27653614 w 331"/>
              <a:gd name="T23" fmla="*/ 32482461 h 327"/>
              <a:gd name="T24" fmla="*/ 30637577 w 331"/>
              <a:gd name="T25" fmla="*/ 36122609 h 327"/>
              <a:gd name="T26" fmla="*/ 31632231 w 331"/>
              <a:gd name="T27" fmla="*/ 36402539 h 327"/>
              <a:gd name="T28" fmla="*/ 31632231 w 331"/>
              <a:gd name="T29" fmla="*/ 49563481 h 327"/>
              <a:gd name="T30" fmla="*/ 31632231 w 331"/>
              <a:gd name="T31" fmla="*/ 66364571 h 327"/>
              <a:gd name="T32" fmla="*/ 31035438 w 331"/>
              <a:gd name="T33" fmla="*/ 70284649 h 327"/>
              <a:gd name="T34" fmla="*/ 29245061 w 331"/>
              <a:gd name="T35" fmla="*/ 72525147 h 327"/>
              <a:gd name="T36" fmla="*/ 28847199 w 331"/>
              <a:gd name="T37" fmla="*/ 73924797 h 327"/>
              <a:gd name="T38" fmla="*/ 32229023 w 331"/>
              <a:gd name="T39" fmla="*/ 77285015 h 327"/>
              <a:gd name="T40" fmla="*/ 33224123 w 331"/>
              <a:gd name="T41" fmla="*/ 80085373 h 327"/>
              <a:gd name="T42" fmla="*/ 30836508 w 331"/>
              <a:gd name="T43" fmla="*/ 82605801 h 327"/>
              <a:gd name="T44" fmla="*/ 27852545 w 331"/>
              <a:gd name="T45" fmla="*/ 83165661 h 327"/>
              <a:gd name="T46" fmla="*/ 25862791 w 331"/>
              <a:gd name="T47" fmla="*/ 85966019 h 327"/>
              <a:gd name="T48" fmla="*/ 25067068 w 331"/>
              <a:gd name="T49" fmla="*/ 89886097 h 327"/>
              <a:gd name="T50" fmla="*/ 24072414 w 331"/>
              <a:gd name="T51" fmla="*/ 84005451 h 327"/>
              <a:gd name="T52" fmla="*/ 24669206 w 331"/>
              <a:gd name="T53" fmla="*/ 80645233 h 327"/>
              <a:gd name="T54" fmla="*/ 21685244 w 331"/>
              <a:gd name="T55" fmla="*/ 80085373 h 327"/>
              <a:gd name="T56" fmla="*/ 18501905 w 331"/>
              <a:gd name="T57" fmla="*/ 81765482 h 327"/>
              <a:gd name="T58" fmla="*/ 15716873 w 331"/>
              <a:gd name="T59" fmla="*/ 82885731 h 327"/>
              <a:gd name="T60" fmla="*/ 14522842 w 331"/>
              <a:gd name="T61" fmla="*/ 67764750 h 327"/>
              <a:gd name="T62" fmla="*/ 15716873 w 331"/>
              <a:gd name="T63" fmla="*/ 60483925 h 327"/>
              <a:gd name="T64" fmla="*/ 9549572 w 331"/>
              <a:gd name="T65" fmla="*/ 59083746 h 327"/>
              <a:gd name="T66" fmla="*/ 5570509 w 331"/>
              <a:gd name="T67" fmla="*/ 55443598 h 327"/>
              <a:gd name="T68" fmla="*/ 2586101 w 331"/>
              <a:gd name="T69" fmla="*/ 48443232 h 327"/>
              <a:gd name="T70" fmla="*/ 0 w 331"/>
              <a:gd name="T71" fmla="*/ 36402539 h 327"/>
              <a:gd name="T72" fmla="*/ 5570509 w 331"/>
              <a:gd name="T73" fmla="*/ 31082281 h 327"/>
              <a:gd name="T74" fmla="*/ 9947433 w 331"/>
              <a:gd name="T75" fmla="*/ 22681736 h 327"/>
              <a:gd name="T76" fmla="*/ 14522842 w 331"/>
              <a:gd name="T77" fmla="*/ 15400911 h 327"/>
              <a:gd name="T78" fmla="*/ 22878829 w 331"/>
              <a:gd name="T79" fmla="*/ 11480833 h 327"/>
              <a:gd name="T80" fmla="*/ 35810224 w 331"/>
              <a:gd name="T81" fmla="*/ 3920078 h 327"/>
              <a:gd name="T82" fmla="*/ 43370041 w 331"/>
              <a:gd name="T83" fmla="*/ 1960039 h 327"/>
              <a:gd name="T84" fmla="*/ 49537343 w 331"/>
              <a:gd name="T85" fmla="*/ 3920078 h 327"/>
              <a:gd name="T86" fmla="*/ 53914267 w 331"/>
              <a:gd name="T87" fmla="*/ 7560755 h 327"/>
              <a:gd name="T88" fmla="*/ 58092260 w 331"/>
              <a:gd name="T89" fmla="*/ 8400545 h 327"/>
              <a:gd name="T90" fmla="*/ 61076223 w 331"/>
              <a:gd name="T91" fmla="*/ 5600187 h 327"/>
              <a:gd name="T92" fmla="*/ 65055285 w 331"/>
              <a:gd name="T93" fmla="*/ 1680109 h 327"/>
              <a:gd name="T94" fmla="*/ 65652078 w 331"/>
              <a:gd name="T95" fmla="*/ 8960405 h 327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0" t="0" r="r" b="b"/>
            <a:pathLst>
              <a:path w="331" h="327">
                <a:moveTo>
                  <a:pt x="331" y="56"/>
                </a:moveTo>
                <a:lnTo>
                  <a:pt x="245" y="37"/>
                </a:lnTo>
                <a:lnTo>
                  <a:pt x="230" y="40"/>
                </a:lnTo>
                <a:lnTo>
                  <a:pt x="216" y="44"/>
                </a:lnTo>
                <a:lnTo>
                  <a:pt x="204" y="50"/>
                </a:lnTo>
                <a:lnTo>
                  <a:pt x="193" y="56"/>
                </a:lnTo>
                <a:lnTo>
                  <a:pt x="189" y="59"/>
                </a:lnTo>
                <a:lnTo>
                  <a:pt x="185" y="63"/>
                </a:lnTo>
                <a:lnTo>
                  <a:pt x="182" y="67"/>
                </a:lnTo>
                <a:lnTo>
                  <a:pt x="181" y="72"/>
                </a:lnTo>
                <a:lnTo>
                  <a:pt x="180" y="77"/>
                </a:lnTo>
                <a:lnTo>
                  <a:pt x="181" y="81"/>
                </a:lnTo>
                <a:lnTo>
                  <a:pt x="182" y="87"/>
                </a:lnTo>
                <a:lnTo>
                  <a:pt x="185" y="92"/>
                </a:lnTo>
                <a:lnTo>
                  <a:pt x="184" y="94"/>
                </a:lnTo>
                <a:lnTo>
                  <a:pt x="181" y="98"/>
                </a:lnTo>
                <a:lnTo>
                  <a:pt x="179" y="101"/>
                </a:lnTo>
                <a:lnTo>
                  <a:pt x="177" y="102"/>
                </a:lnTo>
                <a:lnTo>
                  <a:pt x="174" y="105"/>
                </a:lnTo>
                <a:lnTo>
                  <a:pt x="172" y="105"/>
                </a:lnTo>
                <a:lnTo>
                  <a:pt x="168" y="105"/>
                </a:lnTo>
                <a:lnTo>
                  <a:pt x="165" y="102"/>
                </a:lnTo>
                <a:lnTo>
                  <a:pt x="162" y="100"/>
                </a:lnTo>
                <a:lnTo>
                  <a:pt x="160" y="98"/>
                </a:lnTo>
                <a:lnTo>
                  <a:pt x="159" y="92"/>
                </a:lnTo>
                <a:lnTo>
                  <a:pt x="159" y="86"/>
                </a:lnTo>
                <a:lnTo>
                  <a:pt x="149" y="85"/>
                </a:lnTo>
                <a:lnTo>
                  <a:pt x="139" y="82"/>
                </a:lnTo>
                <a:lnTo>
                  <a:pt x="132" y="79"/>
                </a:lnTo>
                <a:lnTo>
                  <a:pt x="126" y="74"/>
                </a:lnTo>
                <a:lnTo>
                  <a:pt x="126" y="83"/>
                </a:lnTo>
                <a:lnTo>
                  <a:pt x="126" y="92"/>
                </a:lnTo>
                <a:lnTo>
                  <a:pt x="127" y="96"/>
                </a:lnTo>
                <a:lnTo>
                  <a:pt x="129" y="101"/>
                </a:lnTo>
                <a:lnTo>
                  <a:pt x="135" y="109"/>
                </a:lnTo>
                <a:lnTo>
                  <a:pt x="139" y="116"/>
                </a:lnTo>
                <a:lnTo>
                  <a:pt x="146" y="122"/>
                </a:lnTo>
                <a:lnTo>
                  <a:pt x="151" y="127"/>
                </a:lnTo>
                <a:lnTo>
                  <a:pt x="154" y="129"/>
                </a:lnTo>
                <a:lnTo>
                  <a:pt x="156" y="130"/>
                </a:lnTo>
                <a:lnTo>
                  <a:pt x="157" y="130"/>
                </a:lnTo>
                <a:lnTo>
                  <a:pt x="159" y="130"/>
                </a:lnTo>
                <a:lnTo>
                  <a:pt x="159" y="147"/>
                </a:lnTo>
                <a:lnTo>
                  <a:pt x="159" y="163"/>
                </a:lnTo>
                <a:lnTo>
                  <a:pt x="159" y="177"/>
                </a:lnTo>
                <a:lnTo>
                  <a:pt x="159" y="191"/>
                </a:lnTo>
                <a:lnTo>
                  <a:pt x="159" y="213"/>
                </a:lnTo>
                <a:lnTo>
                  <a:pt x="159" y="237"/>
                </a:lnTo>
                <a:lnTo>
                  <a:pt x="158" y="242"/>
                </a:lnTo>
                <a:lnTo>
                  <a:pt x="157" y="247"/>
                </a:lnTo>
                <a:lnTo>
                  <a:pt x="156" y="251"/>
                </a:lnTo>
                <a:lnTo>
                  <a:pt x="154" y="254"/>
                </a:lnTo>
                <a:lnTo>
                  <a:pt x="150" y="257"/>
                </a:lnTo>
                <a:lnTo>
                  <a:pt x="147" y="259"/>
                </a:lnTo>
                <a:lnTo>
                  <a:pt x="144" y="259"/>
                </a:lnTo>
                <a:lnTo>
                  <a:pt x="139" y="259"/>
                </a:lnTo>
                <a:lnTo>
                  <a:pt x="145" y="264"/>
                </a:lnTo>
                <a:lnTo>
                  <a:pt x="154" y="270"/>
                </a:lnTo>
                <a:lnTo>
                  <a:pt x="158" y="274"/>
                </a:lnTo>
                <a:lnTo>
                  <a:pt x="162" y="276"/>
                </a:lnTo>
                <a:lnTo>
                  <a:pt x="167" y="277"/>
                </a:lnTo>
                <a:lnTo>
                  <a:pt x="172" y="278"/>
                </a:lnTo>
                <a:lnTo>
                  <a:pt x="167" y="286"/>
                </a:lnTo>
                <a:lnTo>
                  <a:pt x="161" y="291"/>
                </a:lnTo>
                <a:lnTo>
                  <a:pt x="158" y="293"/>
                </a:lnTo>
                <a:lnTo>
                  <a:pt x="155" y="295"/>
                </a:lnTo>
                <a:lnTo>
                  <a:pt x="150" y="296"/>
                </a:lnTo>
                <a:lnTo>
                  <a:pt x="146" y="296"/>
                </a:lnTo>
                <a:lnTo>
                  <a:pt x="140" y="297"/>
                </a:lnTo>
                <a:lnTo>
                  <a:pt x="137" y="299"/>
                </a:lnTo>
                <a:lnTo>
                  <a:pt x="134" y="302"/>
                </a:lnTo>
                <a:lnTo>
                  <a:pt x="130" y="307"/>
                </a:lnTo>
                <a:lnTo>
                  <a:pt x="128" y="311"/>
                </a:lnTo>
                <a:lnTo>
                  <a:pt x="127" y="316"/>
                </a:lnTo>
                <a:lnTo>
                  <a:pt x="126" y="321"/>
                </a:lnTo>
                <a:lnTo>
                  <a:pt x="126" y="327"/>
                </a:lnTo>
                <a:lnTo>
                  <a:pt x="122" y="311"/>
                </a:lnTo>
                <a:lnTo>
                  <a:pt x="121" y="300"/>
                </a:lnTo>
                <a:lnTo>
                  <a:pt x="121" y="296"/>
                </a:lnTo>
                <a:lnTo>
                  <a:pt x="122" y="292"/>
                </a:lnTo>
                <a:lnTo>
                  <a:pt x="124" y="288"/>
                </a:lnTo>
                <a:lnTo>
                  <a:pt x="126" y="284"/>
                </a:lnTo>
                <a:lnTo>
                  <a:pt x="116" y="284"/>
                </a:lnTo>
                <a:lnTo>
                  <a:pt x="109" y="286"/>
                </a:lnTo>
                <a:lnTo>
                  <a:pt x="103" y="288"/>
                </a:lnTo>
                <a:lnTo>
                  <a:pt x="98" y="290"/>
                </a:lnTo>
                <a:lnTo>
                  <a:pt x="93" y="292"/>
                </a:lnTo>
                <a:lnTo>
                  <a:pt x="89" y="294"/>
                </a:lnTo>
                <a:lnTo>
                  <a:pt x="83" y="295"/>
                </a:lnTo>
                <a:lnTo>
                  <a:pt x="79" y="296"/>
                </a:lnTo>
                <a:lnTo>
                  <a:pt x="78" y="272"/>
                </a:lnTo>
                <a:lnTo>
                  <a:pt x="74" y="251"/>
                </a:lnTo>
                <a:lnTo>
                  <a:pt x="73" y="242"/>
                </a:lnTo>
                <a:lnTo>
                  <a:pt x="73" y="234"/>
                </a:lnTo>
                <a:lnTo>
                  <a:pt x="76" y="225"/>
                </a:lnTo>
                <a:lnTo>
                  <a:pt x="79" y="216"/>
                </a:lnTo>
                <a:lnTo>
                  <a:pt x="68" y="216"/>
                </a:lnTo>
                <a:lnTo>
                  <a:pt x="57" y="213"/>
                </a:lnTo>
                <a:lnTo>
                  <a:pt x="48" y="211"/>
                </a:lnTo>
                <a:lnTo>
                  <a:pt x="40" y="207"/>
                </a:lnTo>
                <a:lnTo>
                  <a:pt x="34" y="203"/>
                </a:lnTo>
                <a:lnTo>
                  <a:pt x="28" y="198"/>
                </a:lnTo>
                <a:lnTo>
                  <a:pt x="23" y="193"/>
                </a:lnTo>
                <a:lnTo>
                  <a:pt x="20" y="187"/>
                </a:lnTo>
                <a:lnTo>
                  <a:pt x="13" y="173"/>
                </a:lnTo>
                <a:lnTo>
                  <a:pt x="9" y="158"/>
                </a:lnTo>
                <a:lnTo>
                  <a:pt x="4" y="144"/>
                </a:lnTo>
                <a:lnTo>
                  <a:pt x="0" y="130"/>
                </a:lnTo>
                <a:lnTo>
                  <a:pt x="10" y="124"/>
                </a:lnTo>
                <a:lnTo>
                  <a:pt x="19" y="118"/>
                </a:lnTo>
                <a:lnTo>
                  <a:pt x="28" y="111"/>
                </a:lnTo>
                <a:lnTo>
                  <a:pt x="37" y="101"/>
                </a:lnTo>
                <a:lnTo>
                  <a:pt x="45" y="92"/>
                </a:lnTo>
                <a:lnTo>
                  <a:pt x="50" y="81"/>
                </a:lnTo>
                <a:lnTo>
                  <a:pt x="56" y="69"/>
                </a:lnTo>
                <a:lnTo>
                  <a:pt x="59" y="56"/>
                </a:lnTo>
                <a:lnTo>
                  <a:pt x="73" y="55"/>
                </a:lnTo>
                <a:lnTo>
                  <a:pt x="88" y="52"/>
                </a:lnTo>
                <a:lnTo>
                  <a:pt x="102" y="47"/>
                </a:lnTo>
                <a:lnTo>
                  <a:pt x="115" y="41"/>
                </a:lnTo>
                <a:lnTo>
                  <a:pt x="140" y="29"/>
                </a:lnTo>
                <a:lnTo>
                  <a:pt x="166" y="19"/>
                </a:lnTo>
                <a:lnTo>
                  <a:pt x="180" y="14"/>
                </a:lnTo>
                <a:lnTo>
                  <a:pt x="192" y="10"/>
                </a:lnTo>
                <a:lnTo>
                  <a:pt x="205" y="8"/>
                </a:lnTo>
                <a:lnTo>
                  <a:pt x="218" y="7"/>
                </a:lnTo>
                <a:lnTo>
                  <a:pt x="230" y="8"/>
                </a:lnTo>
                <a:lnTo>
                  <a:pt x="240" y="10"/>
                </a:lnTo>
                <a:lnTo>
                  <a:pt x="249" y="14"/>
                </a:lnTo>
                <a:lnTo>
                  <a:pt x="257" y="19"/>
                </a:lnTo>
                <a:lnTo>
                  <a:pt x="264" y="23"/>
                </a:lnTo>
                <a:lnTo>
                  <a:pt x="271" y="27"/>
                </a:lnTo>
                <a:lnTo>
                  <a:pt x="278" y="30"/>
                </a:lnTo>
                <a:lnTo>
                  <a:pt x="285" y="31"/>
                </a:lnTo>
                <a:lnTo>
                  <a:pt x="292" y="30"/>
                </a:lnTo>
                <a:lnTo>
                  <a:pt x="297" y="28"/>
                </a:lnTo>
                <a:lnTo>
                  <a:pt x="303" y="24"/>
                </a:lnTo>
                <a:lnTo>
                  <a:pt x="307" y="20"/>
                </a:lnTo>
                <a:lnTo>
                  <a:pt x="316" y="10"/>
                </a:lnTo>
                <a:lnTo>
                  <a:pt x="325" y="0"/>
                </a:lnTo>
                <a:lnTo>
                  <a:pt x="327" y="6"/>
                </a:lnTo>
                <a:lnTo>
                  <a:pt x="329" y="14"/>
                </a:lnTo>
                <a:lnTo>
                  <a:pt x="330" y="23"/>
                </a:lnTo>
                <a:lnTo>
                  <a:pt x="330" y="32"/>
                </a:lnTo>
                <a:lnTo>
                  <a:pt x="331" y="49"/>
                </a:lnTo>
                <a:lnTo>
                  <a:pt x="331" y="5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 dirty="0"/>
          </a:p>
        </p:txBody>
      </p:sp>
      <p:sp>
        <p:nvSpPr>
          <p:cNvPr id="90" name="Freeform 462"/>
          <p:cNvSpPr>
            <a:spLocks/>
          </p:cNvSpPr>
          <p:nvPr>
            <p:custDataLst>
              <p:tags r:id="rId70"/>
            </p:custDataLst>
          </p:nvPr>
        </p:nvSpPr>
        <p:spPr bwMode="auto">
          <a:xfrm>
            <a:off x="1705033" y="4423326"/>
            <a:ext cx="86614" cy="77953"/>
          </a:xfrm>
          <a:custGeom>
            <a:avLst/>
            <a:gdLst>
              <a:gd name="T0" fmla="*/ 0 w 153"/>
              <a:gd name="T1" fmla="*/ 0 h 49"/>
              <a:gd name="T2" fmla="*/ 9170894 w 153"/>
              <a:gd name="T3" fmla="*/ 2721040 h 49"/>
              <a:gd name="T4" fmla="*/ 17299060 w 153"/>
              <a:gd name="T5" fmla="*/ 8161953 h 49"/>
              <a:gd name="T6" fmla="*/ 21467690 w 153"/>
              <a:gd name="T7" fmla="*/ 10882993 h 49"/>
              <a:gd name="T8" fmla="*/ 25219502 w 153"/>
              <a:gd name="T9" fmla="*/ 9521890 h 49"/>
              <a:gd name="T10" fmla="*/ 27095408 w 153"/>
              <a:gd name="T11" fmla="*/ 8161953 h 49"/>
              <a:gd name="T12" fmla="*/ 28554041 w 153"/>
              <a:gd name="T13" fmla="*/ 6802016 h 49"/>
              <a:gd name="T14" fmla="*/ 30221767 w 153"/>
              <a:gd name="T15" fmla="*/ 4080977 h 49"/>
              <a:gd name="T16" fmla="*/ 31889036 w 153"/>
              <a:gd name="T17" fmla="*/ 0 h 49"/>
              <a:gd name="T18" fmla="*/ 31889036 w 153"/>
              <a:gd name="T19" fmla="*/ 12242930 h 49"/>
              <a:gd name="T20" fmla="*/ 31889036 w 153"/>
              <a:gd name="T21" fmla="*/ 34007749 h 49"/>
              <a:gd name="T22" fmla="*/ 29804949 w 153"/>
              <a:gd name="T23" fmla="*/ 42169702 h 49"/>
              <a:gd name="T24" fmla="*/ 27720406 w 153"/>
              <a:gd name="T25" fmla="*/ 48971718 h 49"/>
              <a:gd name="T26" fmla="*/ 25844500 w 153"/>
              <a:gd name="T27" fmla="*/ 54412632 h 49"/>
              <a:gd name="T28" fmla="*/ 23760413 w 153"/>
              <a:gd name="T29" fmla="*/ 59853545 h 49"/>
              <a:gd name="T30" fmla="*/ 22093144 w 153"/>
              <a:gd name="T31" fmla="*/ 62574585 h 49"/>
              <a:gd name="T32" fmla="*/ 20634055 w 153"/>
              <a:gd name="T33" fmla="*/ 65295624 h 49"/>
              <a:gd name="T34" fmla="*/ 19174966 w 153"/>
              <a:gd name="T35" fmla="*/ 66655561 h 49"/>
              <a:gd name="T36" fmla="*/ 18133151 w 153"/>
              <a:gd name="T37" fmla="*/ 66655561 h 49"/>
              <a:gd name="T38" fmla="*/ 15006793 w 153"/>
              <a:gd name="T39" fmla="*/ 65295624 h 49"/>
              <a:gd name="T40" fmla="*/ 12505433 w 153"/>
              <a:gd name="T41" fmla="*/ 62574585 h 49"/>
              <a:gd name="T42" fmla="*/ 10421346 w 153"/>
              <a:gd name="T43" fmla="*/ 58493608 h 49"/>
              <a:gd name="T44" fmla="*/ 8545440 w 153"/>
              <a:gd name="T45" fmla="*/ 51691592 h 49"/>
              <a:gd name="T46" fmla="*/ 4585447 w 153"/>
              <a:gd name="T47" fmla="*/ 39448662 h 49"/>
              <a:gd name="T48" fmla="*/ 0 w 153"/>
              <a:gd name="T49" fmla="*/ 25845796 h 49"/>
              <a:gd name="T50" fmla="*/ 0 w 153"/>
              <a:gd name="T51" fmla="*/ 0 h 49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</a:gdLst>
            <a:ahLst/>
            <a:cxnLst>
              <a:cxn ang="T52">
                <a:pos x="T0" y="T1"/>
              </a:cxn>
              <a:cxn ang="T53">
                <a:pos x="T2" y="T3"/>
              </a:cxn>
              <a:cxn ang="T54">
                <a:pos x="T4" y="T5"/>
              </a:cxn>
              <a:cxn ang="T55">
                <a:pos x="T6" y="T7"/>
              </a:cxn>
              <a:cxn ang="T56">
                <a:pos x="T8" y="T9"/>
              </a:cxn>
              <a:cxn ang="T57">
                <a:pos x="T10" y="T11"/>
              </a:cxn>
              <a:cxn ang="T58">
                <a:pos x="T12" y="T13"/>
              </a:cxn>
              <a:cxn ang="T59">
                <a:pos x="T14" y="T15"/>
              </a:cxn>
              <a:cxn ang="T60">
                <a:pos x="T16" y="T17"/>
              </a:cxn>
              <a:cxn ang="T61">
                <a:pos x="T18" y="T19"/>
              </a:cxn>
              <a:cxn ang="T62">
                <a:pos x="T20" y="T21"/>
              </a:cxn>
              <a:cxn ang="T63">
                <a:pos x="T22" y="T23"/>
              </a:cxn>
              <a:cxn ang="T64">
                <a:pos x="T24" y="T25"/>
              </a:cxn>
              <a:cxn ang="T65">
                <a:pos x="T26" y="T27"/>
              </a:cxn>
              <a:cxn ang="T66">
                <a:pos x="T28" y="T29"/>
              </a:cxn>
              <a:cxn ang="T67">
                <a:pos x="T30" y="T31"/>
              </a:cxn>
              <a:cxn ang="T68">
                <a:pos x="T32" y="T33"/>
              </a:cxn>
              <a:cxn ang="T69">
                <a:pos x="T34" y="T35"/>
              </a:cxn>
              <a:cxn ang="T70">
                <a:pos x="T36" y="T37"/>
              </a:cxn>
              <a:cxn ang="T71">
                <a:pos x="T38" y="T39"/>
              </a:cxn>
              <a:cxn ang="T72">
                <a:pos x="T40" y="T41"/>
              </a:cxn>
              <a:cxn ang="T73">
                <a:pos x="T42" y="T43"/>
              </a:cxn>
              <a:cxn ang="T74">
                <a:pos x="T44" y="T45"/>
              </a:cxn>
              <a:cxn ang="T75">
                <a:pos x="T46" y="T47"/>
              </a:cxn>
              <a:cxn ang="T76">
                <a:pos x="T48" y="T49"/>
              </a:cxn>
              <a:cxn ang="T77">
                <a:pos x="T50" y="T51"/>
              </a:cxn>
            </a:cxnLst>
            <a:rect l="0" t="0" r="r" b="b"/>
            <a:pathLst>
              <a:path w="153" h="49">
                <a:moveTo>
                  <a:pt x="0" y="0"/>
                </a:moveTo>
                <a:lnTo>
                  <a:pt x="44" y="2"/>
                </a:lnTo>
                <a:lnTo>
                  <a:pt x="83" y="6"/>
                </a:lnTo>
                <a:lnTo>
                  <a:pt x="103" y="8"/>
                </a:lnTo>
                <a:lnTo>
                  <a:pt x="121" y="7"/>
                </a:lnTo>
                <a:lnTo>
                  <a:pt x="130" y="6"/>
                </a:lnTo>
                <a:lnTo>
                  <a:pt x="137" y="5"/>
                </a:lnTo>
                <a:lnTo>
                  <a:pt x="145" y="3"/>
                </a:lnTo>
                <a:lnTo>
                  <a:pt x="153" y="0"/>
                </a:lnTo>
                <a:lnTo>
                  <a:pt x="153" y="9"/>
                </a:lnTo>
                <a:lnTo>
                  <a:pt x="153" y="25"/>
                </a:lnTo>
                <a:lnTo>
                  <a:pt x="143" y="31"/>
                </a:lnTo>
                <a:lnTo>
                  <a:pt x="133" y="36"/>
                </a:lnTo>
                <a:lnTo>
                  <a:pt x="124" y="40"/>
                </a:lnTo>
                <a:lnTo>
                  <a:pt x="114" y="44"/>
                </a:lnTo>
                <a:lnTo>
                  <a:pt x="106" y="46"/>
                </a:lnTo>
                <a:lnTo>
                  <a:pt x="99" y="48"/>
                </a:lnTo>
                <a:lnTo>
                  <a:pt x="92" y="49"/>
                </a:lnTo>
                <a:lnTo>
                  <a:pt x="87" y="49"/>
                </a:lnTo>
                <a:lnTo>
                  <a:pt x="72" y="48"/>
                </a:lnTo>
                <a:lnTo>
                  <a:pt x="60" y="46"/>
                </a:lnTo>
                <a:lnTo>
                  <a:pt x="50" y="43"/>
                </a:lnTo>
                <a:lnTo>
                  <a:pt x="41" y="38"/>
                </a:lnTo>
                <a:lnTo>
                  <a:pt x="22" y="29"/>
                </a:lnTo>
                <a:lnTo>
                  <a:pt x="0" y="19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fr-FR" dirty="0"/>
          </a:p>
        </p:txBody>
      </p:sp>
      <p:sp>
        <p:nvSpPr>
          <p:cNvPr id="91" name="Freeform 467"/>
          <p:cNvSpPr>
            <a:spLocks/>
          </p:cNvSpPr>
          <p:nvPr>
            <p:custDataLst>
              <p:tags r:id="rId71"/>
            </p:custDataLst>
          </p:nvPr>
        </p:nvSpPr>
        <p:spPr bwMode="auto">
          <a:xfrm>
            <a:off x="2073143" y="4520766"/>
            <a:ext cx="125984" cy="177559"/>
          </a:xfrm>
          <a:custGeom>
            <a:avLst/>
            <a:gdLst>
              <a:gd name="T0" fmla="*/ 2425363 w 226"/>
              <a:gd name="T1" fmla="*/ 63843958 h 246"/>
              <a:gd name="T2" fmla="*/ 7275639 w 226"/>
              <a:gd name="T3" fmla="*/ 67204167 h 246"/>
              <a:gd name="T4" fmla="*/ 10711607 w 226"/>
              <a:gd name="T5" fmla="*/ 68604342 h 246"/>
              <a:gd name="T6" fmla="*/ 13742973 w 226"/>
              <a:gd name="T7" fmla="*/ 68604342 h 246"/>
              <a:gd name="T8" fmla="*/ 17178492 w 226"/>
              <a:gd name="T9" fmla="*/ 67484096 h 246"/>
              <a:gd name="T10" fmla="*/ 22231069 w 226"/>
              <a:gd name="T11" fmla="*/ 63843958 h 246"/>
              <a:gd name="T12" fmla="*/ 28496552 w 226"/>
              <a:gd name="T13" fmla="*/ 57403471 h 246"/>
              <a:gd name="T14" fmla="*/ 32538524 w 226"/>
              <a:gd name="T15" fmla="*/ 51523371 h 246"/>
              <a:gd name="T16" fmla="*/ 32134372 w 226"/>
              <a:gd name="T17" fmla="*/ 48443092 h 246"/>
              <a:gd name="T18" fmla="*/ 30113161 w 226"/>
              <a:gd name="T19" fmla="*/ 44802954 h 246"/>
              <a:gd name="T20" fmla="*/ 28900704 w 226"/>
              <a:gd name="T21" fmla="*/ 40602429 h 246"/>
              <a:gd name="T22" fmla="*/ 28496552 w 226"/>
              <a:gd name="T23" fmla="*/ 36402433 h 246"/>
              <a:gd name="T24" fmla="*/ 28496552 w 226"/>
              <a:gd name="T25" fmla="*/ 32481837 h 246"/>
              <a:gd name="T26" fmla="*/ 29506708 w 226"/>
              <a:gd name="T27" fmla="*/ 29401558 h 246"/>
              <a:gd name="T28" fmla="*/ 31527919 w 226"/>
              <a:gd name="T29" fmla="*/ 26321808 h 246"/>
              <a:gd name="T30" fmla="*/ 33953281 w 226"/>
              <a:gd name="T31" fmla="*/ 24081317 h 246"/>
              <a:gd name="T32" fmla="*/ 41228920 w 226"/>
              <a:gd name="T33" fmla="*/ 19881321 h 246"/>
              <a:gd name="T34" fmla="*/ 45472743 w 226"/>
              <a:gd name="T35" fmla="*/ 13720762 h 246"/>
              <a:gd name="T36" fmla="*/ 44664439 w 226"/>
              <a:gd name="T37" fmla="*/ 8400521 h 246"/>
              <a:gd name="T38" fmla="*/ 43249681 w 226"/>
              <a:gd name="T39" fmla="*/ 4760383 h 246"/>
              <a:gd name="T40" fmla="*/ 42845529 w 226"/>
              <a:gd name="T41" fmla="*/ 1680104 h 246"/>
              <a:gd name="T42" fmla="*/ 40824768 w 226"/>
              <a:gd name="T43" fmla="*/ 279929 h 246"/>
              <a:gd name="T44" fmla="*/ 36580496 w 226"/>
              <a:gd name="T45" fmla="*/ 1960033 h 246"/>
              <a:gd name="T46" fmla="*/ 31123766 w 226"/>
              <a:gd name="T47" fmla="*/ 5600171 h 246"/>
              <a:gd name="T48" fmla="*/ 24454131 w 226"/>
              <a:gd name="T49" fmla="*/ 10640483 h 246"/>
              <a:gd name="T50" fmla="*/ 20210308 w 226"/>
              <a:gd name="T51" fmla="*/ 14280621 h 246"/>
              <a:gd name="T52" fmla="*/ 17583094 w 226"/>
              <a:gd name="T53" fmla="*/ 15400867 h 246"/>
              <a:gd name="T54" fmla="*/ 15157731 w 226"/>
              <a:gd name="T55" fmla="*/ 15120937 h 246"/>
              <a:gd name="T56" fmla="*/ 11924064 w 226"/>
              <a:gd name="T57" fmla="*/ 13160904 h 246"/>
              <a:gd name="T58" fmla="*/ 7275639 w 226"/>
              <a:gd name="T59" fmla="*/ 8680450 h 246"/>
              <a:gd name="T60" fmla="*/ 4850276 w 226"/>
              <a:gd name="T61" fmla="*/ 10920942 h 246"/>
              <a:gd name="T62" fmla="*/ 3637819 w 226"/>
              <a:gd name="T63" fmla="*/ 26601737 h 246"/>
              <a:gd name="T64" fmla="*/ 2021211 w 226"/>
              <a:gd name="T65" fmla="*/ 45642742 h 246"/>
              <a:gd name="T66" fmla="*/ 606453 w 226"/>
              <a:gd name="T67" fmla="*/ 59363504 h 24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0" t="0" r="r" b="b"/>
            <a:pathLst>
              <a:path w="226" h="246">
                <a:moveTo>
                  <a:pt x="0" y="221"/>
                </a:moveTo>
                <a:lnTo>
                  <a:pt x="12" y="228"/>
                </a:lnTo>
                <a:lnTo>
                  <a:pt x="27" y="236"/>
                </a:lnTo>
                <a:lnTo>
                  <a:pt x="36" y="240"/>
                </a:lnTo>
                <a:lnTo>
                  <a:pt x="44" y="243"/>
                </a:lnTo>
                <a:lnTo>
                  <a:pt x="53" y="245"/>
                </a:lnTo>
                <a:lnTo>
                  <a:pt x="60" y="246"/>
                </a:lnTo>
                <a:lnTo>
                  <a:pt x="68" y="245"/>
                </a:lnTo>
                <a:lnTo>
                  <a:pt x="76" y="243"/>
                </a:lnTo>
                <a:lnTo>
                  <a:pt x="85" y="241"/>
                </a:lnTo>
                <a:lnTo>
                  <a:pt x="92" y="237"/>
                </a:lnTo>
                <a:lnTo>
                  <a:pt x="110" y="228"/>
                </a:lnTo>
                <a:lnTo>
                  <a:pt x="126" y="217"/>
                </a:lnTo>
                <a:lnTo>
                  <a:pt x="141" y="205"/>
                </a:lnTo>
                <a:lnTo>
                  <a:pt x="153" y="194"/>
                </a:lnTo>
                <a:lnTo>
                  <a:pt x="161" y="184"/>
                </a:lnTo>
                <a:lnTo>
                  <a:pt x="167" y="178"/>
                </a:lnTo>
                <a:lnTo>
                  <a:pt x="159" y="173"/>
                </a:lnTo>
                <a:lnTo>
                  <a:pt x="154" y="167"/>
                </a:lnTo>
                <a:lnTo>
                  <a:pt x="149" y="160"/>
                </a:lnTo>
                <a:lnTo>
                  <a:pt x="146" y="152"/>
                </a:lnTo>
                <a:lnTo>
                  <a:pt x="143" y="145"/>
                </a:lnTo>
                <a:lnTo>
                  <a:pt x="142" y="137"/>
                </a:lnTo>
                <a:lnTo>
                  <a:pt x="141" y="130"/>
                </a:lnTo>
                <a:lnTo>
                  <a:pt x="139" y="123"/>
                </a:lnTo>
                <a:lnTo>
                  <a:pt x="141" y="116"/>
                </a:lnTo>
                <a:lnTo>
                  <a:pt x="143" y="110"/>
                </a:lnTo>
                <a:lnTo>
                  <a:pt x="146" y="105"/>
                </a:lnTo>
                <a:lnTo>
                  <a:pt x="150" y="100"/>
                </a:lnTo>
                <a:lnTo>
                  <a:pt x="156" y="94"/>
                </a:lnTo>
                <a:lnTo>
                  <a:pt x="161" y="90"/>
                </a:lnTo>
                <a:lnTo>
                  <a:pt x="168" y="86"/>
                </a:lnTo>
                <a:lnTo>
                  <a:pt x="176" y="82"/>
                </a:lnTo>
                <a:lnTo>
                  <a:pt x="204" y="71"/>
                </a:lnTo>
                <a:lnTo>
                  <a:pt x="226" y="61"/>
                </a:lnTo>
                <a:lnTo>
                  <a:pt x="225" y="49"/>
                </a:lnTo>
                <a:lnTo>
                  <a:pt x="223" y="38"/>
                </a:lnTo>
                <a:lnTo>
                  <a:pt x="221" y="30"/>
                </a:lnTo>
                <a:lnTo>
                  <a:pt x="217" y="23"/>
                </a:lnTo>
                <a:lnTo>
                  <a:pt x="214" y="17"/>
                </a:lnTo>
                <a:lnTo>
                  <a:pt x="212" y="12"/>
                </a:lnTo>
                <a:lnTo>
                  <a:pt x="212" y="6"/>
                </a:lnTo>
                <a:lnTo>
                  <a:pt x="213" y="0"/>
                </a:lnTo>
                <a:lnTo>
                  <a:pt x="202" y="1"/>
                </a:lnTo>
                <a:lnTo>
                  <a:pt x="191" y="4"/>
                </a:lnTo>
                <a:lnTo>
                  <a:pt x="181" y="7"/>
                </a:lnTo>
                <a:lnTo>
                  <a:pt x="171" y="11"/>
                </a:lnTo>
                <a:lnTo>
                  <a:pt x="154" y="20"/>
                </a:lnTo>
                <a:lnTo>
                  <a:pt x="136" y="29"/>
                </a:lnTo>
                <a:lnTo>
                  <a:pt x="121" y="38"/>
                </a:lnTo>
                <a:lnTo>
                  <a:pt x="107" y="47"/>
                </a:lnTo>
                <a:lnTo>
                  <a:pt x="100" y="51"/>
                </a:lnTo>
                <a:lnTo>
                  <a:pt x="93" y="53"/>
                </a:lnTo>
                <a:lnTo>
                  <a:pt x="87" y="55"/>
                </a:lnTo>
                <a:lnTo>
                  <a:pt x="80" y="55"/>
                </a:lnTo>
                <a:lnTo>
                  <a:pt x="75" y="54"/>
                </a:lnTo>
                <a:lnTo>
                  <a:pt x="67" y="51"/>
                </a:lnTo>
                <a:lnTo>
                  <a:pt x="59" y="47"/>
                </a:lnTo>
                <a:lnTo>
                  <a:pt x="51" y="41"/>
                </a:lnTo>
                <a:lnTo>
                  <a:pt x="36" y="31"/>
                </a:lnTo>
                <a:lnTo>
                  <a:pt x="27" y="24"/>
                </a:lnTo>
                <a:lnTo>
                  <a:pt x="24" y="39"/>
                </a:lnTo>
                <a:lnTo>
                  <a:pt x="21" y="64"/>
                </a:lnTo>
                <a:lnTo>
                  <a:pt x="18" y="95"/>
                </a:lnTo>
                <a:lnTo>
                  <a:pt x="13" y="129"/>
                </a:lnTo>
                <a:lnTo>
                  <a:pt x="10" y="163"/>
                </a:lnTo>
                <a:lnTo>
                  <a:pt x="7" y="191"/>
                </a:lnTo>
                <a:lnTo>
                  <a:pt x="3" y="212"/>
                </a:lnTo>
                <a:lnTo>
                  <a:pt x="0" y="22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 dirty="0"/>
          </a:p>
        </p:txBody>
      </p:sp>
      <p:sp>
        <p:nvSpPr>
          <p:cNvPr id="92" name="Freeform 468"/>
          <p:cNvSpPr>
            <a:spLocks/>
          </p:cNvSpPr>
          <p:nvPr>
            <p:custDataLst>
              <p:tags r:id="rId72"/>
            </p:custDataLst>
          </p:nvPr>
        </p:nvSpPr>
        <p:spPr bwMode="auto">
          <a:xfrm>
            <a:off x="2443221" y="4661515"/>
            <a:ext cx="27559" cy="75787"/>
          </a:xfrm>
          <a:custGeom>
            <a:avLst/>
            <a:gdLst>
              <a:gd name="T0" fmla="*/ 3704537 w 60"/>
              <a:gd name="T1" fmla="*/ 0 h 81"/>
              <a:gd name="T2" fmla="*/ 3979016 w 60"/>
              <a:gd name="T3" fmla="*/ 941124 h 81"/>
              <a:gd name="T4" fmla="*/ 4390549 w 60"/>
              <a:gd name="T5" fmla="*/ 1411686 h 81"/>
              <a:gd name="T6" fmla="*/ 4939506 w 60"/>
              <a:gd name="T7" fmla="*/ 1411686 h 81"/>
              <a:gd name="T8" fmla="*/ 5488464 w 60"/>
              <a:gd name="T9" fmla="*/ 941124 h 81"/>
              <a:gd name="T10" fmla="*/ 6448954 w 60"/>
              <a:gd name="T11" fmla="*/ 470562 h 81"/>
              <a:gd name="T12" fmla="*/ 7272020 w 60"/>
              <a:gd name="T13" fmla="*/ 0 h 81"/>
              <a:gd name="T14" fmla="*/ 7272020 w 60"/>
              <a:gd name="T15" fmla="*/ 12233929 h 81"/>
              <a:gd name="T16" fmla="*/ 7409445 w 60"/>
              <a:gd name="T17" fmla="*/ 22115048 h 81"/>
              <a:gd name="T18" fmla="*/ 7409445 w 60"/>
              <a:gd name="T19" fmla="*/ 26819983 h 81"/>
              <a:gd name="T20" fmla="*/ 7683553 w 60"/>
              <a:gd name="T21" fmla="*/ 30584480 h 81"/>
              <a:gd name="T22" fmla="*/ 7958032 w 60"/>
              <a:gd name="T23" fmla="*/ 34348291 h 81"/>
              <a:gd name="T24" fmla="*/ 8232510 w 60"/>
              <a:gd name="T25" fmla="*/ 38112788 h 81"/>
              <a:gd name="T26" fmla="*/ 2744047 w 60"/>
              <a:gd name="T27" fmla="*/ 38112788 h 81"/>
              <a:gd name="T28" fmla="*/ 1920981 w 60"/>
              <a:gd name="T29" fmla="*/ 37642226 h 81"/>
              <a:gd name="T30" fmla="*/ 960490 w 60"/>
              <a:gd name="T31" fmla="*/ 36230540 h 81"/>
              <a:gd name="T32" fmla="*/ 686012 w 60"/>
              <a:gd name="T33" fmla="*/ 34818853 h 81"/>
              <a:gd name="T34" fmla="*/ 274479 w 60"/>
              <a:gd name="T35" fmla="*/ 33877729 h 81"/>
              <a:gd name="T36" fmla="*/ 137054 w 60"/>
              <a:gd name="T37" fmla="*/ 32937291 h 81"/>
              <a:gd name="T38" fmla="*/ 0 w 60"/>
              <a:gd name="T39" fmla="*/ 31996167 h 81"/>
              <a:gd name="T40" fmla="*/ 960490 w 60"/>
              <a:gd name="T41" fmla="*/ 5646060 h 81"/>
              <a:gd name="T42" fmla="*/ 2744047 w 60"/>
              <a:gd name="T43" fmla="*/ 2823373 h 81"/>
              <a:gd name="T44" fmla="*/ 4665028 w 60"/>
              <a:gd name="T45" fmla="*/ 0 h 81"/>
              <a:gd name="T46" fmla="*/ 3704537 w 60"/>
              <a:gd name="T47" fmla="*/ 0 h 81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0" t="0" r="r" b="b"/>
            <a:pathLst>
              <a:path w="60" h="81">
                <a:moveTo>
                  <a:pt x="27" y="0"/>
                </a:moveTo>
                <a:lnTo>
                  <a:pt x="29" y="2"/>
                </a:lnTo>
                <a:lnTo>
                  <a:pt x="32" y="3"/>
                </a:lnTo>
                <a:lnTo>
                  <a:pt x="36" y="3"/>
                </a:lnTo>
                <a:lnTo>
                  <a:pt x="40" y="2"/>
                </a:lnTo>
                <a:lnTo>
                  <a:pt x="47" y="1"/>
                </a:lnTo>
                <a:lnTo>
                  <a:pt x="53" y="0"/>
                </a:lnTo>
                <a:lnTo>
                  <a:pt x="53" y="26"/>
                </a:lnTo>
                <a:lnTo>
                  <a:pt x="54" y="47"/>
                </a:lnTo>
                <a:lnTo>
                  <a:pt x="54" y="57"/>
                </a:lnTo>
                <a:lnTo>
                  <a:pt x="56" y="65"/>
                </a:lnTo>
                <a:lnTo>
                  <a:pt x="58" y="73"/>
                </a:lnTo>
                <a:lnTo>
                  <a:pt x="60" y="81"/>
                </a:lnTo>
                <a:lnTo>
                  <a:pt x="20" y="81"/>
                </a:lnTo>
                <a:lnTo>
                  <a:pt x="14" y="80"/>
                </a:lnTo>
                <a:lnTo>
                  <a:pt x="7" y="77"/>
                </a:lnTo>
                <a:lnTo>
                  <a:pt x="5" y="74"/>
                </a:lnTo>
                <a:lnTo>
                  <a:pt x="2" y="72"/>
                </a:lnTo>
                <a:lnTo>
                  <a:pt x="1" y="70"/>
                </a:lnTo>
                <a:lnTo>
                  <a:pt x="0" y="68"/>
                </a:lnTo>
                <a:lnTo>
                  <a:pt x="7" y="12"/>
                </a:lnTo>
                <a:lnTo>
                  <a:pt x="20" y="6"/>
                </a:lnTo>
                <a:lnTo>
                  <a:pt x="34" y="0"/>
                </a:lnTo>
                <a:lnTo>
                  <a:pt x="27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 dirty="0"/>
          </a:p>
        </p:txBody>
      </p:sp>
      <p:sp>
        <p:nvSpPr>
          <p:cNvPr id="93" name="Freeform 469"/>
          <p:cNvSpPr>
            <a:spLocks/>
          </p:cNvSpPr>
          <p:nvPr>
            <p:custDataLst>
              <p:tags r:id="rId73"/>
            </p:custDataLst>
          </p:nvPr>
        </p:nvSpPr>
        <p:spPr bwMode="auto">
          <a:xfrm>
            <a:off x="1559364" y="3481398"/>
            <a:ext cx="200787" cy="90945"/>
          </a:xfrm>
          <a:custGeom>
            <a:avLst/>
            <a:gdLst>
              <a:gd name="T0" fmla="*/ 47881223 w 370"/>
              <a:gd name="T1" fmla="*/ 31256103 h 129"/>
              <a:gd name="T2" fmla="*/ 49413383 w 370"/>
              <a:gd name="T3" fmla="*/ 31790020 h 129"/>
              <a:gd name="T4" fmla="*/ 53052319 w 370"/>
              <a:gd name="T5" fmla="*/ 32858887 h 129"/>
              <a:gd name="T6" fmla="*/ 56499571 w 370"/>
              <a:gd name="T7" fmla="*/ 33927238 h 129"/>
              <a:gd name="T8" fmla="*/ 58031732 w 370"/>
              <a:gd name="T9" fmla="*/ 34461672 h 129"/>
              <a:gd name="T10" fmla="*/ 70864069 w 370"/>
              <a:gd name="T11" fmla="*/ 25912799 h 129"/>
              <a:gd name="T12" fmla="*/ 68565610 w 370"/>
              <a:gd name="T13" fmla="*/ 20036096 h 129"/>
              <a:gd name="T14" fmla="*/ 66075903 w 370"/>
              <a:gd name="T15" fmla="*/ 12822791 h 129"/>
              <a:gd name="T16" fmla="*/ 64160812 w 370"/>
              <a:gd name="T17" fmla="*/ 7212788 h 129"/>
              <a:gd name="T18" fmla="*/ 63203266 w 370"/>
              <a:gd name="T19" fmla="*/ 4808353 h 129"/>
              <a:gd name="T20" fmla="*/ 57457555 w 370"/>
              <a:gd name="T21" fmla="*/ 4007219 h 129"/>
              <a:gd name="T22" fmla="*/ 49221699 w 370"/>
              <a:gd name="T23" fmla="*/ 2404435 h 129"/>
              <a:gd name="T24" fmla="*/ 40986281 w 370"/>
              <a:gd name="T25" fmla="*/ 534434 h 129"/>
              <a:gd name="T26" fmla="*/ 35048885 w 370"/>
              <a:gd name="T27" fmla="*/ 0 h 129"/>
              <a:gd name="T28" fmla="*/ 34283024 w 370"/>
              <a:gd name="T29" fmla="*/ 0 h 129"/>
              <a:gd name="T30" fmla="*/ 33708409 w 370"/>
              <a:gd name="T31" fmla="*/ 267217 h 129"/>
              <a:gd name="T32" fmla="*/ 32942110 w 370"/>
              <a:gd name="T33" fmla="*/ 534434 h 129"/>
              <a:gd name="T34" fmla="*/ 32559179 w 370"/>
              <a:gd name="T35" fmla="*/ 801651 h 129"/>
              <a:gd name="T36" fmla="*/ 31027018 w 370"/>
              <a:gd name="T37" fmla="*/ 1870001 h 129"/>
              <a:gd name="T38" fmla="*/ 28728558 w 370"/>
              <a:gd name="T39" fmla="*/ 3205569 h 129"/>
              <a:gd name="T40" fmla="*/ 28153944 w 370"/>
              <a:gd name="T41" fmla="*/ 5610003 h 129"/>
              <a:gd name="T42" fmla="*/ 26813467 w 370"/>
              <a:gd name="T43" fmla="*/ 9350006 h 129"/>
              <a:gd name="T44" fmla="*/ 25664237 w 370"/>
              <a:gd name="T45" fmla="*/ 12822791 h 129"/>
              <a:gd name="T46" fmla="*/ 25089622 w 370"/>
              <a:gd name="T47" fmla="*/ 14692792 h 129"/>
              <a:gd name="T48" fmla="*/ 23365778 w 370"/>
              <a:gd name="T49" fmla="*/ 14425576 h 129"/>
              <a:gd name="T50" fmla="*/ 21259440 w 370"/>
              <a:gd name="T51" fmla="*/ 13090008 h 129"/>
              <a:gd name="T52" fmla="*/ 18769296 w 370"/>
              <a:gd name="T53" fmla="*/ 11754441 h 129"/>
              <a:gd name="T54" fmla="*/ 16087905 w 370"/>
              <a:gd name="T55" fmla="*/ 10151656 h 129"/>
              <a:gd name="T56" fmla="*/ 11491423 w 370"/>
              <a:gd name="T57" fmla="*/ 6945571 h 129"/>
              <a:gd name="T58" fmla="*/ 8427102 w 370"/>
              <a:gd name="T59" fmla="*/ 4808353 h 129"/>
              <a:gd name="T60" fmla="*/ 6128642 w 370"/>
              <a:gd name="T61" fmla="*/ 6678871 h 129"/>
              <a:gd name="T62" fmla="*/ 4021867 w 370"/>
              <a:gd name="T63" fmla="*/ 8815572 h 129"/>
              <a:gd name="T64" fmla="*/ 3064321 w 370"/>
              <a:gd name="T65" fmla="*/ 9884440 h 129"/>
              <a:gd name="T66" fmla="*/ 2298460 w 370"/>
              <a:gd name="T67" fmla="*/ 10952790 h 129"/>
              <a:gd name="T68" fmla="*/ 1723845 w 370"/>
              <a:gd name="T69" fmla="*/ 12288874 h 129"/>
              <a:gd name="T70" fmla="*/ 957546 w 370"/>
              <a:gd name="T71" fmla="*/ 13891659 h 129"/>
              <a:gd name="T72" fmla="*/ 574615 w 370"/>
              <a:gd name="T73" fmla="*/ 15227226 h 129"/>
              <a:gd name="T74" fmla="*/ 191684 w 370"/>
              <a:gd name="T75" fmla="*/ 16830010 h 129"/>
              <a:gd name="T76" fmla="*/ 0 w 370"/>
              <a:gd name="T77" fmla="*/ 18432795 h 129"/>
              <a:gd name="T78" fmla="*/ 0 w 370"/>
              <a:gd name="T79" fmla="*/ 20036096 h 129"/>
              <a:gd name="T80" fmla="*/ 191684 w 370"/>
              <a:gd name="T81" fmla="*/ 21906097 h 129"/>
              <a:gd name="T82" fmla="*/ 574615 w 370"/>
              <a:gd name="T83" fmla="*/ 23508881 h 129"/>
              <a:gd name="T84" fmla="*/ 1149230 w 370"/>
              <a:gd name="T85" fmla="*/ 25646099 h 129"/>
              <a:gd name="T86" fmla="*/ 2106776 w 370"/>
              <a:gd name="T87" fmla="*/ 27516101 h 129"/>
              <a:gd name="T88" fmla="*/ 3830620 w 370"/>
              <a:gd name="T89" fmla="*/ 26981667 h 129"/>
              <a:gd name="T90" fmla="*/ 6320327 w 370"/>
              <a:gd name="T91" fmla="*/ 26447233 h 129"/>
              <a:gd name="T92" fmla="*/ 9576332 w 370"/>
              <a:gd name="T93" fmla="*/ 25912799 h 129"/>
              <a:gd name="T94" fmla="*/ 13215268 w 370"/>
              <a:gd name="T95" fmla="*/ 25378883 h 129"/>
              <a:gd name="T96" fmla="*/ 19535595 w 370"/>
              <a:gd name="T97" fmla="*/ 24577232 h 129"/>
              <a:gd name="T98" fmla="*/ 22408232 w 370"/>
              <a:gd name="T99" fmla="*/ 24310015 h 129"/>
              <a:gd name="T100" fmla="*/ 26238852 w 370"/>
              <a:gd name="T101" fmla="*/ 24577232 h 129"/>
              <a:gd name="T102" fmla="*/ 29111927 w 370"/>
              <a:gd name="T103" fmla="*/ 25111666 h 129"/>
              <a:gd name="T104" fmla="*/ 31792880 w 370"/>
              <a:gd name="T105" fmla="*/ 25912799 h 129"/>
              <a:gd name="T106" fmla="*/ 33899655 w 370"/>
              <a:gd name="T107" fmla="*/ 26714450 h 129"/>
              <a:gd name="T108" fmla="*/ 36198115 w 370"/>
              <a:gd name="T109" fmla="*/ 27782801 h 129"/>
              <a:gd name="T110" fmla="*/ 38496575 w 370"/>
              <a:gd name="T111" fmla="*/ 28851668 h 129"/>
              <a:gd name="T112" fmla="*/ 41560896 w 370"/>
              <a:gd name="T113" fmla="*/ 29386102 h 129"/>
              <a:gd name="T114" fmla="*/ 45391516 w 370"/>
              <a:gd name="T115" fmla="*/ 29653319 h 129"/>
              <a:gd name="T116" fmla="*/ 45391516 w 370"/>
              <a:gd name="T117" fmla="*/ 31256103 h 129"/>
              <a:gd name="T118" fmla="*/ 47881223 w 370"/>
              <a:gd name="T119" fmla="*/ 31256103 h 129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370" h="129">
                <a:moveTo>
                  <a:pt x="250" y="117"/>
                </a:moveTo>
                <a:lnTo>
                  <a:pt x="258" y="119"/>
                </a:lnTo>
                <a:lnTo>
                  <a:pt x="277" y="123"/>
                </a:lnTo>
                <a:lnTo>
                  <a:pt x="295" y="127"/>
                </a:lnTo>
                <a:lnTo>
                  <a:pt x="303" y="129"/>
                </a:lnTo>
                <a:lnTo>
                  <a:pt x="370" y="97"/>
                </a:lnTo>
                <a:lnTo>
                  <a:pt x="358" y="75"/>
                </a:lnTo>
                <a:lnTo>
                  <a:pt x="345" y="48"/>
                </a:lnTo>
                <a:lnTo>
                  <a:pt x="335" y="27"/>
                </a:lnTo>
                <a:lnTo>
                  <a:pt x="330" y="18"/>
                </a:lnTo>
                <a:lnTo>
                  <a:pt x="300" y="15"/>
                </a:lnTo>
                <a:lnTo>
                  <a:pt x="257" y="9"/>
                </a:lnTo>
                <a:lnTo>
                  <a:pt x="214" y="2"/>
                </a:lnTo>
                <a:lnTo>
                  <a:pt x="183" y="0"/>
                </a:lnTo>
                <a:lnTo>
                  <a:pt x="179" y="0"/>
                </a:lnTo>
                <a:lnTo>
                  <a:pt x="176" y="1"/>
                </a:lnTo>
                <a:lnTo>
                  <a:pt x="172" y="2"/>
                </a:lnTo>
                <a:lnTo>
                  <a:pt x="170" y="3"/>
                </a:lnTo>
                <a:lnTo>
                  <a:pt x="162" y="7"/>
                </a:lnTo>
                <a:lnTo>
                  <a:pt x="150" y="12"/>
                </a:lnTo>
                <a:lnTo>
                  <a:pt x="147" y="21"/>
                </a:lnTo>
                <a:lnTo>
                  <a:pt x="140" y="35"/>
                </a:lnTo>
                <a:lnTo>
                  <a:pt x="134" y="48"/>
                </a:lnTo>
                <a:lnTo>
                  <a:pt x="131" y="55"/>
                </a:lnTo>
                <a:lnTo>
                  <a:pt x="122" y="54"/>
                </a:lnTo>
                <a:lnTo>
                  <a:pt x="111" y="49"/>
                </a:lnTo>
                <a:lnTo>
                  <a:pt x="98" y="44"/>
                </a:lnTo>
                <a:lnTo>
                  <a:pt x="84" y="38"/>
                </a:lnTo>
                <a:lnTo>
                  <a:pt x="60" y="26"/>
                </a:lnTo>
                <a:lnTo>
                  <a:pt x="44" y="18"/>
                </a:lnTo>
                <a:lnTo>
                  <a:pt x="32" y="25"/>
                </a:lnTo>
                <a:lnTo>
                  <a:pt x="21" y="33"/>
                </a:lnTo>
                <a:lnTo>
                  <a:pt x="16" y="37"/>
                </a:lnTo>
                <a:lnTo>
                  <a:pt x="12" y="41"/>
                </a:lnTo>
                <a:lnTo>
                  <a:pt x="9" y="46"/>
                </a:lnTo>
                <a:lnTo>
                  <a:pt x="5" y="52"/>
                </a:lnTo>
                <a:lnTo>
                  <a:pt x="3" y="57"/>
                </a:lnTo>
                <a:lnTo>
                  <a:pt x="1" y="63"/>
                </a:lnTo>
                <a:lnTo>
                  <a:pt x="0" y="69"/>
                </a:lnTo>
                <a:lnTo>
                  <a:pt x="0" y="75"/>
                </a:lnTo>
                <a:lnTo>
                  <a:pt x="1" y="82"/>
                </a:lnTo>
                <a:lnTo>
                  <a:pt x="3" y="88"/>
                </a:lnTo>
                <a:lnTo>
                  <a:pt x="6" y="96"/>
                </a:lnTo>
                <a:lnTo>
                  <a:pt x="11" y="103"/>
                </a:lnTo>
                <a:lnTo>
                  <a:pt x="20" y="101"/>
                </a:lnTo>
                <a:lnTo>
                  <a:pt x="33" y="99"/>
                </a:lnTo>
                <a:lnTo>
                  <a:pt x="50" y="97"/>
                </a:lnTo>
                <a:lnTo>
                  <a:pt x="69" y="95"/>
                </a:lnTo>
                <a:lnTo>
                  <a:pt x="102" y="92"/>
                </a:lnTo>
                <a:lnTo>
                  <a:pt x="117" y="91"/>
                </a:lnTo>
                <a:lnTo>
                  <a:pt x="137" y="92"/>
                </a:lnTo>
                <a:lnTo>
                  <a:pt x="152" y="94"/>
                </a:lnTo>
                <a:lnTo>
                  <a:pt x="166" y="97"/>
                </a:lnTo>
                <a:lnTo>
                  <a:pt x="177" y="100"/>
                </a:lnTo>
                <a:lnTo>
                  <a:pt x="189" y="104"/>
                </a:lnTo>
                <a:lnTo>
                  <a:pt x="201" y="108"/>
                </a:lnTo>
                <a:lnTo>
                  <a:pt x="217" y="110"/>
                </a:lnTo>
                <a:lnTo>
                  <a:pt x="237" y="111"/>
                </a:lnTo>
                <a:lnTo>
                  <a:pt x="237" y="117"/>
                </a:lnTo>
                <a:lnTo>
                  <a:pt x="250" y="117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fr-FR" dirty="0"/>
          </a:p>
        </p:txBody>
      </p:sp>
      <p:sp>
        <p:nvSpPr>
          <p:cNvPr id="94" name="Freeform 470"/>
          <p:cNvSpPr>
            <a:spLocks/>
          </p:cNvSpPr>
          <p:nvPr>
            <p:custDataLst>
              <p:tags r:id="rId74"/>
            </p:custDataLst>
          </p:nvPr>
        </p:nvSpPr>
        <p:spPr bwMode="auto">
          <a:xfrm>
            <a:off x="2069206" y="4464467"/>
            <a:ext cx="37401" cy="77953"/>
          </a:xfrm>
          <a:custGeom>
            <a:avLst/>
            <a:gdLst>
              <a:gd name="T0" fmla="*/ 3838115 w 80"/>
              <a:gd name="T1" fmla="*/ 369651 h 94"/>
              <a:gd name="T2" fmla="*/ 4833083 w 80"/>
              <a:gd name="T3" fmla="*/ 0 h 94"/>
              <a:gd name="T4" fmla="*/ 5828052 w 80"/>
              <a:gd name="T5" fmla="*/ 0 h 94"/>
              <a:gd name="T6" fmla="*/ 6680883 w 80"/>
              <a:gd name="T7" fmla="*/ 739302 h 94"/>
              <a:gd name="T8" fmla="*/ 7675852 w 80"/>
              <a:gd name="T9" fmla="*/ 1478604 h 94"/>
              <a:gd name="T10" fmla="*/ 8529060 w 80"/>
              <a:gd name="T11" fmla="*/ 2217906 h 94"/>
              <a:gd name="T12" fmla="*/ 9381890 w 80"/>
              <a:gd name="T13" fmla="*/ 2957209 h 94"/>
              <a:gd name="T14" fmla="*/ 10376859 w 80"/>
              <a:gd name="T15" fmla="*/ 2957209 h 94"/>
              <a:gd name="T16" fmla="*/ 11371828 w 80"/>
              <a:gd name="T17" fmla="*/ 2587557 h 94"/>
              <a:gd name="T18" fmla="*/ 11371828 w 80"/>
              <a:gd name="T19" fmla="*/ 14046132 h 94"/>
              <a:gd name="T20" fmla="*/ 10661136 w 80"/>
              <a:gd name="T21" fmla="*/ 16264039 h 94"/>
              <a:gd name="T22" fmla="*/ 9808305 w 80"/>
              <a:gd name="T23" fmla="*/ 18851596 h 94"/>
              <a:gd name="T24" fmla="*/ 9097613 w 80"/>
              <a:gd name="T25" fmla="*/ 21808805 h 94"/>
              <a:gd name="T26" fmla="*/ 8244406 w 80"/>
              <a:gd name="T27" fmla="*/ 25135664 h 94"/>
              <a:gd name="T28" fmla="*/ 7249437 w 80"/>
              <a:gd name="T29" fmla="*/ 31049473 h 94"/>
              <a:gd name="T30" fmla="*/ 6680883 w 80"/>
              <a:gd name="T31" fmla="*/ 34745984 h 94"/>
              <a:gd name="T32" fmla="*/ 6112329 w 80"/>
              <a:gd name="T33" fmla="*/ 34376333 h 94"/>
              <a:gd name="T34" fmla="*/ 5685914 w 80"/>
              <a:gd name="T35" fmla="*/ 34006682 h 94"/>
              <a:gd name="T36" fmla="*/ 5259499 w 80"/>
              <a:gd name="T37" fmla="*/ 33637031 h 94"/>
              <a:gd name="T38" fmla="*/ 4833083 w 80"/>
              <a:gd name="T39" fmla="*/ 32897729 h 94"/>
              <a:gd name="T40" fmla="*/ 4122391 w 80"/>
              <a:gd name="T41" fmla="*/ 31049473 h 94"/>
              <a:gd name="T42" fmla="*/ 3269561 w 80"/>
              <a:gd name="T43" fmla="*/ 28831567 h 94"/>
              <a:gd name="T44" fmla="*/ 2700630 w 80"/>
              <a:gd name="T45" fmla="*/ 26613661 h 94"/>
              <a:gd name="T46" fmla="*/ 1847800 w 80"/>
              <a:gd name="T47" fmla="*/ 24026711 h 94"/>
              <a:gd name="T48" fmla="*/ 994969 w 80"/>
              <a:gd name="T49" fmla="*/ 22178456 h 94"/>
              <a:gd name="T50" fmla="*/ 0 w 80"/>
              <a:gd name="T51" fmla="*/ 20699852 h 94"/>
              <a:gd name="T52" fmla="*/ 1137107 w 80"/>
              <a:gd name="T53" fmla="*/ 15155086 h 94"/>
              <a:gd name="T54" fmla="*/ 1847800 w 80"/>
              <a:gd name="T55" fmla="*/ 10719273 h 94"/>
              <a:gd name="T56" fmla="*/ 2700630 w 80"/>
              <a:gd name="T57" fmla="*/ 6284068 h 94"/>
              <a:gd name="T58" fmla="*/ 3838115 w 80"/>
              <a:gd name="T59" fmla="*/ 369651 h 94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</a:gdLst>
            <a:ahLst/>
            <a:cxnLst>
              <a:cxn ang="T60">
                <a:pos x="T0" y="T1"/>
              </a:cxn>
              <a:cxn ang="T61">
                <a:pos x="T2" y="T3"/>
              </a:cxn>
              <a:cxn ang="T62">
                <a:pos x="T4" y="T5"/>
              </a:cxn>
              <a:cxn ang="T63">
                <a:pos x="T6" y="T7"/>
              </a:cxn>
              <a:cxn ang="T64">
                <a:pos x="T8" y="T9"/>
              </a:cxn>
              <a:cxn ang="T65">
                <a:pos x="T10" y="T11"/>
              </a:cxn>
              <a:cxn ang="T66">
                <a:pos x="T12" y="T13"/>
              </a:cxn>
              <a:cxn ang="T67">
                <a:pos x="T14" y="T15"/>
              </a:cxn>
              <a:cxn ang="T68">
                <a:pos x="T16" y="T17"/>
              </a:cxn>
              <a:cxn ang="T69">
                <a:pos x="T18" y="T19"/>
              </a:cxn>
              <a:cxn ang="T70">
                <a:pos x="T20" y="T21"/>
              </a:cxn>
              <a:cxn ang="T71">
                <a:pos x="T22" y="T23"/>
              </a:cxn>
              <a:cxn ang="T72">
                <a:pos x="T24" y="T25"/>
              </a:cxn>
              <a:cxn ang="T73">
                <a:pos x="T26" y="T27"/>
              </a:cxn>
              <a:cxn ang="T74">
                <a:pos x="T28" y="T29"/>
              </a:cxn>
              <a:cxn ang="T75">
                <a:pos x="T30" y="T31"/>
              </a:cxn>
              <a:cxn ang="T76">
                <a:pos x="T32" y="T33"/>
              </a:cxn>
              <a:cxn ang="T77">
                <a:pos x="T34" y="T35"/>
              </a:cxn>
              <a:cxn ang="T78">
                <a:pos x="T36" y="T37"/>
              </a:cxn>
              <a:cxn ang="T79">
                <a:pos x="T38" y="T39"/>
              </a:cxn>
              <a:cxn ang="T80">
                <a:pos x="T40" y="T41"/>
              </a:cxn>
              <a:cxn ang="T81">
                <a:pos x="T42" y="T43"/>
              </a:cxn>
              <a:cxn ang="T82">
                <a:pos x="T44" y="T45"/>
              </a:cxn>
              <a:cxn ang="T83">
                <a:pos x="T46" y="T47"/>
              </a:cxn>
              <a:cxn ang="T84">
                <a:pos x="T48" y="T49"/>
              </a:cxn>
              <a:cxn ang="T85">
                <a:pos x="T50" y="T51"/>
              </a:cxn>
              <a:cxn ang="T86">
                <a:pos x="T52" y="T53"/>
              </a:cxn>
              <a:cxn ang="T87">
                <a:pos x="T54" y="T55"/>
              </a:cxn>
              <a:cxn ang="T88">
                <a:pos x="T56" y="T57"/>
              </a:cxn>
              <a:cxn ang="T89">
                <a:pos x="T58" y="T59"/>
              </a:cxn>
            </a:cxnLst>
            <a:rect l="0" t="0" r="r" b="b"/>
            <a:pathLst>
              <a:path w="80" h="94">
                <a:moveTo>
                  <a:pt x="27" y="1"/>
                </a:moveTo>
                <a:lnTo>
                  <a:pt x="34" y="0"/>
                </a:lnTo>
                <a:lnTo>
                  <a:pt x="41" y="0"/>
                </a:lnTo>
                <a:lnTo>
                  <a:pt x="47" y="2"/>
                </a:lnTo>
                <a:lnTo>
                  <a:pt x="54" y="4"/>
                </a:lnTo>
                <a:lnTo>
                  <a:pt x="60" y="6"/>
                </a:lnTo>
                <a:lnTo>
                  <a:pt x="66" y="8"/>
                </a:lnTo>
                <a:lnTo>
                  <a:pt x="73" y="8"/>
                </a:lnTo>
                <a:lnTo>
                  <a:pt x="80" y="7"/>
                </a:lnTo>
                <a:lnTo>
                  <a:pt x="80" y="38"/>
                </a:lnTo>
                <a:lnTo>
                  <a:pt x="75" y="44"/>
                </a:lnTo>
                <a:lnTo>
                  <a:pt x="69" y="51"/>
                </a:lnTo>
                <a:lnTo>
                  <a:pt x="64" y="59"/>
                </a:lnTo>
                <a:lnTo>
                  <a:pt x="58" y="68"/>
                </a:lnTo>
                <a:lnTo>
                  <a:pt x="51" y="84"/>
                </a:lnTo>
                <a:lnTo>
                  <a:pt x="47" y="94"/>
                </a:lnTo>
                <a:lnTo>
                  <a:pt x="43" y="93"/>
                </a:lnTo>
                <a:lnTo>
                  <a:pt x="40" y="92"/>
                </a:lnTo>
                <a:lnTo>
                  <a:pt x="37" y="91"/>
                </a:lnTo>
                <a:lnTo>
                  <a:pt x="34" y="89"/>
                </a:lnTo>
                <a:lnTo>
                  <a:pt x="29" y="84"/>
                </a:lnTo>
                <a:lnTo>
                  <a:pt x="23" y="78"/>
                </a:lnTo>
                <a:lnTo>
                  <a:pt x="19" y="72"/>
                </a:lnTo>
                <a:lnTo>
                  <a:pt x="13" y="65"/>
                </a:lnTo>
                <a:lnTo>
                  <a:pt x="7" y="60"/>
                </a:lnTo>
                <a:lnTo>
                  <a:pt x="0" y="56"/>
                </a:lnTo>
                <a:lnTo>
                  <a:pt x="8" y="41"/>
                </a:lnTo>
                <a:lnTo>
                  <a:pt x="13" y="29"/>
                </a:lnTo>
                <a:lnTo>
                  <a:pt x="19" y="17"/>
                </a:lnTo>
                <a:lnTo>
                  <a:pt x="27" y="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 dirty="0"/>
          </a:p>
        </p:txBody>
      </p:sp>
      <p:sp>
        <p:nvSpPr>
          <p:cNvPr id="95" name="Freeform 472"/>
          <p:cNvSpPr>
            <a:spLocks/>
          </p:cNvSpPr>
          <p:nvPr>
            <p:custDataLst>
              <p:tags r:id="rId75"/>
            </p:custDataLst>
          </p:nvPr>
        </p:nvSpPr>
        <p:spPr bwMode="auto">
          <a:xfrm>
            <a:off x="1557396" y="3546359"/>
            <a:ext cx="163385" cy="114764"/>
          </a:xfrm>
          <a:custGeom>
            <a:avLst/>
            <a:gdLst>
              <a:gd name="T0" fmla="*/ 34242917 w 312"/>
              <a:gd name="T1" fmla="*/ 45672278 h 155"/>
              <a:gd name="T2" fmla="*/ 34599772 w 312"/>
              <a:gd name="T3" fmla="*/ 44493803 h 155"/>
              <a:gd name="T4" fmla="*/ 35134844 w 312"/>
              <a:gd name="T5" fmla="*/ 43609540 h 155"/>
              <a:gd name="T6" fmla="*/ 35669916 w 312"/>
              <a:gd name="T7" fmla="*/ 42725819 h 155"/>
              <a:gd name="T8" fmla="*/ 36204988 w 312"/>
              <a:gd name="T9" fmla="*/ 41841556 h 155"/>
              <a:gd name="T10" fmla="*/ 37631565 w 312"/>
              <a:gd name="T11" fmla="*/ 40368327 h 155"/>
              <a:gd name="T12" fmla="*/ 39236781 w 312"/>
              <a:gd name="T13" fmla="*/ 38895098 h 155"/>
              <a:gd name="T14" fmla="*/ 42447213 w 312"/>
              <a:gd name="T15" fmla="*/ 36243393 h 155"/>
              <a:gd name="T16" fmla="*/ 45122150 w 312"/>
              <a:gd name="T17" fmla="*/ 34475410 h 155"/>
              <a:gd name="T18" fmla="*/ 45479006 w 312"/>
              <a:gd name="T19" fmla="*/ 32117917 h 155"/>
              <a:gd name="T20" fmla="*/ 46370933 w 312"/>
              <a:gd name="T21" fmla="*/ 28581950 h 155"/>
              <a:gd name="T22" fmla="*/ 47084222 w 312"/>
              <a:gd name="T23" fmla="*/ 26813966 h 155"/>
              <a:gd name="T24" fmla="*/ 47619294 w 312"/>
              <a:gd name="T25" fmla="*/ 25340737 h 155"/>
              <a:gd name="T26" fmla="*/ 47975727 w 312"/>
              <a:gd name="T27" fmla="*/ 24162262 h 155"/>
              <a:gd name="T28" fmla="*/ 48510799 w 312"/>
              <a:gd name="T29" fmla="*/ 23867508 h 155"/>
              <a:gd name="T30" fmla="*/ 55644951 w 312"/>
              <a:gd name="T31" fmla="*/ 12964852 h 155"/>
              <a:gd name="T32" fmla="*/ 55644951 w 312"/>
              <a:gd name="T33" fmla="*/ 11491622 h 155"/>
              <a:gd name="T34" fmla="*/ 55288095 w 312"/>
              <a:gd name="T35" fmla="*/ 10313147 h 155"/>
              <a:gd name="T36" fmla="*/ 54574807 w 312"/>
              <a:gd name="T37" fmla="*/ 9428884 h 155"/>
              <a:gd name="T38" fmla="*/ 53861518 w 312"/>
              <a:gd name="T39" fmla="*/ 8839918 h 155"/>
              <a:gd name="T40" fmla="*/ 51899447 w 312"/>
              <a:gd name="T41" fmla="*/ 8250409 h 155"/>
              <a:gd name="T42" fmla="*/ 49937798 w 312"/>
              <a:gd name="T43" fmla="*/ 7955655 h 155"/>
              <a:gd name="T44" fmla="*/ 47797510 w 312"/>
              <a:gd name="T45" fmla="*/ 7955655 h 155"/>
              <a:gd name="T46" fmla="*/ 46192294 w 312"/>
              <a:gd name="T47" fmla="*/ 7955655 h 155"/>
              <a:gd name="T48" fmla="*/ 45657222 w 312"/>
              <a:gd name="T49" fmla="*/ 7660901 h 155"/>
              <a:gd name="T50" fmla="*/ 45122150 w 312"/>
              <a:gd name="T51" fmla="*/ 7366689 h 155"/>
              <a:gd name="T52" fmla="*/ 44943934 w 312"/>
              <a:gd name="T53" fmla="*/ 6777180 h 155"/>
              <a:gd name="T54" fmla="*/ 45122150 w 312"/>
              <a:gd name="T55" fmla="*/ 5893460 h 155"/>
              <a:gd name="T56" fmla="*/ 41377069 w 312"/>
              <a:gd name="T57" fmla="*/ 5598705 h 155"/>
              <a:gd name="T58" fmla="*/ 38523492 w 312"/>
              <a:gd name="T59" fmla="*/ 5009197 h 155"/>
              <a:gd name="T60" fmla="*/ 36026349 w 312"/>
              <a:gd name="T61" fmla="*/ 3830722 h 155"/>
              <a:gd name="T62" fmla="*/ 33707845 w 312"/>
              <a:gd name="T63" fmla="*/ 2651704 h 155"/>
              <a:gd name="T64" fmla="*/ 31567979 w 312"/>
              <a:gd name="T65" fmla="*/ 1767984 h 155"/>
              <a:gd name="T66" fmla="*/ 29070836 w 312"/>
              <a:gd name="T67" fmla="*/ 883720 h 155"/>
              <a:gd name="T68" fmla="*/ 26039043 w 312"/>
              <a:gd name="T69" fmla="*/ 294754 h 155"/>
              <a:gd name="T70" fmla="*/ 22472178 w 312"/>
              <a:gd name="T71" fmla="*/ 0 h 155"/>
              <a:gd name="T72" fmla="*/ 19618602 w 312"/>
              <a:gd name="T73" fmla="*/ 294754 h 155"/>
              <a:gd name="T74" fmla="*/ 13197738 w 312"/>
              <a:gd name="T75" fmla="*/ 1178475 h 155"/>
              <a:gd name="T76" fmla="*/ 9452657 w 312"/>
              <a:gd name="T77" fmla="*/ 1767984 h 155"/>
              <a:gd name="T78" fmla="*/ 6064008 w 312"/>
              <a:gd name="T79" fmla="*/ 2357492 h 155"/>
              <a:gd name="T80" fmla="*/ 3210432 w 312"/>
              <a:gd name="T81" fmla="*/ 2946458 h 155"/>
              <a:gd name="T82" fmla="*/ 1248360 w 312"/>
              <a:gd name="T83" fmla="*/ 3535967 h 155"/>
              <a:gd name="T84" fmla="*/ 1605216 w 312"/>
              <a:gd name="T85" fmla="*/ 5009197 h 155"/>
              <a:gd name="T86" fmla="*/ 1961649 w 312"/>
              <a:gd name="T87" fmla="*/ 5598705 h 155"/>
              <a:gd name="T88" fmla="*/ 2318504 w 312"/>
              <a:gd name="T89" fmla="*/ 5598705 h 155"/>
              <a:gd name="T90" fmla="*/ 2675360 w 312"/>
              <a:gd name="T91" fmla="*/ 5893460 h 155"/>
              <a:gd name="T92" fmla="*/ 3210432 w 312"/>
              <a:gd name="T93" fmla="*/ 5893460 h 155"/>
              <a:gd name="T94" fmla="*/ 3388648 w 312"/>
              <a:gd name="T95" fmla="*/ 5893460 h 155"/>
              <a:gd name="T96" fmla="*/ 3566865 w 312"/>
              <a:gd name="T97" fmla="*/ 6482426 h 155"/>
              <a:gd name="T98" fmla="*/ 3566865 w 312"/>
              <a:gd name="T99" fmla="*/ 7660901 h 155"/>
              <a:gd name="T100" fmla="*/ 3566865 w 312"/>
              <a:gd name="T101" fmla="*/ 8839918 h 155"/>
              <a:gd name="T102" fmla="*/ 3388648 w 312"/>
              <a:gd name="T103" fmla="*/ 10313147 h 155"/>
              <a:gd name="T104" fmla="*/ 3210432 w 312"/>
              <a:gd name="T105" fmla="*/ 11491622 h 155"/>
              <a:gd name="T106" fmla="*/ 2675360 w 312"/>
              <a:gd name="T107" fmla="*/ 12375886 h 155"/>
              <a:gd name="T108" fmla="*/ 2140288 w 312"/>
              <a:gd name="T109" fmla="*/ 13259606 h 155"/>
              <a:gd name="T110" fmla="*/ 1605216 w 312"/>
              <a:gd name="T111" fmla="*/ 14143869 h 155"/>
              <a:gd name="T112" fmla="*/ 713289 w 312"/>
              <a:gd name="T113" fmla="*/ 14438081 h 155"/>
              <a:gd name="T114" fmla="*/ 0 w 312"/>
              <a:gd name="T115" fmla="*/ 14732835 h 155"/>
              <a:gd name="T116" fmla="*/ 13197738 w 312"/>
              <a:gd name="T117" fmla="*/ 20036786 h 155"/>
              <a:gd name="T118" fmla="*/ 15516242 w 312"/>
              <a:gd name="T119" fmla="*/ 32707426 h 155"/>
              <a:gd name="T120" fmla="*/ 29605908 w 312"/>
              <a:gd name="T121" fmla="*/ 36243393 h 155"/>
              <a:gd name="T122" fmla="*/ 34242917 w 312"/>
              <a:gd name="T123" fmla="*/ 45672278 h 155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0" t="0" r="r" b="b"/>
            <a:pathLst>
              <a:path w="312" h="155">
                <a:moveTo>
                  <a:pt x="192" y="155"/>
                </a:moveTo>
                <a:lnTo>
                  <a:pt x="194" y="151"/>
                </a:lnTo>
                <a:lnTo>
                  <a:pt x="197" y="148"/>
                </a:lnTo>
                <a:lnTo>
                  <a:pt x="200" y="145"/>
                </a:lnTo>
                <a:lnTo>
                  <a:pt x="203" y="142"/>
                </a:lnTo>
                <a:lnTo>
                  <a:pt x="211" y="137"/>
                </a:lnTo>
                <a:lnTo>
                  <a:pt x="220" y="132"/>
                </a:lnTo>
                <a:lnTo>
                  <a:pt x="238" y="123"/>
                </a:lnTo>
                <a:lnTo>
                  <a:pt x="253" y="117"/>
                </a:lnTo>
                <a:lnTo>
                  <a:pt x="255" y="109"/>
                </a:lnTo>
                <a:lnTo>
                  <a:pt x="260" y="97"/>
                </a:lnTo>
                <a:lnTo>
                  <a:pt x="264" y="91"/>
                </a:lnTo>
                <a:lnTo>
                  <a:pt x="267" y="86"/>
                </a:lnTo>
                <a:lnTo>
                  <a:pt x="269" y="82"/>
                </a:lnTo>
                <a:lnTo>
                  <a:pt x="272" y="81"/>
                </a:lnTo>
                <a:lnTo>
                  <a:pt x="312" y="44"/>
                </a:lnTo>
                <a:lnTo>
                  <a:pt x="312" y="39"/>
                </a:lnTo>
                <a:lnTo>
                  <a:pt x="310" y="35"/>
                </a:lnTo>
                <a:lnTo>
                  <a:pt x="306" y="32"/>
                </a:lnTo>
                <a:lnTo>
                  <a:pt x="302" y="30"/>
                </a:lnTo>
                <a:lnTo>
                  <a:pt x="291" y="28"/>
                </a:lnTo>
                <a:lnTo>
                  <a:pt x="280" y="27"/>
                </a:lnTo>
                <a:lnTo>
                  <a:pt x="268" y="27"/>
                </a:lnTo>
                <a:lnTo>
                  <a:pt x="259" y="27"/>
                </a:lnTo>
                <a:lnTo>
                  <a:pt x="256" y="26"/>
                </a:lnTo>
                <a:lnTo>
                  <a:pt x="253" y="25"/>
                </a:lnTo>
                <a:lnTo>
                  <a:pt x="252" y="23"/>
                </a:lnTo>
                <a:lnTo>
                  <a:pt x="253" y="20"/>
                </a:lnTo>
                <a:lnTo>
                  <a:pt x="232" y="19"/>
                </a:lnTo>
                <a:lnTo>
                  <a:pt x="216" y="17"/>
                </a:lnTo>
                <a:lnTo>
                  <a:pt x="202" y="13"/>
                </a:lnTo>
                <a:lnTo>
                  <a:pt x="189" y="9"/>
                </a:lnTo>
                <a:lnTo>
                  <a:pt x="177" y="6"/>
                </a:lnTo>
                <a:lnTo>
                  <a:pt x="163" y="3"/>
                </a:lnTo>
                <a:lnTo>
                  <a:pt x="146" y="1"/>
                </a:lnTo>
                <a:lnTo>
                  <a:pt x="126" y="0"/>
                </a:lnTo>
                <a:lnTo>
                  <a:pt x="110" y="1"/>
                </a:lnTo>
                <a:lnTo>
                  <a:pt x="74" y="4"/>
                </a:lnTo>
                <a:lnTo>
                  <a:pt x="53" y="6"/>
                </a:lnTo>
                <a:lnTo>
                  <a:pt x="34" y="8"/>
                </a:lnTo>
                <a:lnTo>
                  <a:pt x="18" y="10"/>
                </a:lnTo>
                <a:lnTo>
                  <a:pt x="7" y="12"/>
                </a:lnTo>
                <a:lnTo>
                  <a:pt x="9" y="17"/>
                </a:lnTo>
                <a:lnTo>
                  <a:pt x="11" y="19"/>
                </a:lnTo>
                <a:lnTo>
                  <a:pt x="13" y="19"/>
                </a:lnTo>
                <a:lnTo>
                  <a:pt x="15" y="20"/>
                </a:lnTo>
                <a:lnTo>
                  <a:pt x="18" y="20"/>
                </a:lnTo>
                <a:lnTo>
                  <a:pt x="19" y="20"/>
                </a:lnTo>
                <a:lnTo>
                  <a:pt x="20" y="22"/>
                </a:lnTo>
                <a:lnTo>
                  <a:pt x="20" y="26"/>
                </a:lnTo>
                <a:lnTo>
                  <a:pt x="20" y="30"/>
                </a:lnTo>
                <a:lnTo>
                  <a:pt x="19" y="35"/>
                </a:lnTo>
                <a:lnTo>
                  <a:pt x="18" y="39"/>
                </a:lnTo>
                <a:lnTo>
                  <a:pt x="15" y="42"/>
                </a:lnTo>
                <a:lnTo>
                  <a:pt x="12" y="45"/>
                </a:lnTo>
                <a:lnTo>
                  <a:pt x="9" y="48"/>
                </a:lnTo>
                <a:lnTo>
                  <a:pt x="4" y="49"/>
                </a:lnTo>
                <a:lnTo>
                  <a:pt x="0" y="50"/>
                </a:lnTo>
                <a:lnTo>
                  <a:pt x="74" y="68"/>
                </a:lnTo>
                <a:lnTo>
                  <a:pt x="87" y="111"/>
                </a:lnTo>
                <a:lnTo>
                  <a:pt x="166" y="123"/>
                </a:lnTo>
                <a:lnTo>
                  <a:pt x="192" y="155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fr-FR" dirty="0"/>
          </a:p>
        </p:txBody>
      </p:sp>
      <p:sp>
        <p:nvSpPr>
          <p:cNvPr id="96" name="Freeform 473"/>
          <p:cNvSpPr>
            <a:spLocks/>
          </p:cNvSpPr>
          <p:nvPr>
            <p:custDataLst>
              <p:tags r:id="rId76"/>
            </p:custDataLst>
          </p:nvPr>
        </p:nvSpPr>
        <p:spPr bwMode="auto">
          <a:xfrm>
            <a:off x="1193222" y="3799706"/>
            <a:ext cx="23622" cy="82283"/>
          </a:xfrm>
          <a:custGeom>
            <a:avLst/>
            <a:gdLst>
              <a:gd name="T0" fmla="*/ 0 w 46"/>
              <a:gd name="T1" fmla="*/ 36391660 h 50"/>
              <a:gd name="T2" fmla="*/ 342900 w 46"/>
              <a:gd name="T3" fmla="*/ 26201561 h 50"/>
              <a:gd name="T4" fmla="*/ 171450 w 46"/>
              <a:gd name="T5" fmla="*/ 20378992 h 50"/>
              <a:gd name="T6" fmla="*/ 342900 w 46"/>
              <a:gd name="T7" fmla="*/ 18923953 h 50"/>
              <a:gd name="T8" fmla="*/ 514350 w 46"/>
              <a:gd name="T9" fmla="*/ 18923953 h 50"/>
              <a:gd name="T10" fmla="*/ 1029114 w 46"/>
              <a:gd name="T11" fmla="*/ 17467707 h 50"/>
              <a:gd name="T12" fmla="*/ 2229678 w 46"/>
              <a:gd name="T13" fmla="*/ 17467707 h 50"/>
              <a:gd name="T14" fmla="*/ 7889185 w 46"/>
              <a:gd name="T15" fmla="*/ 0 h 50"/>
              <a:gd name="T16" fmla="*/ 7889185 w 46"/>
              <a:gd name="T17" fmla="*/ 72782113 h 50"/>
              <a:gd name="T18" fmla="*/ 6860071 w 46"/>
              <a:gd name="T19" fmla="*/ 71327074 h 50"/>
              <a:gd name="T20" fmla="*/ 5659507 w 46"/>
              <a:gd name="T21" fmla="*/ 65504505 h 50"/>
              <a:gd name="T22" fmla="*/ 4287492 w 46"/>
              <a:gd name="T23" fmla="*/ 59681936 h 50"/>
              <a:gd name="T24" fmla="*/ 2915478 w 46"/>
              <a:gd name="T25" fmla="*/ 53859367 h 50"/>
              <a:gd name="T26" fmla="*/ 857664 w 46"/>
              <a:gd name="T27" fmla="*/ 40757983 h 50"/>
              <a:gd name="T28" fmla="*/ 0 w 46"/>
              <a:gd name="T29" fmla="*/ 36391660 h 50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46" h="50">
                <a:moveTo>
                  <a:pt x="0" y="25"/>
                </a:moveTo>
                <a:lnTo>
                  <a:pt x="2" y="18"/>
                </a:lnTo>
                <a:lnTo>
                  <a:pt x="1" y="14"/>
                </a:lnTo>
                <a:lnTo>
                  <a:pt x="2" y="13"/>
                </a:lnTo>
                <a:lnTo>
                  <a:pt x="3" y="13"/>
                </a:lnTo>
                <a:lnTo>
                  <a:pt x="6" y="12"/>
                </a:lnTo>
                <a:lnTo>
                  <a:pt x="13" y="12"/>
                </a:lnTo>
                <a:lnTo>
                  <a:pt x="46" y="0"/>
                </a:lnTo>
                <a:lnTo>
                  <a:pt x="46" y="50"/>
                </a:lnTo>
                <a:lnTo>
                  <a:pt x="40" y="49"/>
                </a:lnTo>
                <a:lnTo>
                  <a:pt x="33" y="45"/>
                </a:lnTo>
                <a:lnTo>
                  <a:pt x="25" y="41"/>
                </a:lnTo>
                <a:lnTo>
                  <a:pt x="17" y="37"/>
                </a:lnTo>
                <a:lnTo>
                  <a:pt x="5" y="28"/>
                </a:lnTo>
                <a:lnTo>
                  <a:pt x="0" y="25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fr-FR" dirty="0"/>
          </a:p>
        </p:txBody>
      </p:sp>
      <p:sp>
        <p:nvSpPr>
          <p:cNvPr id="97" name="Freeform 475"/>
          <p:cNvSpPr>
            <a:spLocks/>
          </p:cNvSpPr>
          <p:nvPr>
            <p:custDataLst>
              <p:tags r:id="rId77"/>
            </p:custDataLst>
          </p:nvPr>
        </p:nvSpPr>
        <p:spPr bwMode="auto">
          <a:xfrm>
            <a:off x="1427475" y="4421160"/>
            <a:ext cx="17716" cy="77953"/>
          </a:xfrm>
          <a:custGeom>
            <a:avLst/>
            <a:gdLst>
              <a:gd name="T0" fmla="*/ 7559940 w 27"/>
              <a:gd name="T1" fmla="*/ 0 h 19"/>
              <a:gd name="T2" fmla="*/ 7559940 w 27"/>
              <a:gd name="T3" fmla="*/ 108569961 h 19"/>
              <a:gd name="T4" fmla="*/ 7559940 w 27"/>
              <a:gd name="T5" fmla="*/ 171901184 h 19"/>
              <a:gd name="T6" fmla="*/ 2519803 w 27"/>
              <a:gd name="T7" fmla="*/ 171901184 h 19"/>
              <a:gd name="T8" fmla="*/ 0 w 27"/>
              <a:gd name="T9" fmla="*/ 171901184 h 19"/>
              <a:gd name="T10" fmla="*/ 2519803 w 27"/>
              <a:gd name="T11" fmla="*/ 108569961 h 19"/>
              <a:gd name="T12" fmla="*/ 7559940 w 27"/>
              <a:gd name="T13" fmla="*/ 0 h 19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27" h="19">
                <a:moveTo>
                  <a:pt x="27" y="0"/>
                </a:moveTo>
                <a:lnTo>
                  <a:pt x="27" y="12"/>
                </a:lnTo>
                <a:lnTo>
                  <a:pt x="27" y="19"/>
                </a:lnTo>
                <a:lnTo>
                  <a:pt x="9" y="19"/>
                </a:lnTo>
                <a:lnTo>
                  <a:pt x="0" y="19"/>
                </a:lnTo>
                <a:lnTo>
                  <a:pt x="9" y="12"/>
                </a:lnTo>
                <a:lnTo>
                  <a:pt x="27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 dirty="0"/>
          </a:p>
        </p:txBody>
      </p:sp>
      <p:sp>
        <p:nvSpPr>
          <p:cNvPr id="98" name="Freeform 481"/>
          <p:cNvSpPr>
            <a:spLocks/>
          </p:cNvSpPr>
          <p:nvPr>
            <p:custDataLst>
              <p:tags r:id="rId78"/>
            </p:custDataLst>
          </p:nvPr>
        </p:nvSpPr>
        <p:spPr bwMode="auto">
          <a:xfrm>
            <a:off x="5128257" y="3979429"/>
            <a:ext cx="23622" cy="77953"/>
          </a:xfrm>
          <a:custGeom>
            <a:avLst/>
            <a:gdLst>
              <a:gd name="T0" fmla="*/ 1744907 w 52"/>
              <a:gd name="T1" fmla="*/ 65322450 h 50"/>
              <a:gd name="T2" fmla="*/ 0 w 52"/>
              <a:gd name="T3" fmla="*/ 41806368 h 50"/>
              <a:gd name="T4" fmla="*/ 268532 w 52"/>
              <a:gd name="T5" fmla="*/ 32661225 h 50"/>
              <a:gd name="T6" fmla="*/ 805229 w 52"/>
              <a:gd name="T7" fmla="*/ 23516082 h 50"/>
              <a:gd name="T8" fmla="*/ 1610458 w 52"/>
              <a:gd name="T9" fmla="*/ 16983837 h 50"/>
              <a:gd name="T10" fmla="*/ 2415687 w 52"/>
              <a:gd name="T11" fmla="*/ 11758041 h 50"/>
              <a:gd name="T12" fmla="*/ 3489447 w 52"/>
              <a:gd name="T13" fmla="*/ 6532245 h 50"/>
              <a:gd name="T14" fmla="*/ 4563208 w 52"/>
              <a:gd name="T15" fmla="*/ 3919347 h 50"/>
              <a:gd name="T16" fmla="*/ 5771051 w 52"/>
              <a:gd name="T17" fmla="*/ 1306449 h 50"/>
              <a:gd name="T18" fmla="*/ 6978894 w 52"/>
              <a:gd name="T19" fmla="*/ 0 h 50"/>
              <a:gd name="T20" fmla="*/ 5368437 w 52"/>
              <a:gd name="T21" fmla="*/ 14370939 h 50"/>
              <a:gd name="T22" fmla="*/ 3623530 w 52"/>
              <a:gd name="T23" fmla="*/ 28741878 h 50"/>
              <a:gd name="T24" fmla="*/ 2952750 w 52"/>
              <a:gd name="T25" fmla="*/ 39193470 h 50"/>
              <a:gd name="T26" fmla="*/ 2281604 w 52"/>
              <a:gd name="T27" fmla="*/ 47032164 h 50"/>
              <a:gd name="T28" fmla="*/ 1878989 w 52"/>
              <a:gd name="T29" fmla="*/ 56177307 h 50"/>
              <a:gd name="T30" fmla="*/ 1744907 w 52"/>
              <a:gd name="T31" fmla="*/ 65322450 h 50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0" t="0" r="r" b="b"/>
            <a:pathLst>
              <a:path w="52" h="50">
                <a:moveTo>
                  <a:pt x="13" y="50"/>
                </a:moveTo>
                <a:lnTo>
                  <a:pt x="0" y="32"/>
                </a:lnTo>
                <a:lnTo>
                  <a:pt x="2" y="25"/>
                </a:lnTo>
                <a:lnTo>
                  <a:pt x="6" y="18"/>
                </a:lnTo>
                <a:lnTo>
                  <a:pt x="12" y="13"/>
                </a:lnTo>
                <a:lnTo>
                  <a:pt x="18" y="9"/>
                </a:lnTo>
                <a:lnTo>
                  <a:pt x="26" y="5"/>
                </a:lnTo>
                <a:lnTo>
                  <a:pt x="34" y="3"/>
                </a:lnTo>
                <a:lnTo>
                  <a:pt x="43" y="1"/>
                </a:lnTo>
                <a:lnTo>
                  <a:pt x="52" y="0"/>
                </a:lnTo>
                <a:lnTo>
                  <a:pt x="40" y="11"/>
                </a:lnTo>
                <a:lnTo>
                  <a:pt x="27" y="22"/>
                </a:lnTo>
                <a:lnTo>
                  <a:pt x="22" y="30"/>
                </a:lnTo>
                <a:lnTo>
                  <a:pt x="17" y="36"/>
                </a:lnTo>
                <a:lnTo>
                  <a:pt x="14" y="43"/>
                </a:lnTo>
                <a:lnTo>
                  <a:pt x="13" y="5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fr-FR" dirty="0"/>
          </a:p>
        </p:txBody>
      </p:sp>
      <p:sp>
        <p:nvSpPr>
          <p:cNvPr id="99" name="Freeform 482"/>
          <p:cNvSpPr>
            <a:spLocks/>
          </p:cNvSpPr>
          <p:nvPr>
            <p:custDataLst>
              <p:tags r:id="rId79"/>
            </p:custDataLst>
          </p:nvPr>
        </p:nvSpPr>
        <p:spPr bwMode="auto">
          <a:xfrm>
            <a:off x="4953060" y="3981595"/>
            <a:ext cx="175197" cy="171062"/>
          </a:xfrm>
          <a:custGeom>
            <a:avLst/>
            <a:gdLst>
              <a:gd name="T0" fmla="*/ 14815813 w 320"/>
              <a:gd name="T1" fmla="*/ 66352595 h 234"/>
              <a:gd name="T2" fmla="*/ 11891593 w 320"/>
              <a:gd name="T3" fmla="*/ 64916253 h 234"/>
              <a:gd name="T4" fmla="*/ 12866480 w 320"/>
              <a:gd name="T5" fmla="*/ 63767714 h 234"/>
              <a:gd name="T6" fmla="*/ 15010525 w 320"/>
              <a:gd name="T7" fmla="*/ 62331372 h 234"/>
              <a:gd name="T8" fmla="*/ 12476613 w 320"/>
              <a:gd name="T9" fmla="*/ 58597417 h 234"/>
              <a:gd name="T10" fmla="*/ 8382794 w 320"/>
              <a:gd name="T11" fmla="*/ 54288389 h 234"/>
              <a:gd name="T12" fmla="*/ 7018040 w 320"/>
              <a:gd name="T13" fmla="*/ 51416240 h 234"/>
              <a:gd name="T14" fmla="*/ 6628173 w 320"/>
              <a:gd name="T15" fmla="*/ 49118092 h 234"/>
              <a:gd name="T16" fmla="*/ 6628173 w 320"/>
              <a:gd name="T17" fmla="*/ 47107749 h 234"/>
              <a:gd name="T18" fmla="*/ 7018040 w 320"/>
              <a:gd name="T19" fmla="*/ 45096869 h 234"/>
              <a:gd name="T20" fmla="*/ 8382794 w 320"/>
              <a:gd name="T21" fmla="*/ 42798721 h 234"/>
              <a:gd name="T22" fmla="*/ 10916706 w 320"/>
              <a:gd name="T23" fmla="*/ 40501109 h 234"/>
              <a:gd name="T24" fmla="*/ 14230792 w 320"/>
              <a:gd name="T25" fmla="*/ 39352035 h 234"/>
              <a:gd name="T26" fmla="*/ 15595546 w 320"/>
              <a:gd name="T27" fmla="*/ 36192617 h 234"/>
              <a:gd name="T28" fmla="*/ 13061193 w 320"/>
              <a:gd name="T29" fmla="*/ 31883589 h 234"/>
              <a:gd name="T30" fmla="*/ 11891593 w 320"/>
              <a:gd name="T31" fmla="*/ 29298709 h 234"/>
              <a:gd name="T32" fmla="*/ 11696880 w 320"/>
              <a:gd name="T33" fmla="*/ 24702948 h 234"/>
              <a:gd name="T34" fmla="*/ 10721993 w 320"/>
              <a:gd name="T35" fmla="*/ 20106652 h 234"/>
              <a:gd name="T36" fmla="*/ 8967373 w 320"/>
              <a:gd name="T37" fmla="*/ 13213280 h 234"/>
              <a:gd name="T38" fmla="*/ 6433019 w 320"/>
              <a:gd name="T39" fmla="*/ 8904252 h 234"/>
              <a:gd name="T40" fmla="*/ 3899107 w 320"/>
              <a:gd name="T41" fmla="*/ 7181177 h 234"/>
              <a:gd name="T42" fmla="*/ 1364754 w 320"/>
              <a:gd name="T43" fmla="*/ 2872149 h 234"/>
              <a:gd name="T44" fmla="*/ 1754620 w 320"/>
              <a:gd name="T45" fmla="*/ 0 h 234"/>
              <a:gd name="T46" fmla="*/ 4678840 w 320"/>
              <a:gd name="T47" fmla="*/ 0 h 234"/>
              <a:gd name="T48" fmla="*/ 7407906 w 320"/>
              <a:gd name="T49" fmla="*/ 861806 h 234"/>
              <a:gd name="T50" fmla="*/ 10916706 w 320"/>
              <a:gd name="T51" fmla="*/ 4595760 h 234"/>
              <a:gd name="T52" fmla="*/ 15205679 w 320"/>
              <a:gd name="T53" fmla="*/ 10053326 h 234"/>
              <a:gd name="T54" fmla="*/ 18714479 w 320"/>
              <a:gd name="T55" fmla="*/ 13787817 h 234"/>
              <a:gd name="T56" fmla="*/ 23198165 w 320"/>
              <a:gd name="T57" fmla="*/ 16659966 h 234"/>
              <a:gd name="T58" fmla="*/ 29631626 w 320"/>
              <a:gd name="T59" fmla="*/ 20106652 h 234"/>
              <a:gd name="T60" fmla="*/ 35284912 w 320"/>
              <a:gd name="T61" fmla="*/ 22692069 h 234"/>
              <a:gd name="T62" fmla="*/ 41717931 w 320"/>
              <a:gd name="T63" fmla="*/ 24415680 h 234"/>
              <a:gd name="T64" fmla="*/ 46006905 w 320"/>
              <a:gd name="T65" fmla="*/ 22117532 h 234"/>
              <a:gd name="T66" fmla="*/ 50100725 w 320"/>
              <a:gd name="T67" fmla="*/ 23841143 h 234"/>
              <a:gd name="T68" fmla="*/ 55364144 w 320"/>
              <a:gd name="T69" fmla="*/ 30735051 h 234"/>
              <a:gd name="T70" fmla="*/ 59457964 w 320"/>
              <a:gd name="T71" fmla="*/ 34181737 h 234"/>
              <a:gd name="T72" fmla="*/ 57898498 w 320"/>
              <a:gd name="T73" fmla="*/ 38202961 h 234"/>
              <a:gd name="T74" fmla="*/ 52245212 w 320"/>
              <a:gd name="T75" fmla="*/ 41362914 h 234"/>
              <a:gd name="T76" fmla="*/ 48541259 w 320"/>
              <a:gd name="T77" fmla="*/ 42511452 h 234"/>
              <a:gd name="T78" fmla="*/ 46201618 w 320"/>
              <a:gd name="T79" fmla="*/ 45671406 h 234"/>
              <a:gd name="T80" fmla="*/ 45227172 w 320"/>
              <a:gd name="T81" fmla="*/ 50554435 h 234"/>
              <a:gd name="T82" fmla="*/ 45032018 w 320"/>
              <a:gd name="T83" fmla="*/ 53713852 h 234"/>
              <a:gd name="T84" fmla="*/ 43277839 w 320"/>
              <a:gd name="T85" fmla="*/ 55150195 h 234"/>
              <a:gd name="T86" fmla="*/ 39768598 w 320"/>
              <a:gd name="T87" fmla="*/ 54288389 h 234"/>
              <a:gd name="T88" fmla="*/ 36259799 w 320"/>
              <a:gd name="T89" fmla="*/ 51990777 h 234"/>
              <a:gd name="T90" fmla="*/ 32750558 w 320"/>
              <a:gd name="T91" fmla="*/ 48830824 h 234"/>
              <a:gd name="T92" fmla="*/ 30216205 w 320"/>
              <a:gd name="T93" fmla="*/ 47107749 h 234"/>
              <a:gd name="T94" fmla="*/ 28266872 w 320"/>
              <a:gd name="T95" fmla="*/ 46245943 h 234"/>
              <a:gd name="T96" fmla="*/ 25537806 w 320"/>
              <a:gd name="T97" fmla="*/ 46533211 h 234"/>
              <a:gd name="T98" fmla="*/ 22223719 w 320"/>
              <a:gd name="T99" fmla="*/ 47969018 h 234"/>
              <a:gd name="T100" fmla="*/ 19494653 w 320"/>
              <a:gd name="T101" fmla="*/ 49692629 h 234"/>
              <a:gd name="T102" fmla="*/ 16960300 w 320"/>
              <a:gd name="T103" fmla="*/ 51128972 h 234"/>
              <a:gd name="T104" fmla="*/ 16570433 w 320"/>
              <a:gd name="T105" fmla="*/ 52565314 h 234"/>
              <a:gd name="T106" fmla="*/ 18714479 w 320"/>
              <a:gd name="T107" fmla="*/ 54862926 h 234"/>
              <a:gd name="T108" fmla="*/ 22613586 w 320"/>
              <a:gd name="T109" fmla="*/ 57448343 h 234"/>
              <a:gd name="T110" fmla="*/ 24562919 w 320"/>
              <a:gd name="T111" fmla="*/ 60895029 h 234"/>
              <a:gd name="T112" fmla="*/ 22028565 w 320"/>
              <a:gd name="T113" fmla="*/ 64342251 h 234"/>
              <a:gd name="T114" fmla="*/ 19884520 w 320"/>
              <a:gd name="T115" fmla="*/ 66352595 h 234"/>
              <a:gd name="T116" fmla="*/ 17740033 w 320"/>
              <a:gd name="T117" fmla="*/ 67214401 h 234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0" t="0" r="r" b="b"/>
            <a:pathLst>
              <a:path w="320" h="234">
                <a:moveTo>
                  <a:pt x="87" y="234"/>
                </a:moveTo>
                <a:lnTo>
                  <a:pt x="76" y="231"/>
                </a:lnTo>
                <a:lnTo>
                  <a:pt x="61" y="228"/>
                </a:lnTo>
                <a:lnTo>
                  <a:pt x="61" y="226"/>
                </a:lnTo>
                <a:lnTo>
                  <a:pt x="63" y="224"/>
                </a:lnTo>
                <a:lnTo>
                  <a:pt x="66" y="222"/>
                </a:lnTo>
                <a:lnTo>
                  <a:pt x="70" y="220"/>
                </a:lnTo>
                <a:lnTo>
                  <a:pt x="77" y="217"/>
                </a:lnTo>
                <a:lnTo>
                  <a:pt x="80" y="216"/>
                </a:lnTo>
                <a:lnTo>
                  <a:pt x="64" y="204"/>
                </a:lnTo>
                <a:lnTo>
                  <a:pt x="50" y="194"/>
                </a:lnTo>
                <a:lnTo>
                  <a:pt x="43" y="189"/>
                </a:lnTo>
                <a:lnTo>
                  <a:pt x="38" y="182"/>
                </a:lnTo>
                <a:lnTo>
                  <a:pt x="36" y="179"/>
                </a:lnTo>
                <a:lnTo>
                  <a:pt x="34" y="175"/>
                </a:lnTo>
                <a:lnTo>
                  <a:pt x="34" y="171"/>
                </a:lnTo>
                <a:lnTo>
                  <a:pt x="33" y="167"/>
                </a:lnTo>
                <a:lnTo>
                  <a:pt x="34" y="164"/>
                </a:lnTo>
                <a:lnTo>
                  <a:pt x="34" y="160"/>
                </a:lnTo>
                <a:lnTo>
                  <a:pt x="36" y="157"/>
                </a:lnTo>
                <a:lnTo>
                  <a:pt x="38" y="154"/>
                </a:lnTo>
                <a:lnTo>
                  <a:pt x="43" y="149"/>
                </a:lnTo>
                <a:lnTo>
                  <a:pt x="50" y="145"/>
                </a:lnTo>
                <a:lnTo>
                  <a:pt x="56" y="141"/>
                </a:lnTo>
                <a:lnTo>
                  <a:pt x="64" y="139"/>
                </a:lnTo>
                <a:lnTo>
                  <a:pt x="73" y="137"/>
                </a:lnTo>
                <a:lnTo>
                  <a:pt x="80" y="137"/>
                </a:lnTo>
                <a:lnTo>
                  <a:pt x="80" y="126"/>
                </a:lnTo>
                <a:lnTo>
                  <a:pt x="80" y="111"/>
                </a:lnTo>
                <a:lnTo>
                  <a:pt x="67" y="111"/>
                </a:lnTo>
                <a:lnTo>
                  <a:pt x="61" y="111"/>
                </a:lnTo>
                <a:lnTo>
                  <a:pt x="61" y="102"/>
                </a:lnTo>
                <a:lnTo>
                  <a:pt x="61" y="93"/>
                </a:lnTo>
                <a:lnTo>
                  <a:pt x="60" y="86"/>
                </a:lnTo>
                <a:lnTo>
                  <a:pt x="58" y="79"/>
                </a:lnTo>
                <a:lnTo>
                  <a:pt x="55" y="70"/>
                </a:lnTo>
                <a:lnTo>
                  <a:pt x="53" y="62"/>
                </a:lnTo>
                <a:lnTo>
                  <a:pt x="46" y="46"/>
                </a:lnTo>
                <a:lnTo>
                  <a:pt x="40" y="32"/>
                </a:lnTo>
                <a:lnTo>
                  <a:pt x="33" y="31"/>
                </a:lnTo>
                <a:lnTo>
                  <a:pt x="27" y="29"/>
                </a:lnTo>
                <a:lnTo>
                  <a:pt x="20" y="25"/>
                </a:lnTo>
                <a:lnTo>
                  <a:pt x="16" y="21"/>
                </a:lnTo>
                <a:lnTo>
                  <a:pt x="7" y="10"/>
                </a:lnTo>
                <a:lnTo>
                  <a:pt x="0" y="0"/>
                </a:lnTo>
                <a:lnTo>
                  <a:pt x="9" y="0"/>
                </a:lnTo>
                <a:lnTo>
                  <a:pt x="17" y="0"/>
                </a:lnTo>
                <a:lnTo>
                  <a:pt x="24" y="0"/>
                </a:lnTo>
                <a:lnTo>
                  <a:pt x="33" y="0"/>
                </a:lnTo>
                <a:lnTo>
                  <a:pt x="38" y="3"/>
                </a:lnTo>
                <a:lnTo>
                  <a:pt x="45" y="8"/>
                </a:lnTo>
                <a:lnTo>
                  <a:pt x="56" y="16"/>
                </a:lnTo>
                <a:lnTo>
                  <a:pt x="67" y="26"/>
                </a:lnTo>
                <a:lnTo>
                  <a:pt x="78" y="35"/>
                </a:lnTo>
                <a:lnTo>
                  <a:pt x="88" y="42"/>
                </a:lnTo>
                <a:lnTo>
                  <a:pt x="96" y="48"/>
                </a:lnTo>
                <a:lnTo>
                  <a:pt x="100" y="50"/>
                </a:lnTo>
                <a:lnTo>
                  <a:pt x="119" y="58"/>
                </a:lnTo>
                <a:lnTo>
                  <a:pt x="135" y="65"/>
                </a:lnTo>
                <a:lnTo>
                  <a:pt x="152" y="70"/>
                </a:lnTo>
                <a:lnTo>
                  <a:pt x="166" y="76"/>
                </a:lnTo>
                <a:lnTo>
                  <a:pt x="181" y="79"/>
                </a:lnTo>
                <a:lnTo>
                  <a:pt x="197" y="82"/>
                </a:lnTo>
                <a:lnTo>
                  <a:pt x="214" y="85"/>
                </a:lnTo>
                <a:lnTo>
                  <a:pt x="233" y="87"/>
                </a:lnTo>
                <a:lnTo>
                  <a:pt x="236" y="77"/>
                </a:lnTo>
                <a:lnTo>
                  <a:pt x="240" y="62"/>
                </a:lnTo>
                <a:lnTo>
                  <a:pt x="257" y="83"/>
                </a:lnTo>
                <a:lnTo>
                  <a:pt x="275" y="100"/>
                </a:lnTo>
                <a:lnTo>
                  <a:pt x="284" y="107"/>
                </a:lnTo>
                <a:lnTo>
                  <a:pt x="293" y="113"/>
                </a:lnTo>
                <a:lnTo>
                  <a:pt x="305" y="119"/>
                </a:lnTo>
                <a:lnTo>
                  <a:pt x="320" y="123"/>
                </a:lnTo>
                <a:lnTo>
                  <a:pt x="297" y="133"/>
                </a:lnTo>
                <a:lnTo>
                  <a:pt x="277" y="141"/>
                </a:lnTo>
                <a:lnTo>
                  <a:pt x="268" y="144"/>
                </a:lnTo>
                <a:lnTo>
                  <a:pt x="258" y="147"/>
                </a:lnTo>
                <a:lnTo>
                  <a:pt x="249" y="148"/>
                </a:lnTo>
                <a:lnTo>
                  <a:pt x="240" y="149"/>
                </a:lnTo>
                <a:lnTo>
                  <a:pt x="237" y="159"/>
                </a:lnTo>
                <a:lnTo>
                  <a:pt x="234" y="170"/>
                </a:lnTo>
                <a:lnTo>
                  <a:pt x="232" y="176"/>
                </a:lnTo>
                <a:lnTo>
                  <a:pt x="231" y="181"/>
                </a:lnTo>
                <a:lnTo>
                  <a:pt x="231" y="187"/>
                </a:lnTo>
                <a:lnTo>
                  <a:pt x="233" y="192"/>
                </a:lnTo>
                <a:lnTo>
                  <a:pt x="222" y="192"/>
                </a:lnTo>
                <a:lnTo>
                  <a:pt x="213" y="191"/>
                </a:lnTo>
                <a:lnTo>
                  <a:pt x="204" y="189"/>
                </a:lnTo>
                <a:lnTo>
                  <a:pt x="198" y="187"/>
                </a:lnTo>
                <a:lnTo>
                  <a:pt x="186" y="181"/>
                </a:lnTo>
                <a:lnTo>
                  <a:pt x="176" y="176"/>
                </a:lnTo>
                <a:lnTo>
                  <a:pt x="168" y="170"/>
                </a:lnTo>
                <a:lnTo>
                  <a:pt x="159" y="165"/>
                </a:lnTo>
                <a:lnTo>
                  <a:pt x="155" y="164"/>
                </a:lnTo>
                <a:lnTo>
                  <a:pt x="151" y="162"/>
                </a:lnTo>
                <a:lnTo>
                  <a:pt x="145" y="161"/>
                </a:lnTo>
                <a:lnTo>
                  <a:pt x="140" y="161"/>
                </a:lnTo>
                <a:lnTo>
                  <a:pt x="131" y="162"/>
                </a:lnTo>
                <a:lnTo>
                  <a:pt x="122" y="164"/>
                </a:lnTo>
                <a:lnTo>
                  <a:pt x="114" y="167"/>
                </a:lnTo>
                <a:lnTo>
                  <a:pt x="108" y="170"/>
                </a:lnTo>
                <a:lnTo>
                  <a:pt x="100" y="173"/>
                </a:lnTo>
                <a:lnTo>
                  <a:pt x="94" y="176"/>
                </a:lnTo>
                <a:lnTo>
                  <a:pt x="87" y="178"/>
                </a:lnTo>
                <a:lnTo>
                  <a:pt x="80" y="179"/>
                </a:lnTo>
                <a:lnTo>
                  <a:pt x="85" y="183"/>
                </a:lnTo>
                <a:lnTo>
                  <a:pt x="90" y="188"/>
                </a:lnTo>
                <a:lnTo>
                  <a:pt x="96" y="191"/>
                </a:lnTo>
                <a:lnTo>
                  <a:pt x="101" y="194"/>
                </a:lnTo>
                <a:lnTo>
                  <a:pt x="116" y="200"/>
                </a:lnTo>
                <a:lnTo>
                  <a:pt x="133" y="204"/>
                </a:lnTo>
                <a:lnTo>
                  <a:pt x="126" y="212"/>
                </a:lnTo>
                <a:lnTo>
                  <a:pt x="119" y="219"/>
                </a:lnTo>
                <a:lnTo>
                  <a:pt x="113" y="224"/>
                </a:lnTo>
                <a:lnTo>
                  <a:pt x="108" y="228"/>
                </a:lnTo>
                <a:lnTo>
                  <a:pt x="102" y="231"/>
                </a:lnTo>
                <a:lnTo>
                  <a:pt x="97" y="233"/>
                </a:lnTo>
                <a:lnTo>
                  <a:pt x="91" y="234"/>
                </a:lnTo>
                <a:lnTo>
                  <a:pt x="87" y="234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fr-FR" dirty="0"/>
          </a:p>
        </p:txBody>
      </p:sp>
      <p:sp>
        <p:nvSpPr>
          <p:cNvPr id="100" name="Freeform 483"/>
          <p:cNvSpPr>
            <a:spLocks/>
          </p:cNvSpPr>
          <p:nvPr>
            <p:custDataLst>
              <p:tags r:id="rId80"/>
            </p:custDataLst>
          </p:nvPr>
        </p:nvSpPr>
        <p:spPr bwMode="auto">
          <a:xfrm>
            <a:off x="4915659" y="4464467"/>
            <a:ext cx="64960" cy="77953"/>
          </a:xfrm>
          <a:custGeom>
            <a:avLst/>
            <a:gdLst>
              <a:gd name="T0" fmla="*/ 5796098 w 125"/>
              <a:gd name="T1" fmla="*/ 7175090 h 93"/>
              <a:gd name="T2" fmla="*/ 7552529 w 125"/>
              <a:gd name="T3" fmla="*/ 7175090 h 93"/>
              <a:gd name="T4" fmla="*/ 9133359 w 125"/>
              <a:gd name="T5" fmla="*/ 7175090 h 93"/>
              <a:gd name="T6" fmla="*/ 9660163 w 125"/>
              <a:gd name="T7" fmla="*/ 7175090 h 93"/>
              <a:gd name="T8" fmla="*/ 10187386 w 125"/>
              <a:gd name="T9" fmla="*/ 6419850 h 93"/>
              <a:gd name="T10" fmla="*/ 10714189 w 125"/>
              <a:gd name="T11" fmla="*/ 5664610 h 93"/>
              <a:gd name="T12" fmla="*/ 11416594 w 125"/>
              <a:gd name="T13" fmla="*/ 4154129 h 93"/>
              <a:gd name="T14" fmla="*/ 11943817 w 125"/>
              <a:gd name="T15" fmla="*/ 3020961 h 93"/>
              <a:gd name="T16" fmla="*/ 12295019 w 125"/>
              <a:gd name="T17" fmla="*/ 1888408 h 93"/>
              <a:gd name="T18" fmla="*/ 12646222 w 125"/>
              <a:gd name="T19" fmla="*/ 1133168 h 93"/>
              <a:gd name="T20" fmla="*/ 12646222 w 125"/>
              <a:gd name="T21" fmla="*/ 0 h 93"/>
              <a:gd name="T22" fmla="*/ 20725554 w 125"/>
              <a:gd name="T23" fmla="*/ 0 h 93"/>
              <a:gd name="T24" fmla="*/ 21428378 w 125"/>
              <a:gd name="T25" fmla="*/ 5664610 h 93"/>
              <a:gd name="T26" fmla="*/ 21955182 w 125"/>
              <a:gd name="T27" fmla="*/ 9440811 h 93"/>
              <a:gd name="T28" fmla="*/ 21779581 w 125"/>
              <a:gd name="T29" fmla="*/ 10951292 h 93"/>
              <a:gd name="T30" fmla="*/ 21428378 w 125"/>
              <a:gd name="T31" fmla="*/ 12461773 h 93"/>
              <a:gd name="T32" fmla="*/ 20901156 w 125"/>
              <a:gd name="T33" fmla="*/ 13217013 h 93"/>
              <a:gd name="T34" fmla="*/ 20549953 w 125"/>
              <a:gd name="T35" fmla="*/ 13972253 h 93"/>
              <a:gd name="T36" fmla="*/ 19496346 w 125"/>
              <a:gd name="T37" fmla="*/ 15105421 h 93"/>
              <a:gd name="T38" fmla="*/ 18266718 w 125"/>
              <a:gd name="T39" fmla="*/ 15482734 h 93"/>
              <a:gd name="T40" fmla="*/ 15456260 w 125"/>
              <a:gd name="T41" fmla="*/ 15482734 h 93"/>
              <a:gd name="T42" fmla="*/ 12646222 w 125"/>
              <a:gd name="T43" fmla="*/ 16237974 h 93"/>
              <a:gd name="T44" fmla="*/ 12295019 w 125"/>
              <a:gd name="T45" fmla="*/ 17748455 h 93"/>
              <a:gd name="T46" fmla="*/ 12119418 w 125"/>
              <a:gd name="T47" fmla="*/ 20014176 h 93"/>
              <a:gd name="T48" fmla="*/ 11767797 w 125"/>
              <a:gd name="T49" fmla="*/ 23035137 h 93"/>
              <a:gd name="T50" fmla="*/ 11767797 w 125"/>
              <a:gd name="T51" fmla="*/ 26811953 h 93"/>
              <a:gd name="T52" fmla="*/ 11592195 w 125"/>
              <a:gd name="T53" fmla="*/ 32475948 h 93"/>
              <a:gd name="T54" fmla="*/ 11592195 w 125"/>
              <a:gd name="T55" fmla="*/ 35119597 h 93"/>
              <a:gd name="T56" fmla="*/ 8606555 w 125"/>
              <a:gd name="T57" fmla="*/ 32098635 h 93"/>
              <a:gd name="T58" fmla="*/ 4742490 w 125"/>
              <a:gd name="T59" fmla="*/ 27567194 h 93"/>
              <a:gd name="T60" fmla="*/ 2810458 w 125"/>
              <a:gd name="T61" fmla="*/ 24546232 h 93"/>
              <a:gd name="T62" fmla="*/ 1229628 w 125"/>
              <a:gd name="T63" fmla="*/ 21902584 h 93"/>
              <a:gd name="T64" fmla="*/ 702405 w 125"/>
              <a:gd name="T65" fmla="*/ 20392103 h 93"/>
              <a:gd name="T66" fmla="*/ 351202 w 125"/>
              <a:gd name="T67" fmla="*/ 18881623 h 93"/>
              <a:gd name="T68" fmla="*/ 0 w 125"/>
              <a:gd name="T69" fmla="*/ 17748455 h 93"/>
              <a:gd name="T70" fmla="*/ 0 w 125"/>
              <a:gd name="T71" fmla="*/ 16237974 h 93"/>
              <a:gd name="T72" fmla="*/ 1229628 w 125"/>
              <a:gd name="T73" fmla="*/ 16237974 h 93"/>
              <a:gd name="T74" fmla="*/ 2634437 w 125"/>
              <a:gd name="T75" fmla="*/ 15482734 h 93"/>
              <a:gd name="T76" fmla="*/ 3512863 w 125"/>
              <a:gd name="T77" fmla="*/ 14727494 h 93"/>
              <a:gd name="T78" fmla="*/ 4039666 w 125"/>
              <a:gd name="T79" fmla="*/ 13594940 h 93"/>
              <a:gd name="T80" fmla="*/ 4918092 w 125"/>
              <a:gd name="T81" fmla="*/ 10573365 h 93"/>
              <a:gd name="T82" fmla="*/ 5796098 w 125"/>
              <a:gd name="T83" fmla="*/ 7175090 h 93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</a:gdLst>
            <a:ahLst/>
            <a:cxnLst>
              <a:cxn ang="T84">
                <a:pos x="T0" y="T1"/>
              </a:cxn>
              <a:cxn ang="T85">
                <a:pos x="T2" y="T3"/>
              </a:cxn>
              <a:cxn ang="T86">
                <a:pos x="T4" y="T5"/>
              </a:cxn>
              <a:cxn ang="T87">
                <a:pos x="T6" y="T7"/>
              </a:cxn>
              <a:cxn ang="T88">
                <a:pos x="T8" y="T9"/>
              </a:cxn>
              <a:cxn ang="T89">
                <a:pos x="T10" y="T11"/>
              </a:cxn>
              <a:cxn ang="T90">
                <a:pos x="T12" y="T13"/>
              </a:cxn>
              <a:cxn ang="T91">
                <a:pos x="T14" y="T15"/>
              </a:cxn>
              <a:cxn ang="T92">
                <a:pos x="T16" y="T17"/>
              </a:cxn>
              <a:cxn ang="T93">
                <a:pos x="T18" y="T19"/>
              </a:cxn>
              <a:cxn ang="T94">
                <a:pos x="T20" y="T21"/>
              </a:cxn>
              <a:cxn ang="T95">
                <a:pos x="T22" y="T23"/>
              </a:cxn>
              <a:cxn ang="T96">
                <a:pos x="T24" y="T25"/>
              </a:cxn>
              <a:cxn ang="T97">
                <a:pos x="T26" y="T27"/>
              </a:cxn>
              <a:cxn ang="T98">
                <a:pos x="T28" y="T29"/>
              </a:cxn>
              <a:cxn ang="T99">
                <a:pos x="T30" y="T31"/>
              </a:cxn>
              <a:cxn ang="T100">
                <a:pos x="T32" y="T33"/>
              </a:cxn>
              <a:cxn ang="T101">
                <a:pos x="T34" y="T35"/>
              </a:cxn>
              <a:cxn ang="T102">
                <a:pos x="T36" y="T37"/>
              </a:cxn>
              <a:cxn ang="T103">
                <a:pos x="T38" y="T39"/>
              </a:cxn>
              <a:cxn ang="T104">
                <a:pos x="T40" y="T41"/>
              </a:cxn>
              <a:cxn ang="T105">
                <a:pos x="T42" y="T43"/>
              </a:cxn>
              <a:cxn ang="T106">
                <a:pos x="T44" y="T45"/>
              </a:cxn>
              <a:cxn ang="T107">
                <a:pos x="T46" y="T47"/>
              </a:cxn>
              <a:cxn ang="T108">
                <a:pos x="T48" y="T49"/>
              </a:cxn>
              <a:cxn ang="T109">
                <a:pos x="T50" y="T51"/>
              </a:cxn>
              <a:cxn ang="T110">
                <a:pos x="T52" y="T53"/>
              </a:cxn>
              <a:cxn ang="T111">
                <a:pos x="T54" y="T55"/>
              </a:cxn>
              <a:cxn ang="T112">
                <a:pos x="T56" y="T57"/>
              </a:cxn>
              <a:cxn ang="T113">
                <a:pos x="T58" y="T59"/>
              </a:cxn>
              <a:cxn ang="T114">
                <a:pos x="T60" y="T61"/>
              </a:cxn>
              <a:cxn ang="T115">
                <a:pos x="T62" y="T63"/>
              </a:cxn>
              <a:cxn ang="T116">
                <a:pos x="T64" y="T65"/>
              </a:cxn>
              <a:cxn ang="T117">
                <a:pos x="T66" y="T67"/>
              </a:cxn>
              <a:cxn ang="T118">
                <a:pos x="T68" y="T69"/>
              </a:cxn>
              <a:cxn ang="T119">
                <a:pos x="T70" y="T71"/>
              </a:cxn>
              <a:cxn ang="T120">
                <a:pos x="T72" y="T73"/>
              </a:cxn>
              <a:cxn ang="T121">
                <a:pos x="T74" y="T75"/>
              </a:cxn>
              <a:cxn ang="T122">
                <a:pos x="T76" y="T77"/>
              </a:cxn>
              <a:cxn ang="T123">
                <a:pos x="T78" y="T79"/>
              </a:cxn>
              <a:cxn ang="T124">
                <a:pos x="T80" y="T81"/>
              </a:cxn>
              <a:cxn ang="T125">
                <a:pos x="T82" y="T83"/>
              </a:cxn>
            </a:cxnLst>
            <a:rect l="0" t="0" r="r" b="b"/>
            <a:pathLst>
              <a:path w="125" h="93">
                <a:moveTo>
                  <a:pt x="33" y="19"/>
                </a:moveTo>
                <a:lnTo>
                  <a:pt x="43" y="19"/>
                </a:lnTo>
                <a:lnTo>
                  <a:pt x="52" y="19"/>
                </a:lnTo>
                <a:lnTo>
                  <a:pt x="55" y="19"/>
                </a:lnTo>
                <a:lnTo>
                  <a:pt x="58" y="17"/>
                </a:lnTo>
                <a:lnTo>
                  <a:pt x="61" y="15"/>
                </a:lnTo>
                <a:lnTo>
                  <a:pt x="65" y="11"/>
                </a:lnTo>
                <a:lnTo>
                  <a:pt x="68" y="8"/>
                </a:lnTo>
                <a:lnTo>
                  <a:pt x="70" y="5"/>
                </a:lnTo>
                <a:lnTo>
                  <a:pt x="72" y="3"/>
                </a:lnTo>
                <a:lnTo>
                  <a:pt x="72" y="0"/>
                </a:lnTo>
                <a:lnTo>
                  <a:pt x="118" y="0"/>
                </a:lnTo>
                <a:lnTo>
                  <a:pt x="122" y="15"/>
                </a:lnTo>
                <a:lnTo>
                  <a:pt x="125" y="25"/>
                </a:lnTo>
                <a:lnTo>
                  <a:pt x="124" y="29"/>
                </a:lnTo>
                <a:lnTo>
                  <a:pt x="122" y="33"/>
                </a:lnTo>
                <a:lnTo>
                  <a:pt x="119" y="35"/>
                </a:lnTo>
                <a:lnTo>
                  <a:pt x="117" y="37"/>
                </a:lnTo>
                <a:lnTo>
                  <a:pt x="111" y="40"/>
                </a:lnTo>
                <a:lnTo>
                  <a:pt x="104" y="41"/>
                </a:lnTo>
                <a:lnTo>
                  <a:pt x="88" y="41"/>
                </a:lnTo>
                <a:lnTo>
                  <a:pt x="72" y="43"/>
                </a:lnTo>
                <a:lnTo>
                  <a:pt x="70" y="47"/>
                </a:lnTo>
                <a:lnTo>
                  <a:pt x="69" y="53"/>
                </a:lnTo>
                <a:lnTo>
                  <a:pt x="67" y="61"/>
                </a:lnTo>
                <a:lnTo>
                  <a:pt x="67" y="71"/>
                </a:lnTo>
                <a:lnTo>
                  <a:pt x="66" y="86"/>
                </a:lnTo>
                <a:lnTo>
                  <a:pt x="66" y="93"/>
                </a:lnTo>
                <a:lnTo>
                  <a:pt x="49" y="85"/>
                </a:lnTo>
                <a:lnTo>
                  <a:pt x="27" y="73"/>
                </a:lnTo>
                <a:lnTo>
                  <a:pt x="16" y="65"/>
                </a:lnTo>
                <a:lnTo>
                  <a:pt x="7" y="58"/>
                </a:lnTo>
                <a:lnTo>
                  <a:pt x="4" y="54"/>
                </a:lnTo>
                <a:lnTo>
                  <a:pt x="2" y="50"/>
                </a:lnTo>
                <a:lnTo>
                  <a:pt x="0" y="47"/>
                </a:lnTo>
                <a:lnTo>
                  <a:pt x="0" y="43"/>
                </a:lnTo>
                <a:lnTo>
                  <a:pt x="7" y="43"/>
                </a:lnTo>
                <a:lnTo>
                  <a:pt x="15" y="41"/>
                </a:lnTo>
                <a:lnTo>
                  <a:pt x="20" y="39"/>
                </a:lnTo>
                <a:lnTo>
                  <a:pt x="23" y="36"/>
                </a:lnTo>
                <a:lnTo>
                  <a:pt x="28" y="28"/>
                </a:lnTo>
                <a:lnTo>
                  <a:pt x="33" y="1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fr-FR" dirty="0"/>
          </a:p>
        </p:txBody>
      </p:sp>
      <p:sp>
        <p:nvSpPr>
          <p:cNvPr id="101" name="Freeform 484"/>
          <p:cNvSpPr>
            <a:spLocks/>
          </p:cNvSpPr>
          <p:nvPr>
            <p:custDataLst>
              <p:tags r:id="rId81"/>
            </p:custDataLst>
          </p:nvPr>
        </p:nvSpPr>
        <p:spPr bwMode="auto">
          <a:xfrm>
            <a:off x="4848730" y="4483956"/>
            <a:ext cx="74803" cy="114763"/>
          </a:xfrm>
          <a:custGeom>
            <a:avLst/>
            <a:gdLst>
              <a:gd name="T0" fmla="*/ 4114346 w 133"/>
              <a:gd name="T1" fmla="*/ 3581832 h 154"/>
              <a:gd name="T2" fmla="*/ 4937579 w 133"/>
              <a:gd name="T3" fmla="*/ 2984678 h 154"/>
              <a:gd name="T4" fmla="*/ 6377668 w 133"/>
              <a:gd name="T5" fmla="*/ 1790916 h 154"/>
              <a:gd name="T6" fmla="*/ 6994525 w 133"/>
              <a:gd name="T7" fmla="*/ 1193762 h 154"/>
              <a:gd name="T8" fmla="*/ 7611836 w 133"/>
              <a:gd name="T9" fmla="*/ 597154 h 154"/>
              <a:gd name="T10" fmla="*/ 8640536 w 133"/>
              <a:gd name="T11" fmla="*/ 298304 h 154"/>
              <a:gd name="T12" fmla="*/ 9463314 w 133"/>
              <a:gd name="T13" fmla="*/ 0 h 154"/>
              <a:gd name="T14" fmla="*/ 12138025 w 133"/>
              <a:gd name="T15" fmla="*/ 298304 h 154"/>
              <a:gd name="T16" fmla="*/ 14400893 w 133"/>
              <a:gd name="T17" fmla="*/ 1193762 h 154"/>
              <a:gd name="T18" fmla="*/ 16663761 w 133"/>
              <a:gd name="T19" fmla="*/ 2388070 h 154"/>
              <a:gd name="T20" fmla="*/ 18515239 w 133"/>
              <a:gd name="T21" fmla="*/ 4178986 h 154"/>
              <a:gd name="T22" fmla="*/ 20367171 w 133"/>
              <a:gd name="T23" fmla="*/ 6268207 h 154"/>
              <a:gd name="T24" fmla="*/ 21601339 w 133"/>
              <a:gd name="T25" fmla="*/ 8954581 h 154"/>
              <a:gd name="T26" fmla="*/ 23041429 w 133"/>
              <a:gd name="T27" fmla="*/ 11939805 h 154"/>
              <a:gd name="T28" fmla="*/ 23864207 w 133"/>
              <a:gd name="T29" fmla="*/ 14924483 h 154"/>
              <a:gd name="T30" fmla="*/ 24892907 w 133"/>
              <a:gd name="T31" fmla="*/ 17909708 h 154"/>
              <a:gd name="T32" fmla="*/ 25510218 w 133"/>
              <a:gd name="T33" fmla="*/ 21192690 h 154"/>
              <a:gd name="T34" fmla="*/ 26127529 w 133"/>
              <a:gd name="T35" fmla="*/ 24476218 h 154"/>
              <a:gd name="T36" fmla="*/ 26744386 w 133"/>
              <a:gd name="T37" fmla="*/ 28058050 h 154"/>
              <a:gd name="T38" fmla="*/ 27155775 w 133"/>
              <a:gd name="T39" fmla="*/ 34625107 h 154"/>
              <a:gd name="T40" fmla="*/ 27361696 w 133"/>
              <a:gd name="T41" fmla="*/ 40296160 h 154"/>
              <a:gd name="T42" fmla="*/ 27155775 w 133"/>
              <a:gd name="T43" fmla="*/ 41191618 h 154"/>
              <a:gd name="T44" fmla="*/ 26744386 w 133"/>
              <a:gd name="T45" fmla="*/ 42087622 h 154"/>
              <a:gd name="T46" fmla="*/ 25715686 w 133"/>
              <a:gd name="T47" fmla="*/ 42983080 h 154"/>
              <a:gd name="T48" fmla="*/ 24892907 w 133"/>
              <a:gd name="T49" fmla="*/ 43878538 h 154"/>
              <a:gd name="T50" fmla="*/ 23658739 w 133"/>
              <a:gd name="T51" fmla="*/ 44773996 h 154"/>
              <a:gd name="T52" fmla="*/ 22630039 w 133"/>
              <a:gd name="T53" fmla="*/ 45669454 h 154"/>
              <a:gd name="T54" fmla="*/ 21395418 w 133"/>
              <a:gd name="T55" fmla="*/ 45967758 h 154"/>
              <a:gd name="T56" fmla="*/ 20367171 w 133"/>
              <a:gd name="T57" fmla="*/ 45967758 h 154"/>
              <a:gd name="T58" fmla="*/ 19132550 w 133"/>
              <a:gd name="T59" fmla="*/ 45669454 h 154"/>
              <a:gd name="T60" fmla="*/ 17898382 w 133"/>
              <a:gd name="T61" fmla="*/ 44475146 h 154"/>
              <a:gd name="T62" fmla="*/ 16252371 w 133"/>
              <a:gd name="T63" fmla="*/ 42087622 h 154"/>
              <a:gd name="T64" fmla="*/ 14606814 w 133"/>
              <a:gd name="T65" fmla="*/ 39997856 h 154"/>
              <a:gd name="T66" fmla="*/ 13166725 w 133"/>
              <a:gd name="T67" fmla="*/ 37609785 h 154"/>
              <a:gd name="T68" fmla="*/ 11932104 w 133"/>
              <a:gd name="T69" fmla="*/ 35222261 h 154"/>
              <a:gd name="T70" fmla="*/ 11109325 w 133"/>
              <a:gd name="T71" fmla="*/ 33132495 h 154"/>
              <a:gd name="T72" fmla="*/ 10903404 w 133"/>
              <a:gd name="T73" fmla="*/ 31341579 h 154"/>
              <a:gd name="T74" fmla="*/ 11109325 w 133"/>
              <a:gd name="T75" fmla="*/ 29252359 h 154"/>
              <a:gd name="T76" fmla="*/ 11520714 w 133"/>
              <a:gd name="T77" fmla="*/ 24775068 h 154"/>
              <a:gd name="T78" fmla="*/ 11932104 w 133"/>
              <a:gd name="T79" fmla="*/ 20297232 h 154"/>
              <a:gd name="T80" fmla="*/ 12138025 w 133"/>
              <a:gd name="T81" fmla="*/ 18506316 h 154"/>
              <a:gd name="T82" fmla="*/ 9669236 w 133"/>
              <a:gd name="T83" fmla="*/ 18208012 h 154"/>
              <a:gd name="T84" fmla="*/ 7406368 w 133"/>
              <a:gd name="T85" fmla="*/ 17610858 h 154"/>
              <a:gd name="T86" fmla="*/ 5143046 w 133"/>
              <a:gd name="T87" fmla="*/ 16715399 h 154"/>
              <a:gd name="T88" fmla="*/ 3497489 w 133"/>
              <a:gd name="T89" fmla="*/ 15521637 h 154"/>
              <a:gd name="T90" fmla="*/ 2674257 w 133"/>
              <a:gd name="T91" fmla="*/ 14626179 h 154"/>
              <a:gd name="T92" fmla="*/ 2057400 w 133"/>
              <a:gd name="T93" fmla="*/ 13730721 h 154"/>
              <a:gd name="T94" fmla="*/ 1440089 w 133"/>
              <a:gd name="T95" fmla="*/ 12835263 h 154"/>
              <a:gd name="T96" fmla="*/ 822779 w 133"/>
              <a:gd name="T97" fmla="*/ 11640955 h 154"/>
              <a:gd name="T98" fmla="*/ 411389 w 133"/>
              <a:gd name="T99" fmla="*/ 10148889 h 154"/>
              <a:gd name="T100" fmla="*/ 205921 w 133"/>
              <a:gd name="T101" fmla="*/ 8656277 h 154"/>
              <a:gd name="T102" fmla="*/ 0 w 133"/>
              <a:gd name="T103" fmla="*/ 7163665 h 154"/>
              <a:gd name="T104" fmla="*/ 0 w 133"/>
              <a:gd name="T105" fmla="*/ 5372748 h 154"/>
              <a:gd name="T106" fmla="*/ 1440089 w 133"/>
              <a:gd name="T107" fmla="*/ 4477290 h 154"/>
              <a:gd name="T108" fmla="*/ 4114346 w 133"/>
              <a:gd name="T109" fmla="*/ 3581832 h 154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133" h="154">
                <a:moveTo>
                  <a:pt x="20" y="12"/>
                </a:moveTo>
                <a:lnTo>
                  <a:pt x="24" y="10"/>
                </a:lnTo>
                <a:lnTo>
                  <a:pt x="31" y="6"/>
                </a:lnTo>
                <a:lnTo>
                  <a:pt x="34" y="4"/>
                </a:lnTo>
                <a:lnTo>
                  <a:pt x="37" y="2"/>
                </a:lnTo>
                <a:lnTo>
                  <a:pt x="42" y="1"/>
                </a:lnTo>
                <a:lnTo>
                  <a:pt x="46" y="0"/>
                </a:lnTo>
                <a:lnTo>
                  <a:pt x="59" y="1"/>
                </a:lnTo>
                <a:lnTo>
                  <a:pt x="70" y="4"/>
                </a:lnTo>
                <a:lnTo>
                  <a:pt x="81" y="8"/>
                </a:lnTo>
                <a:lnTo>
                  <a:pt x="90" y="14"/>
                </a:lnTo>
                <a:lnTo>
                  <a:pt x="99" y="21"/>
                </a:lnTo>
                <a:lnTo>
                  <a:pt x="105" y="30"/>
                </a:lnTo>
                <a:lnTo>
                  <a:pt x="112" y="40"/>
                </a:lnTo>
                <a:lnTo>
                  <a:pt x="116" y="50"/>
                </a:lnTo>
                <a:lnTo>
                  <a:pt x="121" y="60"/>
                </a:lnTo>
                <a:lnTo>
                  <a:pt x="124" y="71"/>
                </a:lnTo>
                <a:lnTo>
                  <a:pt x="127" y="82"/>
                </a:lnTo>
                <a:lnTo>
                  <a:pt x="130" y="94"/>
                </a:lnTo>
                <a:lnTo>
                  <a:pt x="132" y="116"/>
                </a:lnTo>
                <a:lnTo>
                  <a:pt x="133" y="135"/>
                </a:lnTo>
                <a:lnTo>
                  <a:pt x="132" y="138"/>
                </a:lnTo>
                <a:lnTo>
                  <a:pt x="130" y="141"/>
                </a:lnTo>
                <a:lnTo>
                  <a:pt x="125" y="144"/>
                </a:lnTo>
                <a:lnTo>
                  <a:pt x="121" y="147"/>
                </a:lnTo>
                <a:lnTo>
                  <a:pt x="115" y="150"/>
                </a:lnTo>
                <a:lnTo>
                  <a:pt x="110" y="153"/>
                </a:lnTo>
                <a:lnTo>
                  <a:pt x="104" y="154"/>
                </a:lnTo>
                <a:lnTo>
                  <a:pt x="99" y="154"/>
                </a:lnTo>
                <a:lnTo>
                  <a:pt x="93" y="153"/>
                </a:lnTo>
                <a:lnTo>
                  <a:pt x="87" y="149"/>
                </a:lnTo>
                <a:lnTo>
                  <a:pt x="79" y="141"/>
                </a:lnTo>
                <a:lnTo>
                  <a:pt x="71" y="134"/>
                </a:lnTo>
                <a:lnTo>
                  <a:pt x="64" y="126"/>
                </a:lnTo>
                <a:lnTo>
                  <a:pt x="58" y="118"/>
                </a:lnTo>
                <a:lnTo>
                  <a:pt x="54" y="111"/>
                </a:lnTo>
                <a:lnTo>
                  <a:pt x="53" y="105"/>
                </a:lnTo>
                <a:lnTo>
                  <a:pt x="54" y="98"/>
                </a:lnTo>
                <a:lnTo>
                  <a:pt x="56" y="83"/>
                </a:lnTo>
                <a:lnTo>
                  <a:pt x="58" y="68"/>
                </a:lnTo>
                <a:lnTo>
                  <a:pt x="59" y="62"/>
                </a:lnTo>
                <a:lnTo>
                  <a:pt x="47" y="61"/>
                </a:lnTo>
                <a:lnTo>
                  <a:pt x="36" y="59"/>
                </a:lnTo>
                <a:lnTo>
                  <a:pt x="25" y="56"/>
                </a:lnTo>
                <a:lnTo>
                  <a:pt x="17" y="52"/>
                </a:lnTo>
                <a:lnTo>
                  <a:pt x="13" y="49"/>
                </a:lnTo>
                <a:lnTo>
                  <a:pt x="10" y="46"/>
                </a:lnTo>
                <a:lnTo>
                  <a:pt x="7" y="43"/>
                </a:lnTo>
                <a:lnTo>
                  <a:pt x="4" y="39"/>
                </a:lnTo>
                <a:lnTo>
                  <a:pt x="2" y="34"/>
                </a:lnTo>
                <a:lnTo>
                  <a:pt x="1" y="29"/>
                </a:lnTo>
                <a:lnTo>
                  <a:pt x="0" y="24"/>
                </a:lnTo>
                <a:lnTo>
                  <a:pt x="0" y="18"/>
                </a:lnTo>
                <a:lnTo>
                  <a:pt x="7" y="15"/>
                </a:lnTo>
                <a:lnTo>
                  <a:pt x="20" y="12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fr-FR" dirty="0"/>
          </a:p>
        </p:txBody>
      </p:sp>
      <p:sp>
        <p:nvSpPr>
          <p:cNvPr id="102" name="Freeform 485"/>
          <p:cNvSpPr>
            <a:spLocks/>
          </p:cNvSpPr>
          <p:nvPr>
            <p:custDataLst>
              <p:tags r:id="rId82"/>
            </p:custDataLst>
          </p:nvPr>
        </p:nvSpPr>
        <p:spPr bwMode="auto">
          <a:xfrm>
            <a:off x="4868415" y="4159154"/>
            <a:ext cx="259842" cy="333464"/>
          </a:xfrm>
          <a:custGeom>
            <a:avLst/>
            <a:gdLst>
              <a:gd name="T0" fmla="*/ 25014653 w 485"/>
              <a:gd name="T1" fmla="*/ 95781962 h 468"/>
              <a:gd name="T2" fmla="*/ 31174991 w 485"/>
              <a:gd name="T3" fmla="*/ 92507668 h 468"/>
              <a:gd name="T4" fmla="*/ 37335329 w 485"/>
              <a:gd name="T5" fmla="*/ 92507668 h 468"/>
              <a:gd name="T6" fmla="*/ 42189112 w 485"/>
              <a:gd name="T7" fmla="*/ 94963388 h 468"/>
              <a:gd name="T8" fmla="*/ 41815811 w 485"/>
              <a:gd name="T9" fmla="*/ 89232853 h 468"/>
              <a:gd name="T10" fmla="*/ 41069208 w 485"/>
              <a:gd name="T11" fmla="*/ 86231243 h 468"/>
              <a:gd name="T12" fmla="*/ 43495667 w 485"/>
              <a:gd name="T13" fmla="*/ 82683743 h 468"/>
              <a:gd name="T14" fmla="*/ 44616003 w 485"/>
              <a:gd name="T15" fmla="*/ 75316061 h 468"/>
              <a:gd name="T16" fmla="*/ 45175956 w 485"/>
              <a:gd name="T17" fmla="*/ 67129283 h 468"/>
              <a:gd name="T18" fmla="*/ 50029738 w 485"/>
              <a:gd name="T19" fmla="*/ 69585525 h 468"/>
              <a:gd name="T20" fmla="*/ 56003426 w 485"/>
              <a:gd name="T21" fmla="*/ 64946246 h 468"/>
              <a:gd name="T22" fmla="*/ 58990269 w 485"/>
              <a:gd name="T23" fmla="*/ 59215711 h 468"/>
              <a:gd name="T24" fmla="*/ 54696439 w 485"/>
              <a:gd name="T25" fmla="*/ 52939285 h 468"/>
              <a:gd name="T26" fmla="*/ 59363571 w 485"/>
              <a:gd name="T27" fmla="*/ 54303748 h 468"/>
              <a:gd name="T28" fmla="*/ 64030271 w 485"/>
              <a:gd name="T29" fmla="*/ 55122322 h 468"/>
              <a:gd name="T30" fmla="*/ 64590223 w 485"/>
              <a:gd name="T31" fmla="*/ 50483565 h 468"/>
              <a:gd name="T32" fmla="*/ 55069740 w 485"/>
              <a:gd name="T33" fmla="*/ 26196959 h 468"/>
              <a:gd name="T34" fmla="*/ 53203233 w 485"/>
              <a:gd name="T35" fmla="*/ 14462681 h 468"/>
              <a:gd name="T36" fmla="*/ 54323137 w 485"/>
              <a:gd name="T37" fmla="*/ 5184646 h 468"/>
              <a:gd name="T38" fmla="*/ 58990269 w 485"/>
              <a:gd name="T39" fmla="*/ 272684 h 468"/>
              <a:gd name="T40" fmla="*/ 62723716 w 485"/>
              <a:gd name="T41" fmla="*/ 4911962 h 468"/>
              <a:gd name="T42" fmla="*/ 70377259 w 485"/>
              <a:gd name="T43" fmla="*/ 12279645 h 468"/>
              <a:gd name="T44" fmla="*/ 77471283 w 485"/>
              <a:gd name="T45" fmla="*/ 19647850 h 468"/>
              <a:gd name="T46" fmla="*/ 79524441 w 485"/>
              <a:gd name="T47" fmla="*/ 26742326 h 468"/>
              <a:gd name="T48" fmla="*/ 81391380 w 485"/>
              <a:gd name="T49" fmla="*/ 37384824 h 468"/>
              <a:gd name="T50" fmla="*/ 83071669 w 485"/>
              <a:gd name="T51" fmla="*/ 47208749 h 468"/>
              <a:gd name="T52" fmla="*/ 79897742 w 485"/>
              <a:gd name="T53" fmla="*/ 48845896 h 468"/>
              <a:gd name="T54" fmla="*/ 76910899 w 485"/>
              <a:gd name="T55" fmla="*/ 50483565 h 468"/>
              <a:gd name="T56" fmla="*/ 79524441 w 485"/>
              <a:gd name="T57" fmla="*/ 54303748 h 468"/>
              <a:gd name="T58" fmla="*/ 83071669 w 485"/>
              <a:gd name="T59" fmla="*/ 55395528 h 468"/>
              <a:gd name="T60" fmla="*/ 84938176 w 485"/>
              <a:gd name="T61" fmla="*/ 71495356 h 468"/>
              <a:gd name="T62" fmla="*/ 88671623 w 485"/>
              <a:gd name="T63" fmla="*/ 85139464 h 468"/>
              <a:gd name="T64" fmla="*/ 89605308 w 485"/>
              <a:gd name="T65" fmla="*/ 103968740 h 468"/>
              <a:gd name="T66" fmla="*/ 86431814 w 485"/>
              <a:gd name="T67" fmla="*/ 99329461 h 468"/>
              <a:gd name="T68" fmla="*/ 84564875 w 485"/>
              <a:gd name="T69" fmla="*/ 97146425 h 468"/>
              <a:gd name="T70" fmla="*/ 81391380 w 485"/>
              <a:gd name="T71" fmla="*/ 99056778 h 468"/>
              <a:gd name="T72" fmla="*/ 80084825 w 485"/>
              <a:gd name="T73" fmla="*/ 108880702 h 468"/>
              <a:gd name="T74" fmla="*/ 76164296 w 485"/>
              <a:gd name="T75" fmla="*/ 106151776 h 468"/>
              <a:gd name="T76" fmla="*/ 72617500 w 485"/>
              <a:gd name="T77" fmla="*/ 104241424 h 468"/>
              <a:gd name="T78" fmla="*/ 70190609 w 485"/>
              <a:gd name="T79" fmla="*/ 109699276 h 468"/>
              <a:gd name="T80" fmla="*/ 64403572 w 485"/>
              <a:gd name="T81" fmla="*/ 112700885 h 468"/>
              <a:gd name="T82" fmla="*/ 62350414 w 485"/>
              <a:gd name="T83" fmla="*/ 109153386 h 468"/>
              <a:gd name="T84" fmla="*/ 58243234 w 485"/>
              <a:gd name="T85" fmla="*/ 107788923 h 468"/>
              <a:gd name="T86" fmla="*/ 56563378 w 485"/>
              <a:gd name="T87" fmla="*/ 116248385 h 468"/>
              <a:gd name="T88" fmla="*/ 55816343 w 485"/>
              <a:gd name="T89" fmla="*/ 122797494 h 468"/>
              <a:gd name="T90" fmla="*/ 57309981 w 485"/>
              <a:gd name="T91" fmla="*/ 127163567 h 468"/>
              <a:gd name="T92" fmla="*/ 50776341 w 485"/>
              <a:gd name="T93" fmla="*/ 127709456 h 468"/>
              <a:gd name="T94" fmla="*/ 48162799 w 485"/>
              <a:gd name="T95" fmla="*/ 126890883 h 468"/>
              <a:gd name="T96" fmla="*/ 45549257 w 485"/>
              <a:gd name="T97" fmla="*/ 120068568 h 468"/>
              <a:gd name="T98" fmla="*/ 42749064 w 485"/>
              <a:gd name="T99" fmla="*/ 114065349 h 468"/>
              <a:gd name="T100" fmla="*/ 38082364 w 485"/>
              <a:gd name="T101" fmla="*/ 110790533 h 468"/>
              <a:gd name="T102" fmla="*/ 35468822 w 485"/>
              <a:gd name="T103" fmla="*/ 107516239 h 468"/>
              <a:gd name="T104" fmla="*/ 25387955 w 485"/>
              <a:gd name="T105" fmla="*/ 113792142 h 468"/>
              <a:gd name="T106" fmla="*/ 16801157 w 485"/>
              <a:gd name="T107" fmla="*/ 118704105 h 468"/>
              <a:gd name="T108" fmla="*/ 12134025 w 485"/>
              <a:gd name="T109" fmla="*/ 125253736 h 468"/>
              <a:gd name="T110" fmla="*/ 5040434 w 485"/>
              <a:gd name="T111" fmla="*/ 125799104 h 468"/>
              <a:gd name="T112" fmla="*/ 1306555 w 485"/>
              <a:gd name="T113" fmla="*/ 119523201 h 468"/>
              <a:gd name="T114" fmla="*/ 0 w 485"/>
              <a:gd name="T115" fmla="*/ 113792142 h 468"/>
              <a:gd name="T116" fmla="*/ 1306555 w 485"/>
              <a:gd name="T117" fmla="*/ 112700885 h 468"/>
              <a:gd name="T118" fmla="*/ 5040434 w 485"/>
              <a:gd name="T119" fmla="*/ 112973569 h 468"/>
              <a:gd name="T120" fmla="*/ 8960531 w 485"/>
              <a:gd name="T121" fmla="*/ 110517849 h 468"/>
              <a:gd name="T122" fmla="*/ 13440580 w 485"/>
              <a:gd name="T123" fmla="*/ 100693924 h 468"/>
              <a:gd name="T124" fmla="*/ 17361109 w 485"/>
              <a:gd name="T125" fmla="*/ 96055168 h 468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0" t="0" r="r" b="b"/>
            <a:pathLst>
              <a:path w="485" h="468">
                <a:moveTo>
                  <a:pt x="100" y="351"/>
                </a:moveTo>
                <a:lnTo>
                  <a:pt x="113" y="351"/>
                </a:lnTo>
                <a:lnTo>
                  <a:pt x="126" y="351"/>
                </a:lnTo>
                <a:lnTo>
                  <a:pt x="134" y="351"/>
                </a:lnTo>
                <a:lnTo>
                  <a:pt x="142" y="348"/>
                </a:lnTo>
                <a:lnTo>
                  <a:pt x="149" y="346"/>
                </a:lnTo>
                <a:lnTo>
                  <a:pt x="158" y="342"/>
                </a:lnTo>
                <a:lnTo>
                  <a:pt x="167" y="339"/>
                </a:lnTo>
                <a:lnTo>
                  <a:pt x="177" y="336"/>
                </a:lnTo>
                <a:lnTo>
                  <a:pt x="188" y="334"/>
                </a:lnTo>
                <a:lnTo>
                  <a:pt x="199" y="333"/>
                </a:lnTo>
                <a:lnTo>
                  <a:pt x="200" y="339"/>
                </a:lnTo>
                <a:lnTo>
                  <a:pt x="203" y="345"/>
                </a:lnTo>
                <a:lnTo>
                  <a:pt x="208" y="352"/>
                </a:lnTo>
                <a:lnTo>
                  <a:pt x="212" y="357"/>
                </a:lnTo>
                <a:lnTo>
                  <a:pt x="226" y="348"/>
                </a:lnTo>
                <a:lnTo>
                  <a:pt x="239" y="339"/>
                </a:lnTo>
                <a:lnTo>
                  <a:pt x="233" y="335"/>
                </a:lnTo>
                <a:lnTo>
                  <a:pt x="226" y="329"/>
                </a:lnTo>
                <a:lnTo>
                  <a:pt x="224" y="327"/>
                </a:lnTo>
                <a:lnTo>
                  <a:pt x="221" y="325"/>
                </a:lnTo>
                <a:lnTo>
                  <a:pt x="220" y="322"/>
                </a:lnTo>
                <a:lnTo>
                  <a:pt x="220" y="320"/>
                </a:lnTo>
                <a:lnTo>
                  <a:pt x="220" y="316"/>
                </a:lnTo>
                <a:lnTo>
                  <a:pt x="222" y="312"/>
                </a:lnTo>
                <a:lnTo>
                  <a:pt x="225" y="309"/>
                </a:lnTo>
                <a:lnTo>
                  <a:pt x="229" y="306"/>
                </a:lnTo>
                <a:lnTo>
                  <a:pt x="233" y="303"/>
                </a:lnTo>
                <a:lnTo>
                  <a:pt x="236" y="301"/>
                </a:lnTo>
                <a:lnTo>
                  <a:pt x="238" y="298"/>
                </a:lnTo>
                <a:lnTo>
                  <a:pt x="239" y="296"/>
                </a:lnTo>
                <a:lnTo>
                  <a:pt x="239" y="276"/>
                </a:lnTo>
                <a:lnTo>
                  <a:pt x="239" y="268"/>
                </a:lnTo>
                <a:lnTo>
                  <a:pt x="239" y="259"/>
                </a:lnTo>
                <a:lnTo>
                  <a:pt x="239" y="240"/>
                </a:lnTo>
                <a:lnTo>
                  <a:pt x="242" y="246"/>
                </a:lnTo>
                <a:lnTo>
                  <a:pt x="246" y="253"/>
                </a:lnTo>
                <a:lnTo>
                  <a:pt x="253" y="259"/>
                </a:lnTo>
                <a:lnTo>
                  <a:pt x="259" y="265"/>
                </a:lnTo>
                <a:lnTo>
                  <a:pt x="268" y="255"/>
                </a:lnTo>
                <a:lnTo>
                  <a:pt x="277" y="249"/>
                </a:lnTo>
                <a:lnTo>
                  <a:pt x="284" y="244"/>
                </a:lnTo>
                <a:lnTo>
                  <a:pt x="292" y="241"/>
                </a:lnTo>
                <a:lnTo>
                  <a:pt x="300" y="238"/>
                </a:lnTo>
                <a:lnTo>
                  <a:pt x="307" y="235"/>
                </a:lnTo>
                <a:lnTo>
                  <a:pt x="316" y="230"/>
                </a:lnTo>
                <a:lnTo>
                  <a:pt x="325" y="222"/>
                </a:lnTo>
                <a:lnTo>
                  <a:pt x="316" y="217"/>
                </a:lnTo>
                <a:lnTo>
                  <a:pt x="310" y="212"/>
                </a:lnTo>
                <a:lnTo>
                  <a:pt x="304" y="208"/>
                </a:lnTo>
                <a:lnTo>
                  <a:pt x="301" y="203"/>
                </a:lnTo>
                <a:lnTo>
                  <a:pt x="293" y="194"/>
                </a:lnTo>
                <a:lnTo>
                  <a:pt x="285" y="185"/>
                </a:lnTo>
                <a:lnTo>
                  <a:pt x="300" y="190"/>
                </a:lnTo>
                <a:lnTo>
                  <a:pt x="312" y="196"/>
                </a:lnTo>
                <a:lnTo>
                  <a:pt x="318" y="199"/>
                </a:lnTo>
                <a:lnTo>
                  <a:pt x="325" y="201"/>
                </a:lnTo>
                <a:lnTo>
                  <a:pt x="332" y="203"/>
                </a:lnTo>
                <a:lnTo>
                  <a:pt x="338" y="203"/>
                </a:lnTo>
                <a:lnTo>
                  <a:pt x="343" y="202"/>
                </a:lnTo>
                <a:lnTo>
                  <a:pt x="345" y="200"/>
                </a:lnTo>
                <a:lnTo>
                  <a:pt x="347" y="197"/>
                </a:lnTo>
                <a:lnTo>
                  <a:pt x="347" y="193"/>
                </a:lnTo>
                <a:lnTo>
                  <a:pt x="346" y="185"/>
                </a:lnTo>
                <a:lnTo>
                  <a:pt x="345" y="179"/>
                </a:lnTo>
                <a:lnTo>
                  <a:pt x="322" y="142"/>
                </a:lnTo>
                <a:lnTo>
                  <a:pt x="303" y="111"/>
                </a:lnTo>
                <a:lnTo>
                  <a:pt x="295" y="96"/>
                </a:lnTo>
                <a:lnTo>
                  <a:pt x="290" y="80"/>
                </a:lnTo>
                <a:lnTo>
                  <a:pt x="288" y="72"/>
                </a:lnTo>
                <a:lnTo>
                  <a:pt x="287" y="63"/>
                </a:lnTo>
                <a:lnTo>
                  <a:pt x="285" y="53"/>
                </a:lnTo>
                <a:lnTo>
                  <a:pt x="285" y="43"/>
                </a:lnTo>
                <a:lnTo>
                  <a:pt x="287" y="34"/>
                </a:lnTo>
                <a:lnTo>
                  <a:pt x="288" y="26"/>
                </a:lnTo>
                <a:lnTo>
                  <a:pt x="291" y="19"/>
                </a:lnTo>
                <a:lnTo>
                  <a:pt x="295" y="13"/>
                </a:lnTo>
                <a:lnTo>
                  <a:pt x="301" y="7"/>
                </a:lnTo>
                <a:lnTo>
                  <a:pt x="307" y="4"/>
                </a:lnTo>
                <a:lnTo>
                  <a:pt x="316" y="1"/>
                </a:lnTo>
                <a:lnTo>
                  <a:pt x="325" y="0"/>
                </a:lnTo>
                <a:lnTo>
                  <a:pt x="328" y="7"/>
                </a:lnTo>
                <a:lnTo>
                  <a:pt x="332" y="13"/>
                </a:lnTo>
                <a:lnTo>
                  <a:pt x="336" y="18"/>
                </a:lnTo>
                <a:lnTo>
                  <a:pt x="340" y="23"/>
                </a:lnTo>
                <a:lnTo>
                  <a:pt x="351" y="31"/>
                </a:lnTo>
                <a:lnTo>
                  <a:pt x="363" y="38"/>
                </a:lnTo>
                <a:lnTo>
                  <a:pt x="377" y="45"/>
                </a:lnTo>
                <a:lnTo>
                  <a:pt x="389" y="51"/>
                </a:lnTo>
                <a:lnTo>
                  <a:pt x="401" y="60"/>
                </a:lnTo>
                <a:lnTo>
                  <a:pt x="412" y="68"/>
                </a:lnTo>
                <a:lnTo>
                  <a:pt x="415" y="72"/>
                </a:lnTo>
                <a:lnTo>
                  <a:pt x="418" y="76"/>
                </a:lnTo>
                <a:lnTo>
                  <a:pt x="421" y="81"/>
                </a:lnTo>
                <a:lnTo>
                  <a:pt x="423" y="86"/>
                </a:lnTo>
                <a:lnTo>
                  <a:pt x="426" y="98"/>
                </a:lnTo>
                <a:lnTo>
                  <a:pt x="428" y="111"/>
                </a:lnTo>
                <a:lnTo>
                  <a:pt x="430" y="122"/>
                </a:lnTo>
                <a:lnTo>
                  <a:pt x="434" y="133"/>
                </a:lnTo>
                <a:lnTo>
                  <a:pt x="436" y="137"/>
                </a:lnTo>
                <a:lnTo>
                  <a:pt x="438" y="142"/>
                </a:lnTo>
                <a:lnTo>
                  <a:pt x="441" y="145"/>
                </a:lnTo>
                <a:lnTo>
                  <a:pt x="445" y="148"/>
                </a:lnTo>
                <a:lnTo>
                  <a:pt x="445" y="173"/>
                </a:lnTo>
                <a:lnTo>
                  <a:pt x="440" y="173"/>
                </a:lnTo>
                <a:lnTo>
                  <a:pt x="436" y="175"/>
                </a:lnTo>
                <a:lnTo>
                  <a:pt x="432" y="177"/>
                </a:lnTo>
                <a:lnTo>
                  <a:pt x="428" y="179"/>
                </a:lnTo>
                <a:lnTo>
                  <a:pt x="425" y="181"/>
                </a:lnTo>
                <a:lnTo>
                  <a:pt x="421" y="183"/>
                </a:lnTo>
                <a:lnTo>
                  <a:pt x="416" y="184"/>
                </a:lnTo>
                <a:lnTo>
                  <a:pt x="412" y="185"/>
                </a:lnTo>
                <a:lnTo>
                  <a:pt x="415" y="189"/>
                </a:lnTo>
                <a:lnTo>
                  <a:pt x="418" y="193"/>
                </a:lnTo>
                <a:lnTo>
                  <a:pt x="422" y="196"/>
                </a:lnTo>
                <a:lnTo>
                  <a:pt x="426" y="199"/>
                </a:lnTo>
                <a:lnTo>
                  <a:pt x="430" y="201"/>
                </a:lnTo>
                <a:lnTo>
                  <a:pt x="435" y="202"/>
                </a:lnTo>
                <a:lnTo>
                  <a:pt x="440" y="203"/>
                </a:lnTo>
                <a:lnTo>
                  <a:pt x="445" y="203"/>
                </a:lnTo>
                <a:lnTo>
                  <a:pt x="446" y="211"/>
                </a:lnTo>
                <a:lnTo>
                  <a:pt x="447" y="225"/>
                </a:lnTo>
                <a:lnTo>
                  <a:pt x="450" y="243"/>
                </a:lnTo>
                <a:lnTo>
                  <a:pt x="455" y="262"/>
                </a:lnTo>
                <a:lnTo>
                  <a:pt x="460" y="282"/>
                </a:lnTo>
                <a:lnTo>
                  <a:pt x="468" y="299"/>
                </a:lnTo>
                <a:lnTo>
                  <a:pt x="471" y="306"/>
                </a:lnTo>
                <a:lnTo>
                  <a:pt x="475" y="312"/>
                </a:lnTo>
                <a:lnTo>
                  <a:pt x="480" y="317"/>
                </a:lnTo>
                <a:lnTo>
                  <a:pt x="485" y="320"/>
                </a:lnTo>
                <a:lnTo>
                  <a:pt x="485" y="382"/>
                </a:lnTo>
                <a:lnTo>
                  <a:pt x="480" y="381"/>
                </a:lnTo>
                <a:lnTo>
                  <a:pt x="475" y="378"/>
                </a:lnTo>
                <a:lnTo>
                  <a:pt x="471" y="374"/>
                </a:lnTo>
                <a:lnTo>
                  <a:pt x="467" y="369"/>
                </a:lnTo>
                <a:lnTo>
                  <a:pt x="463" y="364"/>
                </a:lnTo>
                <a:lnTo>
                  <a:pt x="460" y="359"/>
                </a:lnTo>
                <a:lnTo>
                  <a:pt x="459" y="354"/>
                </a:lnTo>
                <a:lnTo>
                  <a:pt x="458" y="351"/>
                </a:lnTo>
                <a:lnTo>
                  <a:pt x="453" y="356"/>
                </a:lnTo>
                <a:lnTo>
                  <a:pt x="448" y="360"/>
                </a:lnTo>
                <a:lnTo>
                  <a:pt x="444" y="361"/>
                </a:lnTo>
                <a:lnTo>
                  <a:pt x="440" y="362"/>
                </a:lnTo>
                <a:lnTo>
                  <a:pt x="436" y="363"/>
                </a:lnTo>
                <a:lnTo>
                  <a:pt x="432" y="363"/>
                </a:lnTo>
                <a:lnTo>
                  <a:pt x="432" y="380"/>
                </a:lnTo>
                <a:lnTo>
                  <a:pt x="430" y="391"/>
                </a:lnTo>
                <a:lnTo>
                  <a:pt x="429" y="399"/>
                </a:lnTo>
                <a:lnTo>
                  <a:pt x="425" y="413"/>
                </a:lnTo>
                <a:lnTo>
                  <a:pt x="419" y="403"/>
                </a:lnTo>
                <a:lnTo>
                  <a:pt x="412" y="393"/>
                </a:lnTo>
                <a:lnTo>
                  <a:pt x="408" y="389"/>
                </a:lnTo>
                <a:lnTo>
                  <a:pt x="404" y="385"/>
                </a:lnTo>
                <a:lnTo>
                  <a:pt x="401" y="382"/>
                </a:lnTo>
                <a:lnTo>
                  <a:pt x="399" y="382"/>
                </a:lnTo>
                <a:lnTo>
                  <a:pt x="389" y="382"/>
                </a:lnTo>
                <a:lnTo>
                  <a:pt x="379" y="382"/>
                </a:lnTo>
                <a:lnTo>
                  <a:pt x="378" y="389"/>
                </a:lnTo>
                <a:lnTo>
                  <a:pt x="376" y="398"/>
                </a:lnTo>
                <a:lnTo>
                  <a:pt x="376" y="402"/>
                </a:lnTo>
                <a:lnTo>
                  <a:pt x="376" y="406"/>
                </a:lnTo>
                <a:lnTo>
                  <a:pt x="377" y="410"/>
                </a:lnTo>
                <a:lnTo>
                  <a:pt x="379" y="413"/>
                </a:lnTo>
                <a:lnTo>
                  <a:pt x="345" y="413"/>
                </a:lnTo>
                <a:lnTo>
                  <a:pt x="340" y="410"/>
                </a:lnTo>
                <a:lnTo>
                  <a:pt x="337" y="407"/>
                </a:lnTo>
                <a:lnTo>
                  <a:pt x="335" y="404"/>
                </a:lnTo>
                <a:lnTo>
                  <a:pt x="334" y="400"/>
                </a:lnTo>
                <a:lnTo>
                  <a:pt x="333" y="392"/>
                </a:lnTo>
                <a:lnTo>
                  <a:pt x="332" y="382"/>
                </a:lnTo>
                <a:lnTo>
                  <a:pt x="312" y="382"/>
                </a:lnTo>
                <a:lnTo>
                  <a:pt x="312" y="395"/>
                </a:lnTo>
                <a:lnTo>
                  <a:pt x="310" y="405"/>
                </a:lnTo>
                <a:lnTo>
                  <a:pt x="307" y="413"/>
                </a:lnTo>
                <a:lnTo>
                  <a:pt x="305" y="420"/>
                </a:lnTo>
                <a:lnTo>
                  <a:pt x="303" y="426"/>
                </a:lnTo>
                <a:lnTo>
                  <a:pt x="301" y="431"/>
                </a:lnTo>
                <a:lnTo>
                  <a:pt x="300" y="437"/>
                </a:lnTo>
                <a:lnTo>
                  <a:pt x="299" y="443"/>
                </a:lnTo>
                <a:lnTo>
                  <a:pt x="299" y="450"/>
                </a:lnTo>
                <a:lnTo>
                  <a:pt x="301" y="456"/>
                </a:lnTo>
                <a:lnTo>
                  <a:pt x="302" y="460"/>
                </a:lnTo>
                <a:lnTo>
                  <a:pt x="304" y="463"/>
                </a:lnTo>
                <a:lnTo>
                  <a:pt x="307" y="466"/>
                </a:lnTo>
                <a:lnTo>
                  <a:pt x="312" y="468"/>
                </a:lnTo>
                <a:lnTo>
                  <a:pt x="298" y="468"/>
                </a:lnTo>
                <a:lnTo>
                  <a:pt x="284" y="468"/>
                </a:lnTo>
                <a:lnTo>
                  <a:pt x="272" y="468"/>
                </a:lnTo>
                <a:lnTo>
                  <a:pt x="266" y="468"/>
                </a:lnTo>
                <a:lnTo>
                  <a:pt x="264" y="468"/>
                </a:lnTo>
                <a:lnTo>
                  <a:pt x="260" y="467"/>
                </a:lnTo>
                <a:lnTo>
                  <a:pt x="258" y="465"/>
                </a:lnTo>
                <a:lnTo>
                  <a:pt x="256" y="462"/>
                </a:lnTo>
                <a:lnTo>
                  <a:pt x="251" y="456"/>
                </a:lnTo>
                <a:lnTo>
                  <a:pt x="247" y="449"/>
                </a:lnTo>
                <a:lnTo>
                  <a:pt x="244" y="440"/>
                </a:lnTo>
                <a:lnTo>
                  <a:pt x="242" y="432"/>
                </a:lnTo>
                <a:lnTo>
                  <a:pt x="239" y="424"/>
                </a:lnTo>
                <a:lnTo>
                  <a:pt x="239" y="419"/>
                </a:lnTo>
                <a:lnTo>
                  <a:pt x="229" y="418"/>
                </a:lnTo>
                <a:lnTo>
                  <a:pt x="222" y="417"/>
                </a:lnTo>
                <a:lnTo>
                  <a:pt x="215" y="414"/>
                </a:lnTo>
                <a:lnTo>
                  <a:pt x="209" y="411"/>
                </a:lnTo>
                <a:lnTo>
                  <a:pt x="204" y="406"/>
                </a:lnTo>
                <a:lnTo>
                  <a:pt x="202" y="401"/>
                </a:lnTo>
                <a:lnTo>
                  <a:pt x="200" y="395"/>
                </a:lnTo>
                <a:lnTo>
                  <a:pt x="199" y="389"/>
                </a:lnTo>
                <a:lnTo>
                  <a:pt x="190" y="394"/>
                </a:lnTo>
                <a:lnTo>
                  <a:pt x="179" y="399"/>
                </a:lnTo>
                <a:lnTo>
                  <a:pt x="166" y="405"/>
                </a:lnTo>
                <a:lnTo>
                  <a:pt x="150" y="411"/>
                </a:lnTo>
                <a:lnTo>
                  <a:pt x="136" y="417"/>
                </a:lnTo>
                <a:lnTo>
                  <a:pt x="121" y="421"/>
                </a:lnTo>
                <a:lnTo>
                  <a:pt x="107" y="424"/>
                </a:lnTo>
                <a:lnTo>
                  <a:pt x="93" y="425"/>
                </a:lnTo>
                <a:lnTo>
                  <a:pt x="90" y="435"/>
                </a:lnTo>
                <a:lnTo>
                  <a:pt x="86" y="443"/>
                </a:lnTo>
                <a:lnTo>
                  <a:pt x="80" y="451"/>
                </a:lnTo>
                <a:lnTo>
                  <a:pt x="72" y="455"/>
                </a:lnTo>
                <a:lnTo>
                  <a:pt x="65" y="459"/>
                </a:lnTo>
                <a:lnTo>
                  <a:pt x="56" y="461"/>
                </a:lnTo>
                <a:lnTo>
                  <a:pt x="45" y="462"/>
                </a:lnTo>
                <a:lnTo>
                  <a:pt x="33" y="462"/>
                </a:lnTo>
                <a:lnTo>
                  <a:pt x="27" y="461"/>
                </a:lnTo>
                <a:lnTo>
                  <a:pt x="22" y="457"/>
                </a:lnTo>
                <a:lnTo>
                  <a:pt x="16" y="452"/>
                </a:lnTo>
                <a:lnTo>
                  <a:pt x="11" y="446"/>
                </a:lnTo>
                <a:lnTo>
                  <a:pt x="7" y="438"/>
                </a:lnTo>
                <a:lnTo>
                  <a:pt x="3" y="431"/>
                </a:lnTo>
                <a:lnTo>
                  <a:pt x="1" y="424"/>
                </a:lnTo>
                <a:lnTo>
                  <a:pt x="0" y="419"/>
                </a:lnTo>
                <a:lnTo>
                  <a:pt x="0" y="417"/>
                </a:lnTo>
                <a:lnTo>
                  <a:pt x="1" y="415"/>
                </a:lnTo>
                <a:lnTo>
                  <a:pt x="2" y="414"/>
                </a:lnTo>
                <a:lnTo>
                  <a:pt x="3" y="414"/>
                </a:lnTo>
                <a:lnTo>
                  <a:pt x="7" y="413"/>
                </a:lnTo>
                <a:lnTo>
                  <a:pt x="11" y="414"/>
                </a:lnTo>
                <a:lnTo>
                  <a:pt x="16" y="414"/>
                </a:lnTo>
                <a:lnTo>
                  <a:pt x="22" y="415"/>
                </a:lnTo>
                <a:lnTo>
                  <a:pt x="27" y="414"/>
                </a:lnTo>
                <a:lnTo>
                  <a:pt x="33" y="413"/>
                </a:lnTo>
                <a:lnTo>
                  <a:pt x="38" y="411"/>
                </a:lnTo>
                <a:lnTo>
                  <a:pt x="44" y="409"/>
                </a:lnTo>
                <a:lnTo>
                  <a:pt x="48" y="405"/>
                </a:lnTo>
                <a:lnTo>
                  <a:pt x="53" y="401"/>
                </a:lnTo>
                <a:lnTo>
                  <a:pt x="60" y="391"/>
                </a:lnTo>
                <a:lnTo>
                  <a:pt x="66" y="379"/>
                </a:lnTo>
                <a:lnTo>
                  <a:pt x="72" y="369"/>
                </a:lnTo>
                <a:lnTo>
                  <a:pt x="80" y="360"/>
                </a:lnTo>
                <a:lnTo>
                  <a:pt x="83" y="356"/>
                </a:lnTo>
                <a:lnTo>
                  <a:pt x="89" y="354"/>
                </a:lnTo>
                <a:lnTo>
                  <a:pt x="93" y="352"/>
                </a:lnTo>
                <a:lnTo>
                  <a:pt x="100" y="35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fr-FR" dirty="0"/>
          </a:p>
        </p:txBody>
      </p:sp>
      <p:sp>
        <p:nvSpPr>
          <p:cNvPr id="103" name="Freeform 489"/>
          <p:cNvSpPr>
            <a:spLocks/>
          </p:cNvSpPr>
          <p:nvPr>
            <p:custDataLst>
              <p:tags r:id="rId83"/>
            </p:custDataLst>
          </p:nvPr>
        </p:nvSpPr>
        <p:spPr bwMode="auto">
          <a:xfrm>
            <a:off x="2756212" y="2885928"/>
            <a:ext cx="51181" cy="77953"/>
          </a:xfrm>
          <a:custGeom>
            <a:avLst/>
            <a:gdLst>
              <a:gd name="T0" fmla="*/ 15843822 w 100"/>
              <a:gd name="T1" fmla="*/ 0 h 42"/>
              <a:gd name="T2" fmla="*/ 16525272 w 100"/>
              <a:gd name="T3" fmla="*/ 12960804 h 42"/>
              <a:gd name="T4" fmla="*/ 17036256 w 100"/>
              <a:gd name="T5" fmla="*/ 33327975 h 42"/>
              <a:gd name="T6" fmla="*/ 15673356 w 100"/>
              <a:gd name="T7" fmla="*/ 44436846 h 42"/>
              <a:gd name="T8" fmla="*/ 14651387 w 100"/>
              <a:gd name="T9" fmla="*/ 53695146 h 42"/>
              <a:gd name="T10" fmla="*/ 13458539 w 100"/>
              <a:gd name="T11" fmla="*/ 62952086 h 42"/>
              <a:gd name="T12" fmla="*/ 12266105 w 100"/>
              <a:gd name="T13" fmla="*/ 68506521 h 42"/>
              <a:gd name="T14" fmla="*/ 11073670 w 100"/>
              <a:gd name="T15" fmla="*/ 72210386 h 42"/>
              <a:gd name="T16" fmla="*/ 9710769 w 100"/>
              <a:gd name="T17" fmla="*/ 75912889 h 42"/>
              <a:gd name="T18" fmla="*/ 8347869 w 100"/>
              <a:gd name="T19" fmla="*/ 77764821 h 42"/>
              <a:gd name="T20" fmla="*/ 6814503 w 100"/>
              <a:gd name="T21" fmla="*/ 77764821 h 42"/>
              <a:gd name="T22" fmla="*/ 4599686 w 100"/>
              <a:gd name="T23" fmla="*/ 75912889 h 42"/>
              <a:gd name="T24" fmla="*/ 2044351 w 100"/>
              <a:gd name="T25" fmla="*/ 72210386 h 42"/>
              <a:gd name="T26" fmla="*/ 170466 w 100"/>
              <a:gd name="T27" fmla="*/ 68506521 h 42"/>
              <a:gd name="T28" fmla="*/ 0 w 100"/>
              <a:gd name="T29" fmla="*/ 66655950 h 42"/>
              <a:gd name="T30" fmla="*/ 1022382 w 100"/>
              <a:gd name="T31" fmla="*/ 66655950 h 42"/>
              <a:gd name="T32" fmla="*/ 2044351 w 100"/>
              <a:gd name="T33" fmla="*/ 64804018 h 42"/>
              <a:gd name="T34" fmla="*/ 3066733 w 100"/>
              <a:gd name="T35" fmla="*/ 61101514 h 42"/>
              <a:gd name="T36" fmla="*/ 3918236 w 100"/>
              <a:gd name="T37" fmla="*/ 55545718 h 42"/>
              <a:gd name="T38" fmla="*/ 5622068 w 100"/>
              <a:gd name="T39" fmla="*/ 46288779 h 42"/>
              <a:gd name="T40" fmla="*/ 7495953 w 100"/>
              <a:gd name="T41" fmla="*/ 33327975 h 42"/>
              <a:gd name="T42" fmla="*/ 9369838 w 100"/>
              <a:gd name="T43" fmla="*/ 20367171 h 42"/>
              <a:gd name="T44" fmla="*/ 11244136 w 100"/>
              <a:gd name="T45" fmla="*/ 9258300 h 42"/>
              <a:gd name="T46" fmla="*/ 12266105 w 100"/>
              <a:gd name="T47" fmla="*/ 5554436 h 42"/>
              <a:gd name="T48" fmla="*/ 13458539 w 100"/>
              <a:gd name="T49" fmla="*/ 1851932 h 42"/>
              <a:gd name="T50" fmla="*/ 14651387 w 100"/>
              <a:gd name="T51" fmla="*/ 0 h 42"/>
              <a:gd name="T52" fmla="*/ 15843822 w 100"/>
              <a:gd name="T53" fmla="*/ 0 h 42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0" t="0" r="r" b="b"/>
            <a:pathLst>
              <a:path w="100" h="42">
                <a:moveTo>
                  <a:pt x="93" y="0"/>
                </a:moveTo>
                <a:lnTo>
                  <a:pt x="97" y="7"/>
                </a:lnTo>
                <a:lnTo>
                  <a:pt x="100" y="18"/>
                </a:lnTo>
                <a:lnTo>
                  <a:pt x="92" y="24"/>
                </a:lnTo>
                <a:lnTo>
                  <a:pt x="86" y="29"/>
                </a:lnTo>
                <a:lnTo>
                  <a:pt x="79" y="34"/>
                </a:lnTo>
                <a:lnTo>
                  <a:pt x="72" y="37"/>
                </a:lnTo>
                <a:lnTo>
                  <a:pt x="65" y="39"/>
                </a:lnTo>
                <a:lnTo>
                  <a:pt x="57" y="41"/>
                </a:lnTo>
                <a:lnTo>
                  <a:pt x="49" y="42"/>
                </a:lnTo>
                <a:lnTo>
                  <a:pt x="40" y="42"/>
                </a:lnTo>
                <a:lnTo>
                  <a:pt x="27" y="41"/>
                </a:lnTo>
                <a:lnTo>
                  <a:pt x="12" y="39"/>
                </a:lnTo>
                <a:lnTo>
                  <a:pt x="1" y="37"/>
                </a:lnTo>
                <a:lnTo>
                  <a:pt x="0" y="36"/>
                </a:lnTo>
                <a:lnTo>
                  <a:pt x="6" y="36"/>
                </a:lnTo>
                <a:lnTo>
                  <a:pt x="12" y="35"/>
                </a:lnTo>
                <a:lnTo>
                  <a:pt x="18" y="33"/>
                </a:lnTo>
                <a:lnTo>
                  <a:pt x="23" y="30"/>
                </a:lnTo>
                <a:lnTo>
                  <a:pt x="33" y="25"/>
                </a:lnTo>
                <a:lnTo>
                  <a:pt x="44" y="18"/>
                </a:lnTo>
                <a:lnTo>
                  <a:pt x="55" y="11"/>
                </a:lnTo>
                <a:lnTo>
                  <a:pt x="66" y="5"/>
                </a:lnTo>
                <a:lnTo>
                  <a:pt x="72" y="3"/>
                </a:lnTo>
                <a:lnTo>
                  <a:pt x="79" y="1"/>
                </a:lnTo>
                <a:lnTo>
                  <a:pt x="86" y="0"/>
                </a:lnTo>
                <a:lnTo>
                  <a:pt x="93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fr-FR" dirty="0"/>
          </a:p>
        </p:txBody>
      </p:sp>
      <p:sp>
        <p:nvSpPr>
          <p:cNvPr id="104" name="Freeform 490"/>
          <p:cNvSpPr>
            <a:spLocks/>
          </p:cNvSpPr>
          <p:nvPr>
            <p:custDataLst>
              <p:tags r:id="rId84"/>
            </p:custDataLst>
          </p:nvPr>
        </p:nvSpPr>
        <p:spPr bwMode="auto">
          <a:xfrm>
            <a:off x="2644008" y="2693211"/>
            <a:ext cx="19685" cy="80119"/>
          </a:xfrm>
          <a:custGeom>
            <a:avLst/>
            <a:gdLst>
              <a:gd name="T0" fmla="*/ 6300391 w 40"/>
              <a:gd name="T1" fmla="*/ 690030529 h 5"/>
              <a:gd name="T2" fmla="*/ 0 w 40"/>
              <a:gd name="T3" fmla="*/ 690030529 h 5"/>
              <a:gd name="T4" fmla="*/ 787400 w 40"/>
              <a:gd name="T5" fmla="*/ 414020667 h 5"/>
              <a:gd name="T6" fmla="*/ 1417638 w 40"/>
              <a:gd name="T7" fmla="*/ 138010805 h 5"/>
              <a:gd name="T8" fmla="*/ 2362597 w 40"/>
              <a:gd name="T9" fmla="*/ 0 h 5"/>
              <a:gd name="T10" fmla="*/ 3150394 w 40"/>
              <a:gd name="T11" fmla="*/ 0 h 5"/>
              <a:gd name="T12" fmla="*/ 3937794 w 40"/>
              <a:gd name="T13" fmla="*/ 0 h 5"/>
              <a:gd name="T14" fmla="*/ 4725194 w 40"/>
              <a:gd name="T15" fmla="*/ 138010805 h 5"/>
              <a:gd name="T16" fmla="*/ 5512991 w 40"/>
              <a:gd name="T17" fmla="*/ 414020667 h 5"/>
              <a:gd name="T18" fmla="*/ 6300391 w 40"/>
              <a:gd name="T19" fmla="*/ 690030529 h 5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0" t="0" r="r" b="b"/>
            <a:pathLst>
              <a:path w="40" h="5">
                <a:moveTo>
                  <a:pt x="40" y="5"/>
                </a:moveTo>
                <a:lnTo>
                  <a:pt x="0" y="5"/>
                </a:lnTo>
                <a:lnTo>
                  <a:pt x="5" y="3"/>
                </a:lnTo>
                <a:lnTo>
                  <a:pt x="9" y="1"/>
                </a:lnTo>
                <a:lnTo>
                  <a:pt x="15" y="0"/>
                </a:lnTo>
                <a:lnTo>
                  <a:pt x="20" y="0"/>
                </a:lnTo>
                <a:lnTo>
                  <a:pt x="25" y="0"/>
                </a:lnTo>
                <a:lnTo>
                  <a:pt x="30" y="1"/>
                </a:lnTo>
                <a:lnTo>
                  <a:pt x="35" y="3"/>
                </a:lnTo>
                <a:lnTo>
                  <a:pt x="40" y="5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fr-FR" dirty="0"/>
          </a:p>
        </p:txBody>
      </p:sp>
      <p:sp>
        <p:nvSpPr>
          <p:cNvPr id="105" name="Freeform 491"/>
          <p:cNvSpPr>
            <a:spLocks/>
          </p:cNvSpPr>
          <p:nvPr>
            <p:custDataLst>
              <p:tags r:id="rId85"/>
            </p:custDataLst>
          </p:nvPr>
        </p:nvSpPr>
        <p:spPr bwMode="auto">
          <a:xfrm>
            <a:off x="2671567" y="2636912"/>
            <a:ext cx="17716" cy="82283"/>
          </a:xfrm>
          <a:custGeom>
            <a:avLst/>
            <a:gdLst>
              <a:gd name="T0" fmla="*/ 0 w 33"/>
              <a:gd name="T1" fmla="*/ 71948265 h 31"/>
              <a:gd name="T2" fmla="*/ 3748822 w 33"/>
              <a:gd name="T3" fmla="*/ 0 h 31"/>
              <a:gd name="T4" fmla="*/ 3748822 w 33"/>
              <a:gd name="T5" fmla="*/ 15147413 h 31"/>
              <a:gd name="T6" fmla="*/ 4123748 w 33"/>
              <a:gd name="T7" fmla="*/ 37868532 h 31"/>
              <a:gd name="T8" fmla="*/ 4685703 w 33"/>
              <a:gd name="T9" fmla="*/ 53015945 h 31"/>
              <a:gd name="T10" fmla="*/ 5060629 w 33"/>
              <a:gd name="T11" fmla="*/ 68161412 h 31"/>
              <a:gd name="T12" fmla="*/ 5810480 w 33"/>
              <a:gd name="T13" fmla="*/ 98456238 h 31"/>
              <a:gd name="T14" fmla="*/ 6185405 w 33"/>
              <a:gd name="T15" fmla="*/ 117390504 h 31"/>
              <a:gd name="T16" fmla="*/ 0 w 33"/>
              <a:gd name="T17" fmla="*/ 117390504 h 31"/>
              <a:gd name="T18" fmla="*/ 0 w 33"/>
              <a:gd name="T19" fmla="*/ 94669385 h 31"/>
              <a:gd name="T20" fmla="*/ 0 w 33"/>
              <a:gd name="T21" fmla="*/ 71948265 h 31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33" h="31">
                <a:moveTo>
                  <a:pt x="0" y="19"/>
                </a:moveTo>
                <a:lnTo>
                  <a:pt x="20" y="0"/>
                </a:lnTo>
                <a:lnTo>
                  <a:pt x="20" y="4"/>
                </a:lnTo>
                <a:lnTo>
                  <a:pt x="22" y="10"/>
                </a:lnTo>
                <a:lnTo>
                  <a:pt x="25" y="14"/>
                </a:lnTo>
                <a:lnTo>
                  <a:pt x="27" y="18"/>
                </a:lnTo>
                <a:lnTo>
                  <a:pt x="31" y="26"/>
                </a:lnTo>
                <a:lnTo>
                  <a:pt x="33" y="31"/>
                </a:lnTo>
                <a:lnTo>
                  <a:pt x="0" y="31"/>
                </a:lnTo>
                <a:lnTo>
                  <a:pt x="0" y="25"/>
                </a:lnTo>
                <a:lnTo>
                  <a:pt x="0" y="1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fr-FR" dirty="0"/>
          </a:p>
        </p:txBody>
      </p:sp>
      <p:sp>
        <p:nvSpPr>
          <p:cNvPr id="106" name="Freeform 492"/>
          <p:cNvSpPr>
            <a:spLocks/>
          </p:cNvSpPr>
          <p:nvPr>
            <p:custDataLst>
              <p:tags r:id="rId86"/>
            </p:custDataLst>
          </p:nvPr>
        </p:nvSpPr>
        <p:spPr bwMode="auto">
          <a:xfrm>
            <a:off x="2850700" y="2794983"/>
            <a:ext cx="21654" cy="77953"/>
          </a:xfrm>
          <a:custGeom>
            <a:avLst/>
            <a:gdLst>
              <a:gd name="T0" fmla="*/ 7437960 w 41"/>
              <a:gd name="T1" fmla="*/ 0 h 43"/>
              <a:gd name="T2" fmla="*/ 7437960 w 41"/>
              <a:gd name="T3" fmla="*/ 75956337 h 43"/>
              <a:gd name="T4" fmla="*/ 5623938 w 41"/>
              <a:gd name="T5" fmla="*/ 74190003 h 43"/>
              <a:gd name="T6" fmla="*/ 4353824 w 41"/>
              <a:gd name="T7" fmla="*/ 70657336 h 43"/>
              <a:gd name="T8" fmla="*/ 3265581 w 41"/>
              <a:gd name="T9" fmla="*/ 65358335 h 43"/>
              <a:gd name="T10" fmla="*/ 2358357 w 41"/>
              <a:gd name="T11" fmla="*/ 58291671 h 43"/>
              <a:gd name="T12" fmla="*/ 907224 w 41"/>
              <a:gd name="T13" fmla="*/ 44161001 h 43"/>
              <a:gd name="T14" fmla="*/ 0 w 41"/>
              <a:gd name="T15" fmla="*/ 33561670 h 43"/>
              <a:gd name="T16" fmla="*/ 2176912 w 41"/>
              <a:gd name="T17" fmla="*/ 22963667 h 43"/>
              <a:gd name="T18" fmla="*/ 4535269 w 41"/>
              <a:gd name="T19" fmla="*/ 12364336 h 43"/>
              <a:gd name="T20" fmla="*/ 6530736 w 41"/>
              <a:gd name="T21" fmla="*/ 3532667 h 43"/>
              <a:gd name="T22" fmla="*/ 7437960 w 41"/>
              <a:gd name="T23" fmla="*/ 0 h 43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41" h="43">
                <a:moveTo>
                  <a:pt x="41" y="0"/>
                </a:moveTo>
                <a:lnTo>
                  <a:pt x="41" y="43"/>
                </a:lnTo>
                <a:lnTo>
                  <a:pt x="31" y="42"/>
                </a:lnTo>
                <a:lnTo>
                  <a:pt x="24" y="40"/>
                </a:lnTo>
                <a:lnTo>
                  <a:pt x="18" y="37"/>
                </a:lnTo>
                <a:lnTo>
                  <a:pt x="13" y="33"/>
                </a:lnTo>
                <a:lnTo>
                  <a:pt x="5" y="25"/>
                </a:lnTo>
                <a:lnTo>
                  <a:pt x="0" y="19"/>
                </a:lnTo>
                <a:lnTo>
                  <a:pt x="12" y="13"/>
                </a:lnTo>
                <a:lnTo>
                  <a:pt x="25" y="7"/>
                </a:lnTo>
                <a:lnTo>
                  <a:pt x="36" y="2"/>
                </a:lnTo>
                <a:lnTo>
                  <a:pt x="41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fr-FR" dirty="0"/>
          </a:p>
        </p:txBody>
      </p:sp>
      <p:sp>
        <p:nvSpPr>
          <p:cNvPr id="107" name="Freeform 495"/>
          <p:cNvSpPr>
            <a:spLocks/>
          </p:cNvSpPr>
          <p:nvPr>
            <p:custDataLst>
              <p:tags r:id="rId87"/>
            </p:custDataLst>
          </p:nvPr>
        </p:nvSpPr>
        <p:spPr bwMode="auto">
          <a:xfrm>
            <a:off x="3138102" y="2691046"/>
            <a:ext cx="102362" cy="77953"/>
          </a:xfrm>
          <a:custGeom>
            <a:avLst/>
            <a:gdLst>
              <a:gd name="T0" fmla="*/ 2728123 w 187"/>
              <a:gd name="T1" fmla="*/ 9696212 h 80"/>
              <a:gd name="T2" fmla="*/ 7989692 w 187"/>
              <a:gd name="T3" fmla="*/ 0 h 80"/>
              <a:gd name="T4" fmla="*/ 8574605 w 187"/>
              <a:gd name="T5" fmla="*/ 1530906 h 80"/>
              <a:gd name="T6" fmla="*/ 9743549 w 187"/>
              <a:gd name="T7" fmla="*/ 3061811 h 80"/>
              <a:gd name="T8" fmla="*/ 11302728 w 187"/>
              <a:gd name="T9" fmla="*/ 4592717 h 80"/>
              <a:gd name="T10" fmla="*/ 13056585 w 187"/>
              <a:gd name="T11" fmla="*/ 6124337 h 80"/>
              <a:gd name="T12" fmla="*/ 17343887 w 187"/>
              <a:gd name="T13" fmla="*/ 9696212 h 80"/>
              <a:gd name="T14" fmla="*/ 22215662 w 187"/>
              <a:gd name="T15" fmla="*/ 13268801 h 80"/>
              <a:gd name="T16" fmla="*/ 27087436 w 187"/>
              <a:gd name="T17" fmla="*/ 16840676 h 80"/>
              <a:gd name="T18" fmla="*/ 31374297 w 187"/>
              <a:gd name="T19" fmla="*/ 19392424 h 80"/>
              <a:gd name="T20" fmla="*/ 34492657 w 187"/>
              <a:gd name="T21" fmla="*/ 21434108 h 80"/>
              <a:gd name="T22" fmla="*/ 36441190 w 187"/>
              <a:gd name="T23" fmla="*/ 21944171 h 80"/>
              <a:gd name="T24" fmla="*/ 36441190 w 187"/>
              <a:gd name="T25" fmla="*/ 28578572 h 80"/>
              <a:gd name="T26" fmla="*/ 36441190 w 187"/>
              <a:gd name="T27" fmla="*/ 34702909 h 80"/>
              <a:gd name="T28" fmla="*/ 33128154 w 187"/>
              <a:gd name="T29" fmla="*/ 35723036 h 80"/>
              <a:gd name="T30" fmla="*/ 29425764 w 187"/>
              <a:gd name="T31" fmla="*/ 36233814 h 80"/>
              <a:gd name="T32" fmla="*/ 25918051 w 187"/>
              <a:gd name="T33" fmla="*/ 36233814 h 80"/>
              <a:gd name="T34" fmla="*/ 22605015 w 187"/>
              <a:gd name="T35" fmla="*/ 35723036 h 80"/>
              <a:gd name="T36" fmla="*/ 16564298 w 187"/>
              <a:gd name="T37" fmla="*/ 35212973 h 80"/>
              <a:gd name="T38" fmla="*/ 11887200 w 187"/>
              <a:gd name="T39" fmla="*/ 34702909 h 80"/>
              <a:gd name="T40" fmla="*/ 10717815 w 187"/>
              <a:gd name="T41" fmla="*/ 35212973 h 80"/>
              <a:gd name="T42" fmla="*/ 9938667 w 187"/>
              <a:gd name="T43" fmla="*/ 35723036 h 80"/>
              <a:gd name="T44" fmla="*/ 8769282 w 187"/>
              <a:gd name="T45" fmla="*/ 36743878 h 80"/>
              <a:gd name="T46" fmla="*/ 7989692 w 187"/>
              <a:gd name="T47" fmla="*/ 37764720 h 80"/>
              <a:gd name="T48" fmla="*/ 6430954 w 187"/>
              <a:gd name="T49" fmla="*/ 39805689 h 80"/>
              <a:gd name="T50" fmla="*/ 5456246 w 187"/>
              <a:gd name="T51" fmla="*/ 40826531 h 80"/>
              <a:gd name="T52" fmla="*/ 4287303 w 187"/>
              <a:gd name="T53" fmla="*/ 40316468 h 80"/>
              <a:gd name="T54" fmla="*/ 3507713 w 187"/>
              <a:gd name="T55" fmla="*/ 38785562 h 80"/>
              <a:gd name="T56" fmla="*/ 2728123 w 187"/>
              <a:gd name="T57" fmla="*/ 36743878 h 80"/>
              <a:gd name="T58" fmla="*/ 1753856 w 187"/>
              <a:gd name="T59" fmla="*/ 34192131 h 80"/>
              <a:gd name="T60" fmla="*/ 1169385 w 187"/>
              <a:gd name="T61" fmla="*/ 31640383 h 80"/>
              <a:gd name="T62" fmla="*/ 584472 w 187"/>
              <a:gd name="T63" fmla="*/ 29088636 h 80"/>
              <a:gd name="T64" fmla="*/ 389795 w 187"/>
              <a:gd name="T65" fmla="*/ 27047666 h 80"/>
              <a:gd name="T66" fmla="*/ 0 w 187"/>
              <a:gd name="T67" fmla="*/ 25516761 h 80"/>
              <a:gd name="T68" fmla="*/ 389795 w 187"/>
              <a:gd name="T69" fmla="*/ 22454949 h 80"/>
              <a:gd name="T70" fmla="*/ 584472 w 187"/>
              <a:gd name="T71" fmla="*/ 20413266 h 80"/>
              <a:gd name="T72" fmla="*/ 974267 w 187"/>
              <a:gd name="T73" fmla="*/ 18372296 h 80"/>
              <a:gd name="T74" fmla="*/ 1364061 w 187"/>
              <a:gd name="T75" fmla="*/ 15820549 h 80"/>
              <a:gd name="T76" fmla="*/ 2533446 w 187"/>
              <a:gd name="T77" fmla="*/ 12247959 h 80"/>
              <a:gd name="T78" fmla="*/ 2728123 w 187"/>
              <a:gd name="T79" fmla="*/ 9696212 h 80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</a:gdLst>
            <a:ahLst/>
            <a:cxnLst>
              <a:cxn ang="T80">
                <a:pos x="T0" y="T1"/>
              </a:cxn>
              <a:cxn ang="T81">
                <a:pos x="T2" y="T3"/>
              </a:cxn>
              <a:cxn ang="T82">
                <a:pos x="T4" y="T5"/>
              </a:cxn>
              <a:cxn ang="T83">
                <a:pos x="T6" y="T7"/>
              </a:cxn>
              <a:cxn ang="T84">
                <a:pos x="T8" y="T9"/>
              </a:cxn>
              <a:cxn ang="T85">
                <a:pos x="T10" y="T11"/>
              </a:cxn>
              <a:cxn ang="T86">
                <a:pos x="T12" y="T13"/>
              </a:cxn>
              <a:cxn ang="T87">
                <a:pos x="T14" y="T15"/>
              </a:cxn>
              <a:cxn ang="T88">
                <a:pos x="T16" y="T17"/>
              </a:cxn>
              <a:cxn ang="T89">
                <a:pos x="T18" y="T19"/>
              </a:cxn>
              <a:cxn ang="T90">
                <a:pos x="T20" y="T21"/>
              </a:cxn>
              <a:cxn ang="T91">
                <a:pos x="T22" y="T23"/>
              </a:cxn>
              <a:cxn ang="T92">
                <a:pos x="T24" y="T25"/>
              </a:cxn>
              <a:cxn ang="T93">
                <a:pos x="T26" y="T27"/>
              </a:cxn>
              <a:cxn ang="T94">
                <a:pos x="T28" y="T29"/>
              </a:cxn>
              <a:cxn ang="T95">
                <a:pos x="T30" y="T31"/>
              </a:cxn>
              <a:cxn ang="T96">
                <a:pos x="T32" y="T33"/>
              </a:cxn>
              <a:cxn ang="T97">
                <a:pos x="T34" y="T35"/>
              </a:cxn>
              <a:cxn ang="T98">
                <a:pos x="T36" y="T37"/>
              </a:cxn>
              <a:cxn ang="T99">
                <a:pos x="T38" y="T39"/>
              </a:cxn>
              <a:cxn ang="T100">
                <a:pos x="T40" y="T41"/>
              </a:cxn>
              <a:cxn ang="T101">
                <a:pos x="T42" y="T43"/>
              </a:cxn>
              <a:cxn ang="T102">
                <a:pos x="T44" y="T45"/>
              </a:cxn>
              <a:cxn ang="T103">
                <a:pos x="T46" y="T47"/>
              </a:cxn>
              <a:cxn ang="T104">
                <a:pos x="T48" y="T49"/>
              </a:cxn>
              <a:cxn ang="T105">
                <a:pos x="T50" y="T51"/>
              </a:cxn>
              <a:cxn ang="T106">
                <a:pos x="T52" y="T53"/>
              </a:cxn>
              <a:cxn ang="T107">
                <a:pos x="T54" y="T55"/>
              </a:cxn>
              <a:cxn ang="T108">
                <a:pos x="T56" y="T57"/>
              </a:cxn>
              <a:cxn ang="T109">
                <a:pos x="T58" y="T59"/>
              </a:cxn>
              <a:cxn ang="T110">
                <a:pos x="T60" y="T61"/>
              </a:cxn>
              <a:cxn ang="T111">
                <a:pos x="T62" y="T63"/>
              </a:cxn>
              <a:cxn ang="T112">
                <a:pos x="T64" y="T65"/>
              </a:cxn>
              <a:cxn ang="T113">
                <a:pos x="T66" y="T67"/>
              </a:cxn>
              <a:cxn ang="T114">
                <a:pos x="T68" y="T69"/>
              </a:cxn>
              <a:cxn ang="T115">
                <a:pos x="T70" y="T71"/>
              </a:cxn>
              <a:cxn ang="T116">
                <a:pos x="T72" y="T73"/>
              </a:cxn>
              <a:cxn ang="T117">
                <a:pos x="T74" y="T75"/>
              </a:cxn>
              <a:cxn ang="T118">
                <a:pos x="T76" y="T77"/>
              </a:cxn>
              <a:cxn ang="T119">
                <a:pos x="T78" y="T79"/>
              </a:cxn>
            </a:cxnLst>
            <a:rect l="0" t="0" r="r" b="b"/>
            <a:pathLst>
              <a:path w="187" h="80">
                <a:moveTo>
                  <a:pt x="14" y="19"/>
                </a:moveTo>
                <a:lnTo>
                  <a:pt x="41" y="0"/>
                </a:lnTo>
                <a:lnTo>
                  <a:pt x="44" y="3"/>
                </a:lnTo>
                <a:lnTo>
                  <a:pt x="50" y="6"/>
                </a:lnTo>
                <a:lnTo>
                  <a:pt x="58" y="9"/>
                </a:lnTo>
                <a:lnTo>
                  <a:pt x="67" y="12"/>
                </a:lnTo>
                <a:lnTo>
                  <a:pt x="89" y="19"/>
                </a:lnTo>
                <a:lnTo>
                  <a:pt x="114" y="26"/>
                </a:lnTo>
                <a:lnTo>
                  <a:pt x="139" y="33"/>
                </a:lnTo>
                <a:lnTo>
                  <a:pt x="161" y="38"/>
                </a:lnTo>
                <a:lnTo>
                  <a:pt x="177" y="42"/>
                </a:lnTo>
                <a:lnTo>
                  <a:pt x="187" y="43"/>
                </a:lnTo>
                <a:lnTo>
                  <a:pt x="187" y="56"/>
                </a:lnTo>
                <a:lnTo>
                  <a:pt x="187" y="68"/>
                </a:lnTo>
                <a:lnTo>
                  <a:pt x="170" y="70"/>
                </a:lnTo>
                <a:lnTo>
                  <a:pt x="151" y="71"/>
                </a:lnTo>
                <a:lnTo>
                  <a:pt x="133" y="71"/>
                </a:lnTo>
                <a:lnTo>
                  <a:pt x="116" y="70"/>
                </a:lnTo>
                <a:lnTo>
                  <a:pt x="85" y="69"/>
                </a:lnTo>
                <a:lnTo>
                  <a:pt x="61" y="68"/>
                </a:lnTo>
                <a:lnTo>
                  <a:pt x="55" y="69"/>
                </a:lnTo>
                <a:lnTo>
                  <a:pt x="51" y="70"/>
                </a:lnTo>
                <a:lnTo>
                  <a:pt x="45" y="72"/>
                </a:lnTo>
                <a:lnTo>
                  <a:pt x="41" y="74"/>
                </a:lnTo>
                <a:lnTo>
                  <a:pt x="33" y="78"/>
                </a:lnTo>
                <a:lnTo>
                  <a:pt x="28" y="80"/>
                </a:lnTo>
                <a:lnTo>
                  <a:pt x="22" y="79"/>
                </a:lnTo>
                <a:lnTo>
                  <a:pt x="18" y="76"/>
                </a:lnTo>
                <a:lnTo>
                  <a:pt x="14" y="72"/>
                </a:lnTo>
                <a:lnTo>
                  <a:pt x="9" y="67"/>
                </a:lnTo>
                <a:lnTo>
                  <a:pt x="6" y="62"/>
                </a:lnTo>
                <a:lnTo>
                  <a:pt x="3" y="57"/>
                </a:lnTo>
                <a:lnTo>
                  <a:pt x="2" y="53"/>
                </a:lnTo>
                <a:lnTo>
                  <a:pt x="0" y="50"/>
                </a:lnTo>
                <a:lnTo>
                  <a:pt x="2" y="44"/>
                </a:lnTo>
                <a:lnTo>
                  <a:pt x="3" y="40"/>
                </a:lnTo>
                <a:lnTo>
                  <a:pt x="5" y="36"/>
                </a:lnTo>
                <a:lnTo>
                  <a:pt x="7" y="31"/>
                </a:lnTo>
                <a:lnTo>
                  <a:pt x="13" y="24"/>
                </a:lnTo>
                <a:lnTo>
                  <a:pt x="14" y="1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fr-FR" dirty="0"/>
          </a:p>
        </p:txBody>
      </p:sp>
      <p:sp>
        <p:nvSpPr>
          <p:cNvPr id="108" name="Freeform 496"/>
          <p:cNvSpPr>
            <a:spLocks/>
          </p:cNvSpPr>
          <p:nvPr>
            <p:custDataLst>
              <p:tags r:id="rId88"/>
            </p:custDataLst>
          </p:nvPr>
        </p:nvSpPr>
        <p:spPr bwMode="auto">
          <a:xfrm>
            <a:off x="3791644" y="2862108"/>
            <a:ext cx="98425" cy="80119"/>
          </a:xfrm>
          <a:custGeom>
            <a:avLst/>
            <a:gdLst>
              <a:gd name="T0" fmla="*/ 9406588 w 183"/>
              <a:gd name="T1" fmla="*/ 0 h 73"/>
              <a:gd name="T2" fmla="*/ 11852466 w 183"/>
              <a:gd name="T3" fmla="*/ 0 h 73"/>
              <a:gd name="T4" fmla="*/ 14110099 w 183"/>
              <a:gd name="T5" fmla="*/ 647727 h 73"/>
              <a:gd name="T6" fmla="*/ 16179488 w 183"/>
              <a:gd name="T7" fmla="*/ 2590104 h 73"/>
              <a:gd name="T8" fmla="*/ 18248876 w 183"/>
              <a:gd name="T9" fmla="*/ 4531677 h 73"/>
              <a:gd name="T10" fmla="*/ 19942210 w 183"/>
              <a:gd name="T11" fmla="*/ 6474054 h 73"/>
              <a:gd name="T12" fmla="*/ 21823354 w 183"/>
              <a:gd name="T13" fmla="*/ 9711081 h 73"/>
              <a:gd name="T14" fmla="*/ 23328443 w 183"/>
              <a:gd name="T15" fmla="*/ 12301186 h 73"/>
              <a:gd name="T16" fmla="*/ 24645287 w 183"/>
              <a:gd name="T17" fmla="*/ 16185940 h 73"/>
              <a:gd name="T18" fmla="*/ 29913098 w 183"/>
              <a:gd name="T19" fmla="*/ 31724152 h 73"/>
              <a:gd name="T20" fmla="*/ 34428364 w 183"/>
              <a:gd name="T21" fmla="*/ 47262365 h 73"/>
              <a:gd name="T22" fmla="*/ 25774320 w 183"/>
              <a:gd name="T23" fmla="*/ 47262365 h 73"/>
              <a:gd name="T24" fmla="*/ 24080987 w 183"/>
              <a:gd name="T25" fmla="*/ 46614638 h 73"/>
              <a:gd name="T26" fmla="*/ 22011598 w 183"/>
              <a:gd name="T27" fmla="*/ 45319988 h 73"/>
              <a:gd name="T28" fmla="*/ 19565721 w 183"/>
              <a:gd name="T29" fmla="*/ 42730688 h 73"/>
              <a:gd name="T30" fmla="*/ 16932032 w 183"/>
              <a:gd name="T31" fmla="*/ 40140584 h 73"/>
              <a:gd name="T32" fmla="*/ 13733610 w 183"/>
              <a:gd name="T33" fmla="*/ 36255829 h 73"/>
              <a:gd name="T34" fmla="*/ 10911677 w 183"/>
              <a:gd name="T35" fmla="*/ 32371880 h 73"/>
              <a:gd name="T36" fmla="*/ 7901499 w 183"/>
              <a:gd name="T37" fmla="*/ 28487125 h 73"/>
              <a:gd name="T38" fmla="*/ 5267811 w 183"/>
              <a:gd name="T39" fmla="*/ 23954644 h 73"/>
              <a:gd name="T40" fmla="*/ 3010178 w 183"/>
              <a:gd name="T41" fmla="*/ 19422967 h 73"/>
              <a:gd name="T42" fmla="*/ 1316844 w 183"/>
              <a:gd name="T43" fmla="*/ 14890485 h 73"/>
              <a:gd name="T44" fmla="*/ 752544 w 183"/>
              <a:gd name="T45" fmla="*/ 12301186 h 73"/>
              <a:gd name="T46" fmla="*/ 376055 w 183"/>
              <a:gd name="T47" fmla="*/ 10358808 h 73"/>
              <a:gd name="T48" fmla="*/ 188245 w 183"/>
              <a:gd name="T49" fmla="*/ 9064158 h 73"/>
              <a:gd name="T50" fmla="*/ 0 w 183"/>
              <a:gd name="T51" fmla="*/ 7121781 h 73"/>
              <a:gd name="T52" fmla="*/ 188245 w 183"/>
              <a:gd name="T53" fmla="*/ 5179404 h 73"/>
              <a:gd name="T54" fmla="*/ 564300 w 183"/>
              <a:gd name="T55" fmla="*/ 3884754 h 73"/>
              <a:gd name="T56" fmla="*/ 1316844 w 183"/>
              <a:gd name="T57" fmla="*/ 2590104 h 73"/>
              <a:gd name="T58" fmla="*/ 2445878 w 183"/>
              <a:gd name="T59" fmla="*/ 1942377 h 73"/>
              <a:gd name="T60" fmla="*/ 3574477 w 183"/>
              <a:gd name="T61" fmla="*/ 647727 h 73"/>
              <a:gd name="T62" fmla="*/ 5267811 w 183"/>
              <a:gd name="T63" fmla="*/ 0 h 73"/>
              <a:gd name="T64" fmla="*/ 7148955 w 183"/>
              <a:gd name="T65" fmla="*/ 0 h 73"/>
              <a:gd name="T66" fmla="*/ 9406588 w 183"/>
              <a:gd name="T67" fmla="*/ 0 h 73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0" t="0" r="r" b="b"/>
            <a:pathLst>
              <a:path w="183" h="73">
                <a:moveTo>
                  <a:pt x="50" y="0"/>
                </a:moveTo>
                <a:lnTo>
                  <a:pt x="63" y="0"/>
                </a:lnTo>
                <a:lnTo>
                  <a:pt x="75" y="1"/>
                </a:lnTo>
                <a:lnTo>
                  <a:pt x="86" y="4"/>
                </a:lnTo>
                <a:lnTo>
                  <a:pt x="97" y="7"/>
                </a:lnTo>
                <a:lnTo>
                  <a:pt x="106" y="10"/>
                </a:lnTo>
                <a:lnTo>
                  <a:pt x="116" y="15"/>
                </a:lnTo>
                <a:lnTo>
                  <a:pt x="124" y="19"/>
                </a:lnTo>
                <a:lnTo>
                  <a:pt x="131" y="25"/>
                </a:lnTo>
                <a:lnTo>
                  <a:pt x="159" y="49"/>
                </a:lnTo>
                <a:lnTo>
                  <a:pt x="183" y="73"/>
                </a:lnTo>
                <a:lnTo>
                  <a:pt x="137" y="73"/>
                </a:lnTo>
                <a:lnTo>
                  <a:pt x="128" y="72"/>
                </a:lnTo>
                <a:lnTo>
                  <a:pt x="117" y="70"/>
                </a:lnTo>
                <a:lnTo>
                  <a:pt x="104" y="66"/>
                </a:lnTo>
                <a:lnTo>
                  <a:pt x="90" y="62"/>
                </a:lnTo>
                <a:lnTo>
                  <a:pt x="73" y="56"/>
                </a:lnTo>
                <a:lnTo>
                  <a:pt x="58" y="50"/>
                </a:lnTo>
                <a:lnTo>
                  <a:pt x="42" y="44"/>
                </a:lnTo>
                <a:lnTo>
                  <a:pt x="28" y="37"/>
                </a:lnTo>
                <a:lnTo>
                  <a:pt x="16" y="30"/>
                </a:lnTo>
                <a:lnTo>
                  <a:pt x="7" y="23"/>
                </a:lnTo>
                <a:lnTo>
                  <a:pt x="4" y="19"/>
                </a:lnTo>
                <a:lnTo>
                  <a:pt x="2" y="16"/>
                </a:lnTo>
                <a:lnTo>
                  <a:pt x="1" y="14"/>
                </a:lnTo>
                <a:lnTo>
                  <a:pt x="0" y="11"/>
                </a:lnTo>
                <a:lnTo>
                  <a:pt x="1" y="8"/>
                </a:lnTo>
                <a:lnTo>
                  <a:pt x="3" y="6"/>
                </a:lnTo>
                <a:lnTo>
                  <a:pt x="7" y="4"/>
                </a:lnTo>
                <a:lnTo>
                  <a:pt x="13" y="3"/>
                </a:lnTo>
                <a:lnTo>
                  <a:pt x="19" y="1"/>
                </a:lnTo>
                <a:lnTo>
                  <a:pt x="28" y="0"/>
                </a:lnTo>
                <a:lnTo>
                  <a:pt x="38" y="0"/>
                </a:lnTo>
                <a:lnTo>
                  <a:pt x="5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fr-FR" dirty="0"/>
          </a:p>
        </p:txBody>
      </p:sp>
      <p:sp>
        <p:nvSpPr>
          <p:cNvPr id="109" name="Freeform 497"/>
          <p:cNvSpPr>
            <a:spLocks/>
          </p:cNvSpPr>
          <p:nvPr>
            <p:custDataLst>
              <p:tags r:id="rId89"/>
            </p:custDataLst>
          </p:nvPr>
        </p:nvSpPr>
        <p:spPr bwMode="auto">
          <a:xfrm>
            <a:off x="3874321" y="2885928"/>
            <a:ext cx="41339" cy="77953"/>
          </a:xfrm>
          <a:custGeom>
            <a:avLst/>
            <a:gdLst>
              <a:gd name="T0" fmla="*/ 0 w 79"/>
              <a:gd name="T1" fmla="*/ 11108871 h 42"/>
              <a:gd name="T2" fmla="*/ 4095932 w 79"/>
              <a:gd name="T3" fmla="*/ 3702504 h 42"/>
              <a:gd name="T4" fmla="*/ 7301444 w 79"/>
              <a:gd name="T5" fmla="*/ 1851932 h 42"/>
              <a:gd name="T6" fmla="*/ 10685040 w 79"/>
              <a:gd name="T7" fmla="*/ 0 h 42"/>
              <a:gd name="T8" fmla="*/ 14068636 w 79"/>
              <a:gd name="T9" fmla="*/ 0 h 42"/>
              <a:gd name="T10" fmla="*/ 14068636 w 79"/>
              <a:gd name="T11" fmla="*/ 16663307 h 42"/>
              <a:gd name="T12" fmla="*/ 14068636 w 79"/>
              <a:gd name="T13" fmla="*/ 33327975 h 42"/>
              <a:gd name="T14" fmla="*/ 14068636 w 79"/>
              <a:gd name="T15" fmla="*/ 40734343 h 42"/>
              <a:gd name="T16" fmla="*/ 13356300 w 79"/>
              <a:gd name="T17" fmla="*/ 49991282 h 42"/>
              <a:gd name="T18" fmla="*/ 12822048 w 79"/>
              <a:gd name="T19" fmla="*/ 57397650 h 42"/>
              <a:gd name="T20" fmla="*/ 12109712 w 79"/>
              <a:gd name="T21" fmla="*/ 64804018 h 42"/>
              <a:gd name="T22" fmla="*/ 11041208 w 79"/>
              <a:gd name="T23" fmla="*/ 70358454 h 42"/>
              <a:gd name="T24" fmla="*/ 10150788 w 79"/>
              <a:gd name="T25" fmla="*/ 74062318 h 42"/>
              <a:gd name="T26" fmla="*/ 9082284 w 79"/>
              <a:gd name="T27" fmla="*/ 77764821 h 42"/>
              <a:gd name="T28" fmla="*/ 8191864 w 79"/>
              <a:gd name="T29" fmla="*/ 77764821 h 42"/>
              <a:gd name="T30" fmla="*/ 7123360 w 79"/>
              <a:gd name="T31" fmla="*/ 77764821 h 42"/>
              <a:gd name="T32" fmla="*/ 6232940 w 79"/>
              <a:gd name="T33" fmla="*/ 75912889 h 42"/>
              <a:gd name="T34" fmla="*/ 5164436 w 79"/>
              <a:gd name="T35" fmla="*/ 72210386 h 42"/>
              <a:gd name="T36" fmla="*/ 4452100 w 79"/>
              <a:gd name="T37" fmla="*/ 68506521 h 42"/>
              <a:gd name="T38" fmla="*/ 2849344 w 79"/>
              <a:gd name="T39" fmla="*/ 59249582 h 42"/>
              <a:gd name="T40" fmla="*/ 1958924 w 79"/>
              <a:gd name="T41" fmla="*/ 48140711 h 42"/>
              <a:gd name="T42" fmla="*/ 890420 w 79"/>
              <a:gd name="T43" fmla="*/ 37030479 h 42"/>
              <a:gd name="T44" fmla="*/ 356168 w 79"/>
              <a:gd name="T45" fmla="*/ 25921607 h 42"/>
              <a:gd name="T46" fmla="*/ 0 w 79"/>
              <a:gd name="T47" fmla="*/ 16663307 h 42"/>
              <a:gd name="T48" fmla="*/ 0 w 79"/>
              <a:gd name="T49" fmla="*/ 11108871 h 42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79" h="42">
                <a:moveTo>
                  <a:pt x="0" y="6"/>
                </a:moveTo>
                <a:lnTo>
                  <a:pt x="23" y="2"/>
                </a:lnTo>
                <a:lnTo>
                  <a:pt x="41" y="1"/>
                </a:lnTo>
                <a:lnTo>
                  <a:pt x="60" y="0"/>
                </a:lnTo>
                <a:lnTo>
                  <a:pt x="79" y="0"/>
                </a:lnTo>
                <a:lnTo>
                  <a:pt x="79" y="9"/>
                </a:lnTo>
                <a:lnTo>
                  <a:pt x="79" y="18"/>
                </a:lnTo>
                <a:lnTo>
                  <a:pt x="79" y="22"/>
                </a:lnTo>
                <a:lnTo>
                  <a:pt x="75" y="27"/>
                </a:lnTo>
                <a:lnTo>
                  <a:pt x="72" y="31"/>
                </a:lnTo>
                <a:lnTo>
                  <a:pt x="68" y="35"/>
                </a:lnTo>
                <a:lnTo>
                  <a:pt x="62" y="38"/>
                </a:lnTo>
                <a:lnTo>
                  <a:pt x="57" y="40"/>
                </a:lnTo>
                <a:lnTo>
                  <a:pt x="51" y="42"/>
                </a:lnTo>
                <a:lnTo>
                  <a:pt x="46" y="42"/>
                </a:lnTo>
                <a:lnTo>
                  <a:pt x="40" y="42"/>
                </a:lnTo>
                <a:lnTo>
                  <a:pt x="35" y="41"/>
                </a:lnTo>
                <a:lnTo>
                  <a:pt x="29" y="39"/>
                </a:lnTo>
                <a:lnTo>
                  <a:pt x="25" y="37"/>
                </a:lnTo>
                <a:lnTo>
                  <a:pt x="16" y="32"/>
                </a:lnTo>
                <a:lnTo>
                  <a:pt x="11" y="26"/>
                </a:lnTo>
                <a:lnTo>
                  <a:pt x="5" y="20"/>
                </a:lnTo>
                <a:lnTo>
                  <a:pt x="2" y="14"/>
                </a:lnTo>
                <a:lnTo>
                  <a:pt x="0" y="9"/>
                </a:lnTo>
                <a:lnTo>
                  <a:pt x="0" y="6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fr-FR" dirty="0"/>
          </a:p>
        </p:txBody>
      </p:sp>
      <p:sp>
        <p:nvSpPr>
          <p:cNvPr id="110" name="Freeform 498"/>
          <p:cNvSpPr>
            <a:spLocks/>
          </p:cNvSpPr>
          <p:nvPr>
            <p:custDataLst>
              <p:tags r:id="rId90"/>
            </p:custDataLst>
          </p:nvPr>
        </p:nvSpPr>
        <p:spPr bwMode="auto">
          <a:xfrm>
            <a:off x="3911723" y="2901085"/>
            <a:ext cx="64960" cy="80119"/>
          </a:xfrm>
          <a:custGeom>
            <a:avLst/>
            <a:gdLst>
              <a:gd name="T0" fmla="*/ 24286706 w 113"/>
              <a:gd name="T1" fmla="*/ 49762382 h 52"/>
              <a:gd name="T2" fmla="*/ 24071595 w 113"/>
              <a:gd name="T3" fmla="*/ 53589388 h 52"/>
              <a:gd name="T4" fmla="*/ 23427188 w 113"/>
              <a:gd name="T5" fmla="*/ 57417525 h 52"/>
              <a:gd name="T6" fmla="*/ 22782318 w 113"/>
              <a:gd name="T7" fmla="*/ 59969239 h 52"/>
              <a:gd name="T8" fmla="*/ 22137448 w 113"/>
              <a:gd name="T9" fmla="*/ 62520953 h 52"/>
              <a:gd name="T10" fmla="*/ 20203302 w 113"/>
              <a:gd name="T11" fmla="*/ 65072667 h 52"/>
              <a:gd name="T12" fmla="*/ 18268691 w 113"/>
              <a:gd name="T13" fmla="*/ 66349089 h 52"/>
              <a:gd name="T14" fmla="*/ 14185287 w 113"/>
              <a:gd name="T15" fmla="*/ 66349089 h 52"/>
              <a:gd name="T16" fmla="*/ 11391159 w 113"/>
              <a:gd name="T17" fmla="*/ 65072667 h 52"/>
              <a:gd name="T18" fmla="*/ 10101419 w 113"/>
              <a:gd name="T19" fmla="*/ 65072667 h 52"/>
              <a:gd name="T20" fmla="*/ 8381920 w 113"/>
              <a:gd name="T21" fmla="*/ 61245661 h 52"/>
              <a:gd name="T22" fmla="*/ 6447773 w 113"/>
              <a:gd name="T23" fmla="*/ 57417525 h 52"/>
              <a:gd name="T24" fmla="*/ 4513627 w 113"/>
              <a:gd name="T25" fmla="*/ 52314096 h 52"/>
              <a:gd name="T26" fmla="*/ 2794128 w 113"/>
              <a:gd name="T27" fmla="*/ 45934246 h 52"/>
              <a:gd name="T28" fmla="*/ 1289740 w 113"/>
              <a:gd name="T29" fmla="*/ 39554395 h 52"/>
              <a:gd name="T30" fmla="*/ 859518 w 113"/>
              <a:gd name="T31" fmla="*/ 35726259 h 52"/>
              <a:gd name="T32" fmla="*/ 429759 w 113"/>
              <a:gd name="T33" fmla="*/ 31898123 h 52"/>
              <a:gd name="T34" fmla="*/ 215111 w 113"/>
              <a:gd name="T35" fmla="*/ 28071116 h 52"/>
              <a:gd name="T36" fmla="*/ 0 w 113"/>
              <a:gd name="T37" fmla="*/ 25519402 h 52"/>
              <a:gd name="T38" fmla="*/ 215111 w 113"/>
              <a:gd name="T39" fmla="*/ 19139551 h 52"/>
              <a:gd name="T40" fmla="*/ 215111 w 113"/>
              <a:gd name="T41" fmla="*/ 14034993 h 52"/>
              <a:gd name="T42" fmla="*/ 644870 w 113"/>
              <a:gd name="T43" fmla="*/ 10207987 h 52"/>
              <a:gd name="T44" fmla="*/ 1074629 w 113"/>
              <a:gd name="T45" fmla="*/ 6379850 h 52"/>
              <a:gd name="T46" fmla="*/ 1504388 w 113"/>
              <a:gd name="T47" fmla="*/ 3828136 h 52"/>
              <a:gd name="T48" fmla="*/ 2149258 w 113"/>
              <a:gd name="T49" fmla="*/ 2551714 h 52"/>
              <a:gd name="T50" fmla="*/ 3008775 w 113"/>
              <a:gd name="T51" fmla="*/ 1276422 h 52"/>
              <a:gd name="T52" fmla="*/ 3653646 w 113"/>
              <a:gd name="T53" fmla="*/ 0 h 52"/>
              <a:gd name="T54" fmla="*/ 5588256 w 113"/>
              <a:gd name="T55" fmla="*/ 0 h 52"/>
              <a:gd name="T56" fmla="*/ 7737514 w 113"/>
              <a:gd name="T57" fmla="*/ 2551714 h 52"/>
              <a:gd name="T58" fmla="*/ 9886771 w 113"/>
              <a:gd name="T59" fmla="*/ 6379850 h 52"/>
              <a:gd name="T60" fmla="*/ 12250677 w 113"/>
              <a:gd name="T61" fmla="*/ 11483279 h 52"/>
              <a:gd name="T62" fmla="*/ 16549192 w 113"/>
              <a:gd name="T63" fmla="*/ 22966558 h 52"/>
              <a:gd name="T64" fmla="*/ 20417949 w 113"/>
              <a:gd name="T65" fmla="*/ 37002681 h 52"/>
              <a:gd name="T66" fmla="*/ 23212077 w 113"/>
              <a:gd name="T67" fmla="*/ 45934246 h 52"/>
              <a:gd name="T68" fmla="*/ 24286706 w 113"/>
              <a:gd name="T69" fmla="*/ 49762382 h 52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0" t="0" r="r" b="b"/>
            <a:pathLst>
              <a:path w="113" h="52">
                <a:moveTo>
                  <a:pt x="113" y="39"/>
                </a:moveTo>
                <a:lnTo>
                  <a:pt x="112" y="42"/>
                </a:lnTo>
                <a:lnTo>
                  <a:pt x="109" y="45"/>
                </a:lnTo>
                <a:lnTo>
                  <a:pt x="106" y="47"/>
                </a:lnTo>
                <a:lnTo>
                  <a:pt x="103" y="49"/>
                </a:lnTo>
                <a:lnTo>
                  <a:pt x="94" y="51"/>
                </a:lnTo>
                <a:lnTo>
                  <a:pt x="85" y="52"/>
                </a:lnTo>
                <a:lnTo>
                  <a:pt x="66" y="52"/>
                </a:lnTo>
                <a:lnTo>
                  <a:pt x="53" y="51"/>
                </a:lnTo>
                <a:lnTo>
                  <a:pt x="47" y="51"/>
                </a:lnTo>
                <a:lnTo>
                  <a:pt x="39" y="48"/>
                </a:lnTo>
                <a:lnTo>
                  <a:pt x="30" y="45"/>
                </a:lnTo>
                <a:lnTo>
                  <a:pt x="21" y="41"/>
                </a:lnTo>
                <a:lnTo>
                  <a:pt x="13" y="36"/>
                </a:lnTo>
                <a:lnTo>
                  <a:pt x="6" y="31"/>
                </a:lnTo>
                <a:lnTo>
                  <a:pt x="4" y="28"/>
                </a:lnTo>
                <a:lnTo>
                  <a:pt x="2" y="25"/>
                </a:lnTo>
                <a:lnTo>
                  <a:pt x="1" y="22"/>
                </a:lnTo>
                <a:lnTo>
                  <a:pt x="0" y="20"/>
                </a:lnTo>
                <a:lnTo>
                  <a:pt x="1" y="15"/>
                </a:lnTo>
                <a:lnTo>
                  <a:pt x="1" y="11"/>
                </a:lnTo>
                <a:lnTo>
                  <a:pt x="3" y="8"/>
                </a:lnTo>
                <a:lnTo>
                  <a:pt x="5" y="5"/>
                </a:lnTo>
                <a:lnTo>
                  <a:pt x="7" y="3"/>
                </a:lnTo>
                <a:lnTo>
                  <a:pt x="10" y="2"/>
                </a:lnTo>
                <a:lnTo>
                  <a:pt x="14" y="1"/>
                </a:lnTo>
                <a:lnTo>
                  <a:pt x="17" y="0"/>
                </a:lnTo>
                <a:lnTo>
                  <a:pt x="26" y="0"/>
                </a:lnTo>
                <a:lnTo>
                  <a:pt x="36" y="2"/>
                </a:lnTo>
                <a:lnTo>
                  <a:pt x="46" y="5"/>
                </a:lnTo>
                <a:lnTo>
                  <a:pt x="57" y="9"/>
                </a:lnTo>
                <a:lnTo>
                  <a:pt x="77" y="18"/>
                </a:lnTo>
                <a:lnTo>
                  <a:pt x="95" y="29"/>
                </a:lnTo>
                <a:lnTo>
                  <a:pt x="108" y="36"/>
                </a:lnTo>
                <a:lnTo>
                  <a:pt x="113" y="3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fr-FR" dirty="0"/>
          </a:p>
        </p:txBody>
      </p:sp>
      <p:sp>
        <p:nvSpPr>
          <p:cNvPr id="111" name="Freeform 499"/>
          <p:cNvSpPr>
            <a:spLocks/>
          </p:cNvSpPr>
          <p:nvPr>
            <p:custDataLst>
              <p:tags r:id="rId91"/>
            </p:custDataLst>
          </p:nvPr>
        </p:nvSpPr>
        <p:spPr bwMode="auto">
          <a:xfrm>
            <a:off x="3628259" y="2864274"/>
            <a:ext cx="76771" cy="80117"/>
          </a:xfrm>
          <a:custGeom>
            <a:avLst/>
            <a:gdLst>
              <a:gd name="T0" fmla="*/ 0 w 139"/>
              <a:gd name="T1" fmla="*/ 17249588 h 40"/>
              <a:gd name="T2" fmla="*/ 1586996 w 139"/>
              <a:gd name="T3" fmla="*/ 19406705 h 40"/>
              <a:gd name="T4" fmla="*/ 3769505 w 139"/>
              <a:gd name="T5" fmla="*/ 17249588 h 40"/>
              <a:gd name="T6" fmla="*/ 5951569 w 139"/>
              <a:gd name="T7" fmla="*/ 15093941 h 40"/>
              <a:gd name="T8" fmla="*/ 8332286 w 139"/>
              <a:gd name="T9" fmla="*/ 10781176 h 40"/>
              <a:gd name="T10" fmla="*/ 10514796 w 139"/>
              <a:gd name="T11" fmla="*/ 4312764 h 40"/>
              <a:gd name="T12" fmla="*/ 12696860 w 139"/>
              <a:gd name="T13" fmla="*/ 2155648 h 40"/>
              <a:gd name="T14" fmla="*/ 14482508 w 139"/>
              <a:gd name="T15" fmla="*/ 0 h 40"/>
              <a:gd name="T16" fmla="*/ 15871297 w 139"/>
              <a:gd name="T17" fmla="*/ 4312764 h 40"/>
              <a:gd name="T18" fmla="*/ 27576228 w 139"/>
              <a:gd name="T19" fmla="*/ 84095231 h 40"/>
              <a:gd name="T20" fmla="*/ 26386093 w 139"/>
              <a:gd name="T21" fmla="*/ 86250879 h 40"/>
              <a:gd name="T22" fmla="*/ 24798651 w 139"/>
              <a:gd name="T23" fmla="*/ 84095231 h 40"/>
              <a:gd name="T24" fmla="*/ 23013448 w 139"/>
              <a:gd name="T25" fmla="*/ 81938115 h 40"/>
              <a:gd name="T26" fmla="*/ 21029146 w 139"/>
              <a:gd name="T27" fmla="*/ 77625351 h 40"/>
              <a:gd name="T28" fmla="*/ 17061433 w 139"/>
              <a:gd name="T29" fmla="*/ 64688527 h 40"/>
              <a:gd name="T30" fmla="*/ 12696860 w 139"/>
              <a:gd name="T31" fmla="*/ 51750234 h 40"/>
              <a:gd name="T32" fmla="*/ 8729147 w 139"/>
              <a:gd name="T33" fmla="*/ 34500645 h 40"/>
              <a:gd name="T34" fmla="*/ 5158294 w 139"/>
              <a:gd name="T35" fmla="*/ 23719469 h 40"/>
              <a:gd name="T36" fmla="*/ 3372645 w 139"/>
              <a:gd name="T37" fmla="*/ 19406705 h 40"/>
              <a:gd name="T38" fmla="*/ 2182509 w 139"/>
              <a:gd name="T39" fmla="*/ 15093941 h 40"/>
              <a:gd name="T40" fmla="*/ 793721 w 139"/>
              <a:gd name="T41" fmla="*/ 15093941 h 40"/>
              <a:gd name="T42" fmla="*/ 0 w 139"/>
              <a:gd name="T43" fmla="*/ 17249588 h 40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</a:gdLst>
            <a:ahLst/>
            <a:cxnLst>
              <a:cxn ang="T44">
                <a:pos x="T0" y="T1"/>
              </a:cxn>
              <a:cxn ang="T45">
                <a:pos x="T2" y="T3"/>
              </a:cxn>
              <a:cxn ang="T46">
                <a:pos x="T4" y="T5"/>
              </a:cxn>
              <a:cxn ang="T47">
                <a:pos x="T6" y="T7"/>
              </a:cxn>
              <a:cxn ang="T48">
                <a:pos x="T8" y="T9"/>
              </a:cxn>
              <a:cxn ang="T49">
                <a:pos x="T10" y="T11"/>
              </a:cxn>
              <a:cxn ang="T50">
                <a:pos x="T12" y="T13"/>
              </a:cxn>
              <a:cxn ang="T51">
                <a:pos x="T14" y="T15"/>
              </a:cxn>
              <a:cxn ang="T52">
                <a:pos x="T16" y="T17"/>
              </a:cxn>
              <a:cxn ang="T53">
                <a:pos x="T18" y="T19"/>
              </a:cxn>
              <a:cxn ang="T54">
                <a:pos x="T20" y="T21"/>
              </a:cxn>
              <a:cxn ang="T55">
                <a:pos x="T22" y="T23"/>
              </a:cxn>
              <a:cxn ang="T56">
                <a:pos x="T24" y="T25"/>
              </a:cxn>
              <a:cxn ang="T57">
                <a:pos x="T26" y="T27"/>
              </a:cxn>
              <a:cxn ang="T58">
                <a:pos x="T28" y="T29"/>
              </a:cxn>
              <a:cxn ang="T59">
                <a:pos x="T30" y="T31"/>
              </a:cxn>
              <a:cxn ang="T60">
                <a:pos x="T32" y="T33"/>
              </a:cxn>
              <a:cxn ang="T61">
                <a:pos x="T34" y="T35"/>
              </a:cxn>
              <a:cxn ang="T62">
                <a:pos x="T36" y="T37"/>
              </a:cxn>
              <a:cxn ang="T63">
                <a:pos x="T38" y="T39"/>
              </a:cxn>
              <a:cxn ang="T64">
                <a:pos x="T40" y="T41"/>
              </a:cxn>
              <a:cxn ang="T65">
                <a:pos x="T42" y="T43"/>
              </a:cxn>
            </a:cxnLst>
            <a:rect l="0" t="0" r="r" b="b"/>
            <a:pathLst>
              <a:path w="139" h="40">
                <a:moveTo>
                  <a:pt x="0" y="8"/>
                </a:moveTo>
                <a:lnTo>
                  <a:pt x="8" y="9"/>
                </a:lnTo>
                <a:lnTo>
                  <a:pt x="19" y="8"/>
                </a:lnTo>
                <a:lnTo>
                  <a:pt x="30" y="7"/>
                </a:lnTo>
                <a:lnTo>
                  <a:pt x="42" y="5"/>
                </a:lnTo>
                <a:lnTo>
                  <a:pt x="53" y="2"/>
                </a:lnTo>
                <a:lnTo>
                  <a:pt x="64" y="1"/>
                </a:lnTo>
                <a:lnTo>
                  <a:pt x="73" y="0"/>
                </a:lnTo>
                <a:lnTo>
                  <a:pt x="80" y="2"/>
                </a:lnTo>
                <a:lnTo>
                  <a:pt x="139" y="39"/>
                </a:lnTo>
                <a:lnTo>
                  <a:pt x="133" y="40"/>
                </a:lnTo>
                <a:lnTo>
                  <a:pt x="125" y="39"/>
                </a:lnTo>
                <a:lnTo>
                  <a:pt x="116" y="38"/>
                </a:lnTo>
                <a:lnTo>
                  <a:pt x="106" y="36"/>
                </a:lnTo>
                <a:lnTo>
                  <a:pt x="86" y="30"/>
                </a:lnTo>
                <a:lnTo>
                  <a:pt x="64" y="24"/>
                </a:lnTo>
                <a:lnTo>
                  <a:pt x="44" y="16"/>
                </a:lnTo>
                <a:lnTo>
                  <a:pt x="26" y="11"/>
                </a:lnTo>
                <a:lnTo>
                  <a:pt x="17" y="9"/>
                </a:lnTo>
                <a:lnTo>
                  <a:pt x="11" y="7"/>
                </a:lnTo>
                <a:lnTo>
                  <a:pt x="4" y="7"/>
                </a:lnTo>
                <a:lnTo>
                  <a:pt x="0" y="8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fr-FR" dirty="0"/>
          </a:p>
        </p:txBody>
      </p:sp>
      <p:sp>
        <p:nvSpPr>
          <p:cNvPr id="112" name="Freeform 502"/>
          <p:cNvSpPr>
            <a:spLocks/>
          </p:cNvSpPr>
          <p:nvPr>
            <p:custDataLst>
              <p:tags r:id="rId92"/>
            </p:custDataLst>
          </p:nvPr>
        </p:nvSpPr>
        <p:spPr bwMode="auto">
          <a:xfrm>
            <a:off x="4149911" y="2859944"/>
            <a:ext cx="78740" cy="80117"/>
          </a:xfrm>
          <a:custGeom>
            <a:avLst/>
            <a:gdLst>
              <a:gd name="T0" fmla="*/ 27618151 w 146"/>
              <a:gd name="T1" fmla="*/ 95835289 h 30"/>
              <a:gd name="T2" fmla="*/ 26482979 w 146"/>
              <a:gd name="T3" fmla="*/ 61333175 h 30"/>
              <a:gd name="T4" fmla="*/ 25915829 w 146"/>
              <a:gd name="T5" fmla="*/ 34500156 h 30"/>
              <a:gd name="T6" fmla="*/ 25159048 w 146"/>
              <a:gd name="T7" fmla="*/ 15334273 h 30"/>
              <a:gd name="T8" fmla="*/ 24213072 w 146"/>
              <a:gd name="T9" fmla="*/ 3833568 h 30"/>
              <a:gd name="T10" fmla="*/ 23834682 w 146"/>
              <a:gd name="T11" fmla="*/ 3833568 h 30"/>
              <a:gd name="T12" fmla="*/ 23456726 w 146"/>
              <a:gd name="T13" fmla="*/ 3833568 h 30"/>
              <a:gd name="T14" fmla="*/ 22699945 w 146"/>
              <a:gd name="T15" fmla="*/ 7667136 h 30"/>
              <a:gd name="T16" fmla="*/ 22321555 w 146"/>
              <a:gd name="T17" fmla="*/ 11500705 h 30"/>
              <a:gd name="T18" fmla="*/ 21375579 w 146"/>
              <a:gd name="T19" fmla="*/ 34500156 h 30"/>
              <a:gd name="T20" fmla="*/ 19862452 w 146"/>
              <a:gd name="T21" fmla="*/ 72833880 h 30"/>
              <a:gd name="T22" fmla="*/ 13619880 w 146"/>
              <a:gd name="T23" fmla="*/ 72833880 h 30"/>
              <a:gd name="T24" fmla="*/ 11917558 w 146"/>
              <a:gd name="T25" fmla="*/ 69000312 h 30"/>
              <a:gd name="T26" fmla="*/ 10403997 w 146"/>
              <a:gd name="T27" fmla="*/ 65166744 h 30"/>
              <a:gd name="T28" fmla="*/ 8890870 w 146"/>
              <a:gd name="T29" fmla="*/ 53667997 h 30"/>
              <a:gd name="T30" fmla="*/ 7566503 w 146"/>
              <a:gd name="T31" fmla="*/ 46000861 h 30"/>
              <a:gd name="T32" fmla="*/ 5485791 w 146"/>
              <a:gd name="T33" fmla="*/ 22999451 h 30"/>
              <a:gd name="T34" fmla="*/ 3594274 w 146"/>
              <a:gd name="T35" fmla="*/ 0 h 30"/>
              <a:gd name="T36" fmla="*/ 2648298 w 146"/>
              <a:gd name="T37" fmla="*/ 34500156 h 30"/>
              <a:gd name="T38" fmla="*/ 1891517 w 146"/>
              <a:gd name="T39" fmla="*/ 57501565 h 30"/>
              <a:gd name="T40" fmla="*/ 756781 w 146"/>
              <a:gd name="T41" fmla="*/ 76667448 h 30"/>
              <a:gd name="T42" fmla="*/ 0 w 146"/>
              <a:gd name="T43" fmla="*/ 95835289 h 30"/>
              <a:gd name="T44" fmla="*/ 6242572 w 146"/>
              <a:gd name="T45" fmla="*/ 95835289 h 30"/>
              <a:gd name="T46" fmla="*/ 10782387 w 146"/>
              <a:gd name="T47" fmla="*/ 95835289 h 30"/>
              <a:gd name="T48" fmla="*/ 14565856 w 146"/>
              <a:gd name="T49" fmla="*/ 95835289 h 30"/>
              <a:gd name="T50" fmla="*/ 18727281 w 146"/>
              <a:gd name="T51" fmla="*/ 95835289 h 30"/>
              <a:gd name="T52" fmla="*/ 20807993 w 146"/>
              <a:gd name="T53" fmla="*/ 99666900 h 30"/>
              <a:gd name="T54" fmla="*/ 23267531 w 146"/>
              <a:gd name="T55" fmla="*/ 111167604 h 30"/>
              <a:gd name="T56" fmla="*/ 24213072 w 146"/>
              <a:gd name="T57" fmla="*/ 115001172 h 30"/>
              <a:gd name="T58" fmla="*/ 25537438 w 146"/>
              <a:gd name="T59" fmla="*/ 115001172 h 30"/>
              <a:gd name="T60" fmla="*/ 26482979 w 146"/>
              <a:gd name="T61" fmla="*/ 107334036 h 30"/>
              <a:gd name="T62" fmla="*/ 27618151 w 146"/>
              <a:gd name="T63" fmla="*/ 95835289 h 30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146" h="30">
                <a:moveTo>
                  <a:pt x="146" y="25"/>
                </a:moveTo>
                <a:lnTo>
                  <a:pt x="140" y="16"/>
                </a:lnTo>
                <a:lnTo>
                  <a:pt x="137" y="9"/>
                </a:lnTo>
                <a:lnTo>
                  <a:pt x="133" y="4"/>
                </a:lnTo>
                <a:lnTo>
                  <a:pt x="128" y="1"/>
                </a:lnTo>
                <a:lnTo>
                  <a:pt x="126" y="1"/>
                </a:lnTo>
                <a:lnTo>
                  <a:pt x="124" y="1"/>
                </a:lnTo>
                <a:lnTo>
                  <a:pt x="120" y="2"/>
                </a:lnTo>
                <a:lnTo>
                  <a:pt x="118" y="3"/>
                </a:lnTo>
                <a:lnTo>
                  <a:pt x="113" y="9"/>
                </a:lnTo>
                <a:lnTo>
                  <a:pt x="105" y="19"/>
                </a:lnTo>
                <a:lnTo>
                  <a:pt x="72" y="19"/>
                </a:lnTo>
                <a:lnTo>
                  <a:pt x="63" y="18"/>
                </a:lnTo>
                <a:lnTo>
                  <a:pt x="55" y="17"/>
                </a:lnTo>
                <a:lnTo>
                  <a:pt x="47" y="14"/>
                </a:lnTo>
                <a:lnTo>
                  <a:pt x="40" y="12"/>
                </a:lnTo>
                <a:lnTo>
                  <a:pt x="29" y="6"/>
                </a:lnTo>
                <a:lnTo>
                  <a:pt x="19" y="0"/>
                </a:lnTo>
                <a:lnTo>
                  <a:pt x="14" y="9"/>
                </a:lnTo>
                <a:lnTo>
                  <a:pt x="10" y="15"/>
                </a:lnTo>
                <a:lnTo>
                  <a:pt x="4" y="20"/>
                </a:lnTo>
                <a:lnTo>
                  <a:pt x="0" y="25"/>
                </a:lnTo>
                <a:lnTo>
                  <a:pt x="33" y="25"/>
                </a:lnTo>
                <a:lnTo>
                  <a:pt x="57" y="25"/>
                </a:lnTo>
                <a:lnTo>
                  <a:pt x="77" y="25"/>
                </a:lnTo>
                <a:lnTo>
                  <a:pt x="99" y="25"/>
                </a:lnTo>
                <a:lnTo>
                  <a:pt x="110" y="26"/>
                </a:lnTo>
                <a:lnTo>
                  <a:pt x="123" y="29"/>
                </a:lnTo>
                <a:lnTo>
                  <a:pt x="128" y="30"/>
                </a:lnTo>
                <a:lnTo>
                  <a:pt x="135" y="30"/>
                </a:lnTo>
                <a:lnTo>
                  <a:pt x="140" y="28"/>
                </a:lnTo>
                <a:lnTo>
                  <a:pt x="146" y="25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fr-FR" dirty="0"/>
          </a:p>
        </p:txBody>
      </p:sp>
      <p:sp>
        <p:nvSpPr>
          <p:cNvPr id="113" name="Freeform 503"/>
          <p:cNvSpPr>
            <a:spLocks/>
          </p:cNvSpPr>
          <p:nvPr>
            <p:custDataLst>
              <p:tags r:id="rId93"/>
            </p:custDataLst>
          </p:nvPr>
        </p:nvSpPr>
        <p:spPr bwMode="auto">
          <a:xfrm>
            <a:off x="4124321" y="2855613"/>
            <a:ext cx="25590" cy="80117"/>
          </a:xfrm>
          <a:custGeom>
            <a:avLst/>
            <a:gdLst>
              <a:gd name="T0" fmla="*/ 0 w 53"/>
              <a:gd name="T1" fmla="*/ 383337241 h 9"/>
              <a:gd name="T2" fmla="*/ 2577289 w 53"/>
              <a:gd name="T3" fmla="*/ 383337241 h 9"/>
              <a:gd name="T4" fmla="*/ 4396849 w 53"/>
              <a:gd name="T5" fmla="*/ 383337241 h 9"/>
              <a:gd name="T6" fmla="*/ 6064552 w 53"/>
              <a:gd name="T7" fmla="*/ 383337241 h 9"/>
              <a:gd name="T8" fmla="*/ 8035581 w 53"/>
              <a:gd name="T9" fmla="*/ 383337241 h 9"/>
              <a:gd name="T10" fmla="*/ 6974138 w 53"/>
              <a:gd name="T11" fmla="*/ 255558161 h 9"/>
              <a:gd name="T12" fmla="*/ 5761227 w 53"/>
              <a:gd name="T13" fmla="*/ 127779080 h 9"/>
              <a:gd name="T14" fmla="*/ 4700174 w 53"/>
              <a:gd name="T15" fmla="*/ 42590851 h 9"/>
              <a:gd name="T16" fmla="*/ 3790199 w 53"/>
              <a:gd name="T17" fmla="*/ 0 h 9"/>
              <a:gd name="T18" fmla="*/ 2880614 w 53"/>
              <a:gd name="T19" fmla="*/ 0 h 9"/>
              <a:gd name="T20" fmla="*/ 2122496 w 53"/>
              <a:gd name="T21" fmla="*/ 0 h 9"/>
              <a:gd name="T22" fmla="*/ 1364378 w 53"/>
              <a:gd name="T23" fmla="*/ 42590851 h 9"/>
              <a:gd name="T24" fmla="*/ 909586 w 53"/>
              <a:gd name="T25" fmla="*/ 127779080 h 9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53" h="9">
                <a:moveTo>
                  <a:pt x="0" y="9"/>
                </a:moveTo>
                <a:lnTo>
                  <a:pt x="17" y="9"/>
                </a:lnTo>
                <a:lnTo>
                  <a:pt x="29" y="9"/>
                </a:lnTo>
                <a:lnTo>
                  <a:pt x="40" y="9"/>
                </a:lnTo>
                <a:lnTo>
                  <a:pt x="53" y="9"/>
                </a:lnTo>
                <a:lnTo>
                  <a:pt x="46" y="6"/>
                </a:lnTo>
                <a:lnTo>
                  <a:pt x="38" y="3"/>
                </a:lnTo>
                <a:lnTo>
                  <a:pt x="31" y="1"/>
                </a:lnTo>
                <a:lnTo>
                  <a:pt x="25" y="0"/>
                </a:lnTo>
                <a:lnTo>
                  <a:pt x="19" y="0"/>
                </a:lnTo>
                <a:lnTo>
                  <a:pt x="14" y="0"/>
                </a:lnTo>
                <a:lnTo>
                  <a:pt x="9" y="1"/>
                </a:lnTo>
                <a:lnTo>
                  <a:pt x="6" y="3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fr-FR" dirty="0"/>
          </a:p>
        </p:txBody>
      </p:sp>
      <p:sp>
        <p:nvSpPr>
          <p:cNvPr id="114" name="Line 504"/>
          <p:cNvSpPr>
            <a:spLocks noChangeShapeType="1"/>
          </p:cNvSpPr>
          <p:nvPr>
            <p:custDataLst>
              <p:tags r:id="rId94"/>
            </p:custDataLst>
          </p:nvPr>
        </p:nvSpPr>
        <p:spPr bwMode="auto">
          <a:xfrm flipV="1">
            <a:off x="4126289" y="2853447"/>
            <a:ext cx="0" cy="2166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fr-FR" dirty="0"/>
          </a:p>
        </p:txBody>
      </p:sp>
      <p:sp>
        <p:nvSpPr>
          <p:cNvPr id="115" name="Freeform 505"/>
          <p:cNvSpPr>
            <a:spLocks/>
          </p:cNvSpPr>
          <p:nvPr>
            <p:custDataLst>
              <p:tags r:id="rId95"/>
            </p:custDataLst>
          </p:nvPr>
        </p:nvSpPr>
        <p:spPr bwMode="auto">
          <a:xfrm>
            <a:off x="3096764" y="2756007"/>
            <a:ext cx="13779" cy="75787"/>
          </a:xfrm>
          <a:custGeom>
            <a:avLst/>
            <a:gdLst>
              <a:gd name="T0" fmla="*/ 0 w 26"/>
              <a:gd name="T1" fmla="*/ 123485434 h 25"/>
              <a:gd name="T2" fmla="*/ 913321 w 26"/>
              <a:gd name="T3" fmla="*/ 83969739 h 25"/>
              <a:gd name="T4" fmla="*/ 2374549 w 26"/>
              <a:gd name="T5" fmla="*/ 39515694 h 25"/>
              <a:gd name="T6" fmla="*/ 2922456 w 26"/>
              <a:gd name="T7" fmla="*/ 24696198 h 25"/>
              <a:gd name="T8" fmla="*/ 3653284 w 26"/>
              <a:gd name="T9" fmla="*/ 9878924 h 25"/>
              <a:gd name="T10" fmla="*/ 4201191 w 26"/>
              <a:gd name="T11" fmla="*/ 4938351 h 25"/>
              <a:gd name="T12" fmla="*/ 4749098 w 26"/>
              <a:gd name="T13" fmla="*/ 0 h 25"/>
              <a:gd name="T14" fmla="*/ 4749098 w 26"/>
              <a:gd name="T15" fmla="*/ 123485434 h 25"/>
              <a:gd name="T16" fmla="*/ 3653284 w 26"/>
              <a:gd name="T17" fmla="*/ 123485434 h 25"/>
              <a:gd name="T18" fmla="*/ 2374549 w 26"/>
              <a:gd name="T19" fmla="*/ 123485434 h 25"/>
              <a:gd name="T20" fmla="*/ 0 w 26"/>
              <a:gd name="T21" fmla="*/ 123485434 h 25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26" h="25">
                <a:moveTo>
                  <a:pt x="0" y="25"/>
                </a:moveTo>
                <a:lnTo>
                  <a:pt x="5" y="17"/>
                </a:lnTo>
                <a:lnTo>
                  <a:pt x="13" y="8"/>
                </a:lnTo>
                <a:lnTo>
                  <a:pt x="16" y="5"/>
                </a:lnTo>
                <a:lnTo>
                  <a:pt x="20" y="2"/>
                </a:lnTo>
                <a:lnTo>
                  <a:pt x="23" y="1"/>
                </a:lnTo>
                <a:lnTo>
                  <a:pt x="26" y="0"/>
                </a:lnTo>
                <a:lnTo>
                  <a:pt x="26" y="25"/>
                </a:lnTo>
                <a:lnTo>
                  <a:pt x="20" y="25"/>
                </a:lnTo>
                <a:lnTo>
                  <a:pt x="13" y="25"/>
                </a:lnTo>
                <a:lnTo>
                  <a:pt x="0" y="25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fr-FR" dirty="0"/>
          </a:p>
        </p:txBody>
      </p:sp>
      <p:sp>
        <p:nvSpPr>
          <p:cNvPr id="116" name="Freeform 506"/>
          <p:cNvSpPr>
            <a:spLocks/>
          </p:cNvSpPr>
          <p:nvPr>
            <p:custDataLst>
              <p:tags r:id="rId96"/>
            </p:custDataLst>
          </p:nvPr>
        </p:nvSpPr>
        <p:spPr bwMode="auto">
          <a:xfrm>
            <a:off x="4025896" y="2853447"/>
            <a:ext cx="11811" cy="77953"/>
          </a:xfrm>
          <a:custGeom>
            <a:avLst/>
            <a:gdLst>
              <a:gd name="T0" fmla="*/ 2749261 w 33"/>
              <a:gd name="T1" fmla="*/ 130644900 h 25"/>
              <a:gd name="T2" fmla="*/ 2749261 w 33"/>
              <a:gd name="T3" fmla="*/ 62709552 h 25"/>
              <a:gd name="T4" fmla="*/ 2749261 w 33"/>
              <a:gd name="T5" fmla="*/ 0 h 25"/>
              <a:gd name="T6" fmla="*/ 0 w 33"/>
              <a:gd name="T7" fmla="*/ 0 h 25"/>
              <a:gd name="T8" fmla="*/ 749877 w 33"/>
              <a:gd name="T9" fmla="*/ 47032164 h 25"/>
              <a:gd name="T10" fmla="*/ 1332923 w 33"/>
              <a:gd name="T11" fmla="*/ 88838532 h 25"/>
              <a:gd name="T12" fmla="*/ 1666298 w 33"/>
              <a:gd name="T13" fmla="*/ 104515920 h 25"/>
              <a:gd name="T14" fmla="*/ 1999384 w 33"/>
              <a:gd name="T15" fmla="*/ 120193308 h 25"/>
              <a:gd name="T16" fmla="*/ 2332759 w 33"/>
              <a:gd name="T17" fmla="*/ 125419104 h 25"/>
              <a:gd name="T18" fmla="*/ 2749261 w 33"/>
              <a:gd name="T19" fmla="*/ 130644900 h 25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0" t="0" r="r" b="b"/>
            <a:pathLst>
              <a:path w="33" h="25">
                <a:moveTo>
                  <a:pt x="33" y="25"/>
                </a:moveTo>
                <a:lnTo>
                  <a:pt x="33" y="12"/>
                </a:lnTo>
                <a:lnTo>
                  <a:pt x="33" y="0"/>
                </a:lnTo>
                <a:lnTo>
                  <a:pt x="0" y="0"/>
                </a:lnTo>
                <a:lnTo>
                  <a:pt x="9" y="9"/>
                </a:lnTo>
                <a:lnTo>
                  <a:pt x="16" y="17"/>
                </a:lnTo>
                <a:lnTo>
                  <a:pt x="20" y="20"/>
                </a:lnTo>
                <a:lnTo>
                  <a:pt x="24" y="23"/>
                </a:lnTo>
                <a:lnTo>
                  <a:pt x="28" y="24"/>
                </a:lnTo>
                <a:lnTo>
                  <a:pt x="33" y="25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fr-FR" dirty="0"/>
          </a:p>
        </p:txBody>
      </p:sp>
      <p:sp>
        <p:nvSpPr>
          <p:cNvPr id="117" name="Freeform 507"/>
          <p:cNvSpPr>
            <a:spLocks/>
          </p:cNvSpPr>
          <p:nvPr>
            <p:custDataLst>
              <p:tags r:id="rId97"/>
            </p:custDataLst>
          </p:nvPr>
        </p:nvSpPr>
        <p:spPr bwMode="auto">
          <a:xfrm>
            <a:off x="3968809" y="2803645"/>
            <a:ext cx="11811" cy="77953"/>
          </a:xfrm>
          <a:custGeom>
            <a:avLst/>
            <a:gdLst>
              <a:gd name="T0" fmla="*/ 0 w 20"/>
              <a:gd name="T1" fmla="*/ 0 h 18"/>
              <a:gd name="T2" fmla="*/ 2948464 w 20"/>
              <a:gd name="T3" fmla="*/ 181451250 h 18"/>
              <a:gd name="T4" fmla="*/ 3629025 w 20"/>
              <a:gd name="T5" fmla="*/ 110886875 h 18"/>
              <a:gd name="T6" fmla="*/ 4536281 w 20"/>
              <a:gd name="T7" fmla="*/ 0 h 18"/>
              <a:gd name="T8" fmla="*/ 0 w 20"/>
              <a:gd name="T9" fmla="*/ 0 h 18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0" h="18">
                <a:moveTo>
                  <a:pt x="0" y="0"/>
                </a:moveTo>
                <a:lnTo>
                  <a:pt x="13" y="18"/>
                </a:lnTo>
                <a:lnTo>
                  <a:pt x="16" y="11"/>
                </a:lnTo>
                <a:lnTo>
                  <a:pt x="20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fr-FR" dirty="0"/>
          </a:p>
        </p:txBody>
      </p:sp>
      <p:sp>
        <p:nvSpPr>
          <p:cNvPr id="118" name="Freeform 508"/>
          <p:cNvSpPr>
            <a:spLocks/>
          </p:cNvSpPr>
          <p:nvPr>
            <p:custDataLst>
              <p:tags r:id="rId98"/>
            </p:custDataLst>
          </p:nvPr>
        </p:nvSpPr>
        <p:spPr bwMode="auto">
          <a:xfrm>
            <a:off x="4588888" y="3581005"/>
            <a:ext cx="15748" cy="80119"/>
          </a:xfrm>
          <a:custGeom>
            <a:avLst/>
            <a:gdLst>
              <a:gd name="T0" fmla="*/ 0 w 33"/>
              <a:gd name="T1" fmla="*/ 111295247 h 31"/>
              <a:gd name="T2" fmla="*/ 0 w 33"/>
              <a:gd name="T3" fmla="*/ 0 h 31"/>
              <a:gd name="T4" fmla="*/ 1333115 w 33"/>
              <a:gd name="T5" fmla="*/ 0 h 31"/>
              <a:gd name="T6" fmla="*/ 2369897 w 33"/>
              <a:gd name="T7" fmla="*/ 0 h 31"/>
              <a:gd name="T8" fmla="*/ 3554461 w 33"/>
              <a:gd name="T9" fmla="*/ 0 h 31"/>
              <a:gd name="T10" fmla="*/ 4887576 w 33"/>
              <a:gd name="T11" fmla="*/ 0 h 31"/>
              <a:gd name="T12" fmla="*/ 4443076 w 33"/>
              <a:gd name="T13" fmla="*/ 7181194 h 31"/>
              <a:gd name="T14" fmla="*/ 4295294 w 33"/>
              <a:gd name="T15" fmla="*/ 17951091 h 31"/>
              <a:gd name="T16" fmla="*/ 4147127 w 33"/>
              <a:gd name="T17" fmla="*/ 32311584 h 31"/>
              <a:gd name="T18" fmla="*/ 4147127 w 33"/>
              <a:gd name="T19" fmla="*/ 46672078 h 31"/>
              <a:gd name="T20" fmla="*/ 4147127 w 33"/>
              <a:gd name="T21" fmla="*/ 61032572 h 31"/>
              <a:gd name="T22" fmla="*/ 4295294 w 33"/>
              <a:gd name="T23" fmla="*/ 75393065 h 31"/>
              <a:gd name="T24" fmla="*/ 4443076 w 33"/>
              <a:gd name="T25" fmla="*/ 93344156 h 31"/>
              <a:gd name="T26" fmla="*/ 4887576 w 33"/>
              <a:gd name="T27" fmla="*/ 111295247 h 31"/>
              <a:gd name="T28" fmla="*/ 0 w 33"/>
              <a:gd name="T29" fmla="*/ 111295247 h 31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33" h="31">
                <a:moveTo>
                  <a:pt x="0" y="31"/>
                </a:moveTo>
                <a:lnTo>
                  <a:pt x="0" y="0"/>
                </a:lnTo>
                <a:lnTo>
                  <a:pt x="9" y="0"/>
                </a:lnTo>
                <a:lnTo>
                  <a:pt x="16" y="0"/>
                </a:lnTo>
                <a:lnTo>
                  <a:pt x="24" y="0"/>
                </a:lnTo>
                <a:lnTo>
                  <a:pt x="33" y="0"/>
                </a:lnTo>
                <a:lnTo>
                  <a:pt x="30" y="2"/>
                </a:lnTo>
                <a:lnTo>
                  <a:pt x="29" y="5"/>
                </a:lnTo>
                <a:lnTo>
                  <a:pt x="28" y="9"/>
                </a:lnTo>
                <a:lnTo>
                  <a:pt x="28" y="13"/>
                </a:lnTo>
                <a:lnTo>
                  <a:pt x="28" y="17"/>
                </a:lnTo>
                <a:lnTo>
                  <a:pt x="29" y="21"/>
                </a:lnTo>
                <a:lnTo>
                  <a:pt x="30" y="26"/>
                </a:lnTo>
                <a:lnTo>
                  <a:pt x="33" y="31"/>
                </a:lnTo>
                <a:lnTo>
                  <a:pt x="0" y="3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fr-FR" dirty="0"/>
          </a:p>
        </p:txBody>
      </p:sp>
      <p:sp>
        <p:nvSpPr>
          <p:cNvPr id="119" name="Freeform 509"/>
          <p:cNvSpPr>
            <a:spLocks/>
          </p:cNvSpPr>
          <p:nvPr>
            <p:custDataLst>
              <p:tags r:id="rId99"/>
            </p:custDataLst>
          </p:nvPr>
        </p:nvSpPr>
        <p:spPr bwMode="auto">
          <a:xfrm>
            <a:off x="4953060" y="2929235"/>
            <a:ext cx="68898" cy="80117"/>
          </a:xfrm>
          <a:custGeom>
            <a:avLst/>
            <a:gdLst>
              <a:gd name="T0" fmla="*/ 556491 w 129"/>
              <a:gd name="T1" fmla="*/ 48406630 h 56"/>
              <a:gd name="T2" fmla="*/ 185641 w 129"/>
              <a:gd name="T3" fmla="*/ 46206090 h 56"/>
              <a:gd name="T4" fmla="*/ 185641 w 129"/>
              <a:gd name="T5" fmla="*/ 44005551 h 56"/>
              <a:gd name="T6" fmla="*/ 0 w 129"/>
              <a:gd name="T7" fmla="*/ 40704741 h 56"/>
              <a:gd name="T8" fmla="*/ 185641 w 129"/>
              <a:gd name="T9" fmla="*/ 36304710 h 56"/>
              <a:gd name="T10" fmla="*/ 370851 w 129"/>
              <a:gd name="T11" fmla="*/ 27503600 h 56"/>
              <a:gd name="T12" fmla="*/ 556491 w 129"/>
              <a:gd name="T13" fmla="*/ 19802760 h 56"/>
              <a:gd name="T14" fmla="*/ 1669474 w 129"/>
              <a:gd name="T15" fmla="*/ 14301411 h 56"/>
              <a:gd name="T16" fmla="*/ 2968529 w 129"/>
              <a:gd name="T17" fmla="*/ 9901380 h 56"/>
              <a:gd name="T18" fmla="*/ 3895871 w 129"/>
              <a:gd name="T19" fmla="*/ 6600570 h 56"/>
              <a:gd name="T20" fmla="*/ 5008854 w 129"/>
              <a:gd name="T21" fmla="*/ 5500301 h 56"/>
              <a:gd name="T22" fmla="*/ 7235250 w 129"/>
              <a:gd name="T23" fmla="*/ 3300810 h 56"/>
              <a:gd name="T24" fmla="*/ 10574630 w 129"/>
              <a:gd name="T25" fmla="*/ 0 h 56"/>
              <a:gd name="T26" fmla="*/ 11131121 w 129"/>
              <a:gd name="T27" fmla="*/ 5500301 h 56"/>
              <a:gd name="T28" fmla="*/ 11873253 w 129"/>
              <a:gd name="T29" fmla="*/ 8801110 h 56"/>
              <a:gd name="T30" fmla="*/ 12801026 w 129"/>
              <a:gd name="T31" fmla="*/ 12101920 h 56"/>
              <a:gd name="T32" fmla="*/ 13543158 w 129"/>
              <a:gd name="T33" fmla="*/ 15401681 h 56"/>
              <a:gd name="T34" fmla="*/ 15398273 w 129"/>
              <a:gd name="T35" fmla="*/ 19802760 h 56"/>
              <a:gd name="T36" fmla="*/ 17253388 w 129"/>
              <a:gd name="T37" fmla="*/ 23102521 h 56"/>
              <a:gd name="T38" fmla="*/ 19108503 w 129"/>
              <a:gd name="T39" fmla="*/ 27503600 h 56"/>
              <a:gd name="T40" fmla="*/ 20963618 w 129"/>
              <a:gd name="T41" fmla="*/ 31903631 h 56"/>
              <a:gd name="T42" fmla="*/ 21705751 w 129"/>
              <a:gd name="T43" fmla="*/ 35204441 h 56"/>
              <a:gd name="T44" fmla="*/ 22447883 w 129"/>
              <a:gd name="T45" fmla="*/ 38505250 h 56"/>
              <a:gd name="T46" fmla="*/ 23375656 w 129"/>
              <a:gd name="T47" fmla="*/ 41805011 h 56"/>
              <a:gd name="T48" fmla="*/ 23932147 w 129"/>
              <a:gd name="T49" fmla="*/ 48406630 h 56"/>
              <a:gd name="T50" fmla="*/ 22077032 w 129"/>
              <a:gd name="T51" fmla="*/ 52806661 h 56"/>
              <a:gd name="T52" fmla="*/ 20221917 w 129"/>
              <a:gd name="T53" fmla="*/ 56107470 h 56"/>
              <a:gd name="T54" fmla="*/ 18366371 w 129"/>
              <a:gd name="T55" fmla="*/ 58306961 h 56"/>
              <a:gd name="T56" fmla="*/ 16696897 w 129"/>
              <a:gd name="T57" fmla="*/ 59407231 h 56"/>
              <a:gd name="T58" fmla="*/ 12986236 w 129"/>
              <a:gd name="T59" fmla="*/ 61607771 h 56"/>
              <a:gd name="T60" fmla="*/ 9090365 w 129"/>
              <a:gd name="T61" fmla="*/ 61607771 h 56"/>
              <a:gd name="T62" fmla="*/ 7420891 w 129"/>
              <a:gd name="T63" fmla="*/ 60507501 h 56"/>
              <a:gd name="T64" fmla="*/ 5750986 w 129"/>
              <a:gd name="T65" fmla="*/ 59407231 h 56"/>
              <a:gd name="T66" fmla="*/ 4267152 w 129"/>
              <a:gd name="T67" fmla="*/ 57207740 h 56"/>
              <a:gd name="T68" fmla="*/ 2968529 w 129"/>
              <a:gd name="T69" fmla="*/ 55007201 h 56"/>
              <a:gd name="T70" fmla="*/ 1112983 w 129"/>
              <a:gd name="T71" fmla="*/ 50606121 h 56"/>
              <a:gd name="T72" fmla="*/ 556491 w 129"/>
              <a:gd name="T73" fmla="*/ 48406630 h 5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0" t="0" r="r" b="b"/>
            <a:pathLst>
              <a:path w="129" h="56">
                <a:moveTo>
                  <a:pt x="3" y="44"/>
                </a:moveTo>
                <a:lnTo>
                  <a:pt x="1" y="42"/>
                </a:lnTo>
                <a:lnTo>
                  <a:pt x="1" y="40"/>
                </a:lnTo>
                <a:lnTo>
                  <a:pt x="0" y="37"/>
                </a:lnTo>
                <a:lnTo>
                  <a:pt x="1" y="33"/>
                </a:lnTo>
                <a:lnTo>
                  <a:pt x="2" y="25"/>
                </a:lnTo>
                <a:lnTo>
                  <a:pt x="3" y="18"/>
                </a:lnTo>
                <a:lnTo>
                  <a:pt x="9" y="13"/>
                </a:lnTo>
                <a:lnTo>
                  <a:pt x="16" y="9"/>
                </a:lnTo>
                <a:lnTo>
                  <a:pt x="21" y="6"/>
                </a:lnTo>
                <a:lnTo>
                  <a:pt x="27" y="5"/>
                </a:lnTo>
                <a:lnTo>
                  <a:pt x="39" y="3"/>
                </a:lnTo>
                <a:lnTo>
                  <a:pt x="57" y="0"/>
                </a:lnTo>
                <a:lnTo>
                  <a:pt x="60" y="5"/>
                </a:lnTo>
                <a:lnTo>
                  <a:pt x="64" y="8"/>
                </a:lnTo>
                <a:lnTo>
                  <a:pt x="69" y="11"/>
                </a:lnTo>
                <a:lnTo>
                  <a:pt x="73" y="14"/>
                </a:lnTo>
                <a:lnTo>
                  <a:pt x="83" y="18"/>
                </a:lnTo>
                <a:lnTo>
                  <a:pt x="93" y="21"/>
                </a:lnTo>
                <a:lnTo>
                  <a:pt x="103" y="25"/>
                </a:lnTo>
                <a:lnTo>
                  <a:pt x="113" y="29"/>
                </a:lnTo>
                <a:lnTo>
                  <a:pt x="117" y="32"/>
                </a:lnTo>
                <a:lnTo>
                  <a:pt x="121" y="35"/>
                </a:lnTo>
                <a:lnTo>
                  <a:pt x="126" y="38"/>
                </a:lnTo>
                <a:lnTo>
                  <a:pt x="129" y="44"/>
                </a:lnTo>
                <a:lnTo>
                  <a:pt x="119" y="48"/>
                </a:lnTo>
                <a:lnTo>
                  <a:pt x="109" y="51"/>
                </a:lnTo>
                <a:lnTo>
                  <a:pt x="99" y="53"/>
                </a:lnTo>
                <a:lnTo>
                  <a:pt x="90" y="54"/>
                </a:lnTo>
                <a:lnTo>
                  <a:pt x="70" y="56"/>
                </a:lnTo>
                <a:lnTo>
                  <a:pt x="49" y="56"/>
                </a:lnTo>
                <a:lnTo>
                  <a:pt x="40" y="55"/>
                </a:lnTo>
                <a:lnTo>
                  <a:pt x="31" y="54"/>
                </a:lnTo>
                <a:lnTo>
                  <a:pt x="23" y="52"/>
                </a:lnTo>
                <a:lnTo>
                  <a:pt x="16" y="50"/>
                </a:lnTo>
                <a:lnTo>
                  <a:pt x="6" y="46"/>
                </a:lnTo>
                <a:lnTo>
                  <a:pt x="3" y="44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fr-FR" dirty="0"/>
          </a:p>
        </p:txBody>
      </p:sp>
      <p:sp>
        <p:nvSpPr>
          <p:cNvPr id="120" name="Freeform 510"/>
          <p:cNvSpPr>
            <a:spLocks/>
          </p:cNvSpPr>
          <p:nvPr>
            <p:custDataLst>
              <p:tags r:id="rId100"/>
            </p:custDataLst>
          </p:nvPr>
        </p:nvSpPr>
        <p:spPr bwMode="auto">
          <a:xfrm>
            <a:off x="5122351" y="3409943"/>
            <a:ext cx="17717" cy="77953"/>
          </a:xfrm>
          <a:custGeom>
            <a:avLst/>
            <a:gdLst>
              <a:gd name="T0" fmla="*/ 2550234 w 41"/>
              <a:gd name="T1" fmla="*/ 77764821 h 42"/>
              <a:gd name="T2" fmla="*/ 0 w 41"/>
              <a:gd name="T3" fmla="*/ 55545718 h 42"/>
              <a:gd name="T4" fmla="*/ 0 w 41"/>
              <a:gd name="T5" fmla="*/ 11108871 h 42"/>
              <a:gd name="T6" fmla="*/ 849962 w 41"/>
              <a:gd name="T7" fmla="*/ 9258300 h 42"/>
              <a:gd name="T8" fmla="*/ 1700272 w 41"/>
              <a:gd name="T9" fmla="*/ 5554436 h 42"/>
              <a:gd name="T10" fmla="*/ 2914752 w 41"/>
              <a:gd name="T11" fmla="*/ 1851932 h 42"/>
              <a:gd name="T12" fmla="*/ 4129232 w 41"/>
              <a:gd name="T13" fmla="*/ 0 h 42"/>
              <a:gd name="T14" fmla="*/ 4129232 w 41"/>
              <a:gd name="T15" fmla="*/ 33327975 h 42"/>
              <a:gd name="T16" fmla="*/ 4979194 w 41"/>
              <a:gd name="T17" fmla="*/ 33327975 h 42"/>
              <a:gd name="T18" fmla="*/ 2550234 w 41"/>
              <a:gd name="T19" fmla="*/ 77764821 h 42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0" t="0" r="r" b="b"/>
            <a:pathLst>
              <a:path w="41" h="42">
                <a:moveTo>
                  <a:pt x="21" y="42"/>
                </a:moveTo>
                <a:lnTo>
                  <a:pt x="0" y="30"/>
                </a:lnTo>
                <a:lnTo>
                  <a:pt x="0" y="6"/>
                </a:lnTo>
                <a:lnTo>
                  <a:pt x="7" y="5"/>
                </a:lnTo>
                <a:lnTo>
                  <a:pt x="14" y="3"/>
                </a:lnTo>
                <a:lnTo>
                  <a:pt x="24" y="1"/>
                </a:lnTo>
                <a:lnTo>
                  <a:pt x="34" y="0"/>
                </a:lnTo>
                <a:lnTo>
                  <a:pt x="34" y="18"/>
                </a:lnTo>
                <a:lnTo>
                  <a:pt x="41" y="18"/>
                </a:lnTo>
                <a:lnTo>
                  <a:pt x="21" y="42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fr-FR" dirty="0"/>
          </a:p>
        </p:txBody>
      </p:sp>
      <p:sp>
        <p:nvSpPr>
          <p:cNvPr id="121" name="Freeform 513"/>
          <p:cNvSpPr>
            <a:spLocks/>
          </p:cNvSpPr>
          <p:nvPr>
            <p:custDataLst>
              <p:tags r:id="rId101"/>
            </p:custDataLst>
          </p:nvPr>
        </p:nvSpPr>
        <p:spPr bwMode="auto">
          <a:xfrm>
            <a:off x="5203060" y="3758563"/>
            <a:ext cx="17716" cy="77953"/>
          </a:xfrm>
          <a:custGeom>
            <a:avLst/>
            <a:gdLst>
              <a:gd name="T0" fmla="*/ 0 w 26"/>
              <a:gd name="T1" fmla="*/ 90725625 h 36"/>
              <a:gd name="T2" fmla="*/ 906126 w 26"/>
              <a:gd name="T3" fmla="*/ 78125638 h 36"/>
              <a:gd name="T4" fmla="*/ 3019503 w 26"/>
              <a:gd name="T5" fmla="*/ 50403125 h 36"/>
              <a:gd name="T6" fmla="*/ 5435105 w 26"/>
              <a:gd name="T7" fmla="*/ 20161250 h 36"/>
              <a:gd name="T8" fmla="*/ 7850707 w 26"/>
              <a:gd name="T9" fmla="*/ 0 h 36"/>
              <a:gd name="T10" fmla="*/ 7850707 w 26"/>
              <a:gd name="T11" fmla="*/ 22682200 h 36"/>
              <a:gd name="T12" fmla="*/ 7850707 w 26"/>
              <a:gd name="T13" fmla="*/ 45362813 h 36"/>
              <a:gd name="T14" fmla="*/ 7549031 w 26"/>
              <a:gd name="T15" fmla="*/ 55443438 h 36"/>
              <a:gd name="T16" fmla="*/ 7246806 w 26"/>
              <a:gd name="T17" fmla="*/ 65524063 h 36"/>
              <a:gd name="T18" fmla="*/ 6341230 w 26"/>
              <a:gd name="T19" fmla="*/ 73085325 h 36"/>
              <a:gd name="T20" fmla="*/ 5133429 w 26"/>
              <a:gd name="T21" fmla="*/ 80645000 h 36"/>
              <a:gd name="T22" fmla="*/ 4227304 w 26"/>
              <a:gd name="T23" fmla="*/ 85685313 h 36"/>
              <a:gd name="T24" fmla="*/ 3019503 w 26"/>
              <a:gd name="T25" fmla="*/ 88206263 h 36"/>
              <a:gd name="T26" fmla="*/ 1207801 w 26"/>
              <a:gd name="T27" fmla="*/ 90725625 h 36"/>
              <a:gd name="T28" fmla="*/ 0 w 26"/>
              <a:gd name="T29" fmla="*/ 90725625 h 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26" h="36">
                <a:moveTo>
                  <a:pt x="0" y="36"/>
                </a:moveTo>
                <a:lnTo>
                  <a:pt x="3" y="31"/>
                </a:lnTo>
                <a:lnTo>
                  <a:pt x="10" y="20"/>
                </a:lnTo>
                <a:lnTo>
                  <a:pt x="18" y="8"/>
                </a:lnTo>
                <a:lnTo>
                  <a:pt x="26" y="0"/>
                </a:lnTo>
                <a:lnTo>
                  <a:pt x="26" y="9"/>
                </a:lnTo>
                <a:lnTo>
                  <a:pt x="26" y="18"/>
                </a:lnTo>
                <a:lnTo>
                  <a:pt x="25" y="22"/>
                </a:lnTo>
                <a:lnTo>
                  <a:pt x="24" y="26"/>
                </a:lnTo>
                <a:lnTo>
                  <a:pt x="21" y="29"/>
                </a:lnTo>
                <a:lnTo>
                  <a:pt x="17" y="32"/>
                </a:lnTo>
                <a:lnTo>
                  <a:pt x="14" y="34"/>
                </a:lnTo>
                <a:lnTo>
                  <a:pt x="10" y="35"/>
                </a:lnTo>
                <a:lnTo>
                  <a:pt x="4" y="36"/>
                </a:lnTo>
                <a:lnTo>
                  <a:pt x="0" y="36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fr-FR" dirty="0"/>
          </a:p>
        </p:txBody>
      </p:sp>
      <p:sp>
        <p:nvSpPr>
          <p:cNvPr id="122" name="Freeform 514"/>
          <p:cNvSpPr>
            <a:spLocks/>
          </p:cNvSpPr>
          <p:nvPr>
            <p:custDataLst>
              <p:tags r:id="rId102"/>
            </p:custDataLst>
          </p:nvPr>
        </p:nvSpPr>
        <p:spPr bwMode="auto">
          <a:xfrm>
            <a:off x="5216839" y="3797540"/>
            <a:ext cx="3937" cy="82283"/>
          </a:xfrm>
          <a:custGeom>
            <a:avLst/>
            <a:gdLst>
              <a:gd name="T0" fmla="*/ 0 w 6"/>
              <a:gd name="T1" fmla="*/ 98354206 h 37"/>
              <a:gd name="T2" fmla="*/ 0 w 6"/>
              <a:gd name="T3" fmla="*/ 0 h 37"/>
              <a:gd name="T4" fmla="*/ 1680104 w 6"/>
              <a:gd name="T5" fmla="*/ 0 h 37"/>
              <a:gd name="T6" fmla="*/ 1680104 w 6"/>
              <a:gd name="T7" fmla="*/ 82405580 h 37"/>
              <a:gd name="T8" fmla="*/ 0 w 6"/>
              <a:gd name="T9" fmla="*/ 98354206 h 37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6" h="37">
                <a:moveTo>
                  <a:pt x="0" y="37"/>
                </a:moveTo>
                <a:lnTo>
                  <a:pt x="0" y="0"/>
                </a:lnTo>
                <a:lnTo>
                  <a:pt x="6" y="0"/>
                </a:lnTo>
                <a:lnTo>
                  <a:pt x="6" y="31"/>
                </a:lnTo>
                <a:lnTo>
                  <a:pt x="0" y="37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fr-FR" dirty="0"/>
          </a:p>
        </p:txBody>
      </p:sp>
      <p:sp>
        <p:nvSpPr>
          <p:cNvPr id="123" name="Freeform 515"/>
          <p:cNvSpPr>
            <a:spLocks/>
          </p:cNvSpPr>
          <p:nvPr>
            <p:custDataLst>
              <p:tags r:id="rId103"/>
            </p:custDataLst>
          </p:nvPr>
        </p:nvSpPr>
        <p:spPr bwMode="auto">
          <a:xfrm>
            <a:off x="5201091" y="3910138"/>
            <a:ext cx="11811" cy="75788"/>
          </a:xfrm>
          <a:custGeom>
            <a:avLst/>
            <a:gdLst>
              <a:gd name="T0" fmla="*/ 0 w 20"/>
              <a:gd name="T1" fmla="*/ 51760165 h 43"/>
              <a:gd name="T2" fmla="*/ 0 w 20"/>
              <a:gd name="T3" fmla="*/ 41742027 h 43"/>
              <a:gd name="T4" fmla="*/ 0 w 20"/>
              <a:gd name="T5" fmla="*/ 30054414 h 43"/>
              <a:gd name="T6" fmla="*/ 453866 w 20"/>
              <a:gd name="T7" fmla="*/ 15026561 h 43"/>
              <a:gd name="T8" fmla="*/ 1587818 w 20"/>
              <a:gd name="T9" fmla="*/ 0 h 43"/>
              <a:gd name="T10" fmla="*/ 2495074 w 20"/>
              <a:gd name="T11" fmla="*/ 11687612 h 43"/>
              <a:gd name="T12" fmla="*/ 3629025 w 20"/>
              <a:gd name="T13" fmla="*/ 20036276 h 43"/>
              <a:gd name="T14" fmla="*/ 3855720 w 20"/>
              <a:gd name="T15" fmla="*/ 23375225 h 43"/>
              <a:gd name="T16" fmla="*/ 4309586 w 20"/>
              <a:gd name="T17" fmla="*/ 30054414 h 43"/>
              <a:gd name="T18" fmla="*/ 4309586 w 20"/>
              <a:gd name="T19" fmla="*/ 35062837 h 43"/>
              <a:gd name="T20" fmla="*/ 4536281 w 20"/>
              <a:gd name="T21" fmla="*/ 41742027 h 43"/>
              <a:gd name="T22" fmla="*/ 4309586 w 20"/>
              <a:gd name="T23" fmla="*/ 45080975 h 43"/>
              <a:gd name="T24" fmla="*/ 4082891 w 20"/>
              <a:gd name="T25" fmla="*/ 50090691 h 43"/>
              <a:gd name="T26" fmla="*/ 3629025 w 20"/>
              <a:gd name="T27" fmla="*/ 55099114 h 43"/>
              <a:gd name="T28" fmla="*/ 2721769 w 20"/>
              <a:gd name="T29" fmla="*/ 60108829 h 43"/>
              <a:gd name="T30" fmla="*/ 2041208 w 20"/>
              <a:gd name="T31" fmla="*/ 65117252 h 43"/>
              <a:gd name="T32" fmla="*/ 1361123 w 20"/>
              <a:gd name="T33" fmla="*/ 68457492 h 43"/>
              <a:gd name="T34" fmla="*/ 453866 w 20"/>
              <a:gd name="T35" fmla="*/ 70126967 h 43"/>
              <a:gd name="T36" fmla="*/ 0 w 20"/>
              <a:gd name="T37" fmla="*/ 71796441 h 43"/>
              <a:gd name="T38" fmla="*/ 0 w 20"/>
              <a:gd name="T39" fmla="*/ 51760165 h 43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</a:gdLst>
            <a:ahLst/>
            <a:cxnLst>
              <a:cxn ang="T40">
                <a:pos x="T0" y="T1"/>
              </a:cxn>
              <a:cxn ang="T41">
                <a:pos x="T2" y="T3"/>
              </a:cxn>
              <a:cxn ang="T42">
                <a:pos x="T4" y="T5"/>
              </a:cxn>
              <a:cxn ang="T43">
                <a:pos x="T6" y="T7"/>
              </a:cxn>
              <a:cxn ang="T44">
                <a:pos x="T8" y="T9"/>
              </a:cxn>
              <a:cxn ang="T45">
                <a:pos x="T10" y="T11"/>
              </a:cxn>
              <a:cxn ang="T46">
                <a:pos x="T12" y="T13"/>
              </a:cxn>
              <a:cxn ang="T47">
                <a:pos x="T14" y="T15"/>
              </a:cxn>
              <a:cxn ang="T48">
                <a:pos x="T16" y="T17"/>
              </a:cxn>
              <a:cxn ang="T49">
                <a:pos x="T18" y="T19"/>
              </a:cxn>
              <a:cxn ang="T50">
                <a:pos x="T20" y="T21"/>
              </a:cxn>
              <a:cxn ang="T51">
                <a:pos x="T22" y="T23"/>
              </a:cxn>
              <a:cxn ang="T52">
                <a:pos x="T24" y="T25"/>
              </a:cxn>
              <a:cxn ang="T53">
                <a:pos x="T26" y="T27"/>
              </a:cxn>
              <a:cxn ang="T54">
                <a:pos x="T28" y="T29"/>
              </a:cxn>
              <a:cxn ang="T55">
                <a:pos x="T30" y="T31"/>
              </a:cxn>
              <a:cxn ang="T56">
                <a:pos x="T32" y="T33"/>
              </a:cxn>
              <a:cxn ang="T57">
                <a:pos x="T34" y="T35"/>
              </a:cxn>
              <a:cxn ang="T58">
                <a:pos x="T36" y="T37"/>
              </a:cxn>
              <a:cxn ang="T59">
                <a:pos x="T38" y="T39"/>
              </a:cxn>
            </a:cxnLst>
            <a:rect l="0" t="0" r="r" b="b"/>
            <a:pathLst>
              <a:path w="20" h="43">
                <a:moveTo>
                  <a:pt x="0" y="31"/>
                </a:moveTo>
                <a:lnTo>
                  <a:pt x="0" y="25"/>
                </a:lnTo>
                <a:lnTo>
                  <a:pt x="0" y="18"/>
                </a:lnTo>
                <a:lnTo>
                  <a:pt x="2" y="9"/>
                </a:lnTo>
                <a:lnTo>
                  <a:pt x="7" y="0"/>
                </a:lnTo>
                <a:lnTo>
                  <a:pt x="11" y="7"/>
                </a:lnTo>
                <a:lnTo>
                  <a:pt x="16" y="12"/>
                </a:lnTo>
                <a:lnTo>
                  <a:pt x="17" y="14"/>
                </a:lnTo>
                <a:lnTo>
                  <a:pt x="19" y="18"/>
                </a:lnTo>
                <a:lnTo>
                  <a:pt x="19" y="21"/>
                </a:lnTo>
                <a:lnTo>
                  <a:pt x="20" y="25"/>
                </a:lnTo>
                <a:lnTo>
                  <a:pt x="19" y="27"/>
                </a:lnTo>
                <a:lnTo>
                  <a:pt x="18" y="30"/>
                </a:lnTo>
                <a:lnTo>
                  <a:pt x="16" y="33"/>
                </a:lnTo>
                <a:lnTo>
                  <a:pt x="12" y="36"/>
                </a:lnTo>
                <a:lnTo>
                  <a:pt x="9" y="39"/>
                </a:lnTo>
                <a:lnTo>
                  <a:pt x="6" y="41"/>
                </a:lnTo>
                <a:lnTo>
                  <a:pt x="2" y="42"/>
                </a:lnTo>
                <a:lnTo>
                  <a:pt x="0" y="43"/>
                </a:lnTo>
                <a:lnTo>
                  <a:pt x="0" y="3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fr-FR" dirty="0"/>
          </a:p>
        </p:txBody>
      </p:sp>
      <p:sp>
        <p:nvSpPr>
          <p:cNvPr id="124" name="Freeform 516"/>
          <p:cNvSpPr>
            <a:spLocks/>
          </p:cNvSpPr>
          <p:nvPr>
            <p:custDataLst>
              <p:tags r:id="rId104"/>
            </p:custDataLst>
          </p:nvPr>
        </p:nvSpPr>
        <p:spPr bwMode="auto">
          <a:xfrm>
            <a:off x="5173532" y="3957775"/>
            <a:ext cx="0" cy="80119"/>
          </a:xfrm>
          <a:custGeom>
            <a:avLst/>
            <a:gdLst>
              <a:gd name="T0" fmla="*/ 115005088 h 30"/>
              <a:gd name="T1" fmla="*/ 95836921 h 30"/>
              <a:gd name="T2" fmla="*/ 69003444 h 30"/>
              <a:gd name="T3" fmla="*/ 34500743 h 30"/>
              <a:gd name="T4" fmla="*/ 0 h 30"/>
              <a:gd name="T5" fmla="*/ 0 60000 65536"/>
              <a:gd name="T6" fmla="*/ 0 60000 65536"/>
              <a:gd name="T7" fmla="*/ 0 60000 65536"/>
              <a:gd name="T8" fmla="*/ 0 60000 65536"/>
              <a:gd name="T9" fmla="*/ 0 60000 65536"/>
            </a:gdLst>
            <a:ahLst/>
            <a:cxnLst>
              <a:cxn ang="T5">
                <a:pos x="0" y="T0"/>
              </a:cxn>
              <a:cxn ang="T6">
                <a:pos x="0" y="T1"/>
              </a:cxn>
              <a:cxn ang="T7">
                <a:pos x="0" y="T2"/>
              </a:cxn>
              <a:cxn ang="T8">
                <a:pos x="0" y="T3"/>
              </a:cxn>
              <a:cxn ang="T9">
                <a:pos x="0" y="T4"/>
              </a:cxn>
            </a:cxnLst>
            <a:rect l="0" t="0" r="r" b="b"/>
            <a:pathLst>
              <a:path h="30">
                <a:moveTo>
                  <a:pt x="0" y="30"/>
                </a:moveTo>
                <a:lnTo>
                  <a:pt x="0" y="25"/>
                </a:lnTo>
                <a:lnTo>
                  <a:pt x="0" y="18"/>
                </a:lnTo>
                <a:lnTo>
                  <a:pt x="0" y="9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fr-FR" dirty="0"/>
          </a:p>
        </p:txBody>
      </p:sp>
      <p:sp>
        <p:nvSpPr>
          <p:cNvPr id="125" name="Freeform 517"/>
          <p:cNvSpPr>
            <a:spLocks/>
          </p:cNvSpPr>
          <p:nvPr>
            <p:custDataLst>
              <p:tags r:id="rId105"/>
            </p:custDataLst>
          </p:nvPr>
        </p:nvSpPr>
        <p:spPr bwMode="auto">
          <a:xfrm>
            <a:off x="5173532" y="3957775"/>
            <a:ext cx="9843" cy="80119"/>
          </a:xfrm>
          <a:custGeom>
            <a:avLst/>
            <a:gdLst>
              <a:gd name="T0" fmla="*/ 0 w 20"/>
              <a:gd name="T1" fmla="*/ 0 h 24"/>
              <a:gd name="T2" fmla="*/ 3150592 w 20"/>
              <a:gd name="T3" fmla="*/ 0 h 24"/>
              <a:gd name="T4" fmla="*/ 0 w 20"/>
              <a:gd name="T5" fmla="*/ 143756360 h 24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0" h="24">
                <a:moveTo>
                  <a:pt x="0" y="0"/>
                </a:moveTo>
                <a:lnTo>
                  <a:pt x="20" y="0"/>
                </a:lnTo>
                <a:lnTo>
                  <a:pt x="0" y="24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fr-FR" dirty="0"/>
          </a:p>
        </p:txBody>
      </p:sp>
      <p:sp>
        <p:nvSpPr>
          <p:cNvPr id="126" name="Freeform 518"/>
          <p:cNvSpPr>
            <a:spLocks/>
          </p:cNvSpPr>
          <p:nvPr>
            <p:custDataLst>
              <p:tags r:id="rId106"/>
            </p:custDataLst>
          </p:nvPr>
        </p:nvSpPr>
        <p:spPr bwMode="auto">
          <a:xfrm>
            <a:off x="4868415" y="3394784"/>
            <a:ext cx="21653" cy="82283"/>
          </a:xfrm>
          <a:custGeom>
            <a:avLst/>
            <a:gdLst>
              <a:gd name="T0" fmla="*/ 0 w 46"/>
              <a:gd name="T1" fmla="*/ 0 h 19"/>
              <a:gd name="T2" fmla="*/ 1296743 w 46"/>
              <a:gd name="T3" fmla="*/ 30241875 h 19"/>
              <a:gd name="T4" fmla="*/ 2017620 w 46"/>
              <a:gd name="T5" fmla="*/ 50403125 h 19"/>
              <a:gd name="T6" fmla="*/ 2738118 w 46"/>
              <a:gd name="T7" fmla="*/ 80645000 h 19"/>
              <a:gd name="T8" fmla="*/ 3314364 w 46"/>
              <a:gd name="T9" fmla="*/ 100806250 h 19"/>
              <a:gd name="T10" fmla="*/ 3746738 w 46"/>
              <a:gd name="T11" fmla="*/ 120967500 h 19"/>
              <a:gd name="T12" fmla="*/ 4611107 w 46"/>
              <a:gd name="T13" fmla="*/ 141128750 h 19"/>
              <a:gd name="T14" fmla="*/ 5331984 w 46"/>
              <a:gd name="T15" fmla="*/ 171370625 h 19"/>
              <a:gd name="T16" fmla="*/ 6628727 w 46"/>
              <a:gd name="T17" fmla="*/ 191531875 h 19"/>
              <a:gd name="T18" fmla="*/ 4755358 w 46"/>
              <a:gd name="T19" fmla="*/ 191531875 h 19"/>
              <a:gd name="T20" fmla="*/ 3458615 w 46"/>
              <a:gd name="T21" fmla="*/ 191531875 h 19"/>
              <a:gd name="T22" fmla="*/ 2593866 w 46"/>
              <a:gd name="T23" fmla="*/ 181451250 h 19"/>
              <a:gd name="T24" fmla="*/ 1873369 w 46"/>
              <a:gd name="T25" fmla="*/ 171370625 h 19"/>
              <a:gd name="T26" fmla="*/ 1440995 w 46"/>
              <a:gd name="T27" fmla="*/ 141128750 h 19"/>
              <a:gd name="T28" fmla="*/ 1008620 w 46"/>
              <a:gd name="T29" fmla="*/ 110886875 h 19"/>
              <a:gd name="T30" fmla="*/ 576246 w 46"/>
              <a:gd name="T31" fmla="*/ 70564375 h 19"/>
              <a:gd name="T32" fmla="*/ 0 w 46"/>
              <a:gd name="T33" fmla="*/ 0 h 19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46" h="19">
                <a:moveTo>
                  <a:pt x="0" y="0"/>
                </a:moveTo>
                <a:lnTo>
                  <a:pt x="9" y="3"/>
                </a:lnTo>
                <a:lnTo>
                  <a:pt x="14" y="5"/>
                </a:lnTo>
                <a:lnTo>
                  <a:pt x="19" y="8"/>
                </a:lnTo>
                <a:lnTo>
                  <a:pt x="23" y="10"/>
                </a:lnTo>
                <a:lnTo>
                  <a:pt x="26" y="12"/>
                </a:lnTo>
                <a:lnTo>
                  <a:pt x="32" y="14"/>
                </a:lnTo>
                <a:lnTo>
                  <a:pt x="37" y="17"/>
                </a:lnTo>
                <a:lnTo>
                  <a:pt x="46" y="19"/>
                </a:lnTo>
                <a:lnTo>
                  <a:pt x="33" y="19"/>
                </a:lnTo>
                <a:lnTo>
                  <a:pt x="24" y="19"/>
                </a:lnTo>
                <a:lnTo>
                  <a:pt x="18" y="18"/>
                </a:lnTo>
                <a:lnTo>
                  <a:pt x="13" y="17"/>
                </a:lnTo>
                <a:lnTo>
                  <a:pt x="10" y="14"/>
                </a:lnTo>
                <a:lnTo>
                  <a:pt x="7" y="11"/>
                </a:lnTo>
                <a:lnTo>
                  <a:pt x="4" y="7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fr-FR" dirty="0"/>
          </a:p>
        </p:txBody>
      </p:sp>
      <p:sp>
        <p:nvSpPr>
          <p:cNvPr id="127" name="Freeform 519"/>
          <p:cNvSpPr>
            <a:spLocks/>
          </p:cNvSpPr>
          <p:nvPr>
            <p:custDataLst>
              <p:tags r:id="rId107"/>
            </p:custDataLst>
          </p:nvPr>
        </p:nvSpPr>
        <p:spPr bwMode="auto">
          <a:xfrm>
            <a:off x="1539679" y="3585335"/>
            <a:ext cx="59055" cy="80119"/>
          </a:xfrm>
          <a:custGeom>
            <a:avLst/>
            <a:gdLst>
              <a:gd name="T0" fmla="*/ 7484745 w 100"/>
              <a:gd name="T1" fmla="*/ 0 h 55"/>
              <a:gd name="T2" fmla="*/ 22681406 w 100"/>
              <a:gd name="T3" fmla="*/ 13687022 h 55"/>
              <a:gd name="T4" fmla="*/ 22681406 w 100"/>
              <a:gd name="T5" fmla="*/ 62730048 h 55"/>
              <a:gd name="T6" fmla="*/ 2948464 w 100"/>
              <a:gd name="T7" fmla="*/ 62730048 h 55"/>
              <a:gd name="T8" fmla="*/ 0 w 100"/>
              <a:gd name="T9" fmla="*/ 49043026 h 55"/>
              <a:gd name="T10" fmla="*/ 226695 w 100"/>
              <a:gd name="T11" fmla="*/ 43341168 h 55"/>
              <a:gd name="T12" fmla="*/ 907256 w 100"/>
              <a:gd name="T13" fmla="*/ 36497657 h 55"/>
              <a:gd name="T14" fmla="*/ 2268379 w 100"/>
              <a:gd name="T15" fmla="*/ 28513561 h 55"/>
              <a:gd name="T16" fmla="*/ 3629025 w 100"/>
              <a:gd name="T17" fmla="*/ 20529465 h 55"/>
              <a:gd name="T18" fmla="*/ 6124099 w 100"/>
              <a:gd name="T19" fmla="*/ 5702926 h 55"/>
              <a:gd name="T20" fmla="*/ 7484745 w 100"/>
              <a:gd name="T21" fmla="*/ 0 h 55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100" h="55">
                <a:moveTo>
                  <a:pt x="33" y="0"/>
                </a:moveTo>
                <a:lnTo>
                  <a:pt x="100" y="12"/>
                </a:lnTo>
                <a:lnTo>
                  <a:pt x="100" y="55"/>
                </a:lnTo>
                <a:lnTo>
                  <a:pt x="13" y="55"/>
                </a:lnTo>
                <a:lnTo>
                  <a:pt x="0" y="43"/>
                </a:lnTo>
                <a:lnTo>
                  <a:pt x="1" y="38"/>
                </a:lnTo>
                <a:lnTo>
                  <a:pt x="4" y="32"/>
                </a:lnTo>
                <a:lnTo>
                  <a:pt x="10" y="25"/>
                </a:lnTo>
                <a:lnTo>
                  <a:pt x="16" y="18"/>
                </a:lnTo>
                <a:lnTo>
                  <a:pt x="27" y="5"/>
                </a:lnTo>
                <a:lnTo>
                  <a:pt x="33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fr-FR" dirty="0"/>
          </a:p>
        </p:txBody>
      </p:sp>
      <p:sp>
        <p:nvSpPr>
          <p:cNvPr id="128" name="Freeform 520"/>
          <p:cNvSpPr>
            <a:spLocks/>
          </p:cNvSpPr>
          <p:nvPr>
            <p:custDataLst>
              <p:tags r:id="rId108"/>
            </p:custDataLst>
          </p:nvPr>
        </p:nvSpPr>
        <p:spPr bwMode="auto">
          <a:xfrm>
            <a:off x="2096765" y="3028841"/>
            <a:ext cx="53149" cy="80117"/>
          </a:xfrm>
          <a:custGeom>
            <a:avLst/>
            <a:gdLst>
              <a:gd name="T0" fmla="*/ 9934459 w 99"/>
              <a:gd name="T1" fmla="*/ 2652379 h 51"/>
              <a:gd name="T2" fmla="*/ 10871795 w 99"/>
              <a:gd name="T3" fmla="*/ 1326765 h 51"/>
              <a:gd name="T4" fmla="*/ 11621663 w 99"/>
              <a:gd name="T5" fmla="*/ 0 h 51"/>
              <a:gd name="T6" fmla="*/ 12184065 w 99"/>
              <a:gd name="T7" fmla="*/ 0 h 51"/>
              <a:gd name="T8" fmla="*/ 12933933 w 99"/>
              <a:gd name="T9" fmla="*/ 1326765 h 51"/>
              <a:gd name="T10" fmla="*/ 13870836 w 99"/>
              <a:gd name="T11" fmla="*/ 6632674 h 51"/>
              <a:gd name="T12" fmla="*/ 14808172 w 99"/>
              <a:gd name="T13" fmla="*/ 14590962 h 51"/>
              <a:gd name="T14" fmla="*/ 15558040 w 99"/>
              <a:gd name="T15" fmla="*/ 23876015 h 51"/>
              <a:gd name="T16" fmla="*/ 16307909 w 99"/>
              <a:gd name="T17" fmla="*/ 33161067 h 51"/>
              <a:gd name="T18" fmla="*/ 17057344 w 99"/>
              <a:gd name="T19" fmla="*/ 37140211 h 51"/>
              <a:gd name="T20" fmla="*/ 17432278 w 99"/>
              <a:gd name="T21" fmla="*/ 39792590 h 51"/>
              <a:gd name="T22" fmla="*/ 17994680 w 99"/>
              <a:gd name="T23" fmla="*/ 42446120 h 51"/>
              <a:gd name="T24" fmla="*/ 18557081 w 99"/>
              <a:gd name="T25" fmla="*/ 45098499 h 51"/>
              <a:gd name="T26" fmla="*/ 18557081 w 99"/>
              <a:gd name="T27" fmla="*/ 49077643 h 51"/>
              <a:gd name="T28" fmla="*/ 18182147 w 99"/>
              <a:gd name="T29" fmla="*/ 53056787 h 51"/>
              <a:gd name="T30" fmla="*/ 17807213 w 99"/>
              <a:gd name="T31" fmla="*/ 57035930 h 51"/>
              <a:gd name="T32" fmla="*/ 17057344 w 99"/>
              <a:gd name="T33" fmla="*/ 59689461 h 51"/>
              <a:gd name="T34" fmla="*/ 16120441 w 99"/>
              <a:gd name="T35" fmla="*/ 62341839 h 51"/>
              <a:gd name="T36" fmla="*/ 15183106 w 99"/>
              <a:gd name="T37" fmla="*/ 63668605 h 51"/>
              <a:gd name="T38" fmla="*/ 13870836 w 99"/>
              <a:gd name="T39" fmla="*/ 66320983 h 51"/>
              <a:gd name="T40" fmla="*/ 12746466 w 99"/>
              <a:gd name="T41" fmla="*/ 66320983 h 51"/>
              <a:gd name="T42" fmla="*/ 9746992 w 99"/>
              <a:gd name="T43" fmla="*/ 67647748 h 51"/>
              <a:gd name="T44" fmla="*/ 6747951 w 99"/>
              <a:gd name="T45" fmla="*/ 64995370 h 51"/>
              <a:gd name="T46" fmla="*/ 5061180 w 99"/>
              <a:gd name="T47" fmla="*/ 63668605 h 51"/>
              <a:gd name="T48" fmla="*/ 3373975 w 99"/>
              <a:gd name="T49" fmla="*/ 59689461 h 51"/>
              <a:gd name="T50" fmla="*/ 1687204 w 99"/>
              <a:gd name="T51" fmla="*/ 57035930 h 51"/>
              <a:gd name="T52" fmla="*/ 187467 w 99"/>
              <a:gd name="T53" fmla="*/ 53056787 h 51"/>
              <a:gd name="T54" fmla="*/ 0 w 99"/>
              <a:gd name="T55" fmla="*/ 51731173 h 51"/>
              <a:gd name="T56" fmla="*/ 187467 w 99"/>
              <a:gd name="T57" fmla="*/ 49077643 h 51"/>
              <a:gd name="T58" fmla="*/ 562401 w 99"/>
              <a:gd name="T59" fmla="*/ 46425264 h 51"/>
              <a:gd name="T60" fmla="*/ 1124803 w 99"/>
              <a:gd name="T61" fmla="*/ 43771734 h 51"/>
              <a:gd name="T62" fmla="*/ 2624107 w 99"/>
              <a:gd name="T63" fmla="*/ 38465825 h 51"/>
              <a:gd name="T64" fmla="*/ 4686245 w 99"/>
              <a:gd name="T65" fmla="*/ 31834302 h 51"/>
              <a:gd name="T66" fmla="*/ 6560484 w 99"/>
              <a:gd name="T67" fmla="*/ 25201628 h 51"/>
              <a:gd name="T68" fmla="*/ 8435155 w 99"/>
              <a:gd name="T69" fmla="*/ 15916575 h 51"/>
              <a:gd name="T70" fmla="*/ 8997556 w 99"/>
              <a:gd name="T71" fmla="*/ 13264197 h 51"/>
              <a:gd name="T72" fmla="*/ 9559525 w 99"/>
              <a:gd name="T73" fmla="*/ 9285053 h 51"/>
              <a:gd name="T74" fmla="*/ 9746992 w 99"/>
              <a:gd name="T75" fmla="*/ 6632674 h 51"/>
              <a:gd name="T76" fmla="*/ 9934459 w 99"/>
              <a:gd name="T77" fmla="*/ 2652379 h 51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0" t="0" r="r" b="b"/>
            <a:pathLst>
              <a:path w="99" h="51">
                <a:moveTo>
                  <a:pt x="53" y="2"/>
                </a:moveTo>
                <a:lnTo>
                  <a:pt x="58" y="1"/>
                </a:lnTo>
                <a:lnTo>
                  <a:pt x="62" y="0"/>
                </a:lnTo>
                <a:lnTo>
                  <a:pt x="65" y="0"/>
                </a:lnTo>
                <a:lnTo>
                  <a:pt x="69" y="1"/>
                </a:lnTo>
                <a:lnTo>
                  <a:pt x="74" y="5"/>
                </a:lnTo>
                <a:lnTo>
                  <a:pt x="79" y="11"/>
                </a:lnTo>
                <a:lnTo>
                  <a:pt x="83" y="18"/>
                </a:lnTo>
                <a:lnTo>
                  <a:pt x="87" y="25"/>
                </a:lnTo>
                <a:lnTo>
                  <a:pt x="91" y="28"/>
                </a:lnTo>
                <a:lnTo>
                  <a:pt x="93" y="30"/>
                </a:lnTo>
                <a:lnTo>
                  <a:pt x="96" y="32"/>
                </a:lnTo>
                <a:lnTo>
                  <a:pt x="99" y="34"/>
                </a:lnTo>
                <a:lnTo>
                  <a:pt x="99" y="37"/>
                </a:lnTo>
                <a:lnTo>
                  <a:pt x="97" y="40"/>
                </a:lnTo>
                <a:lnTo>
                  <a:pt x="95" y="43"/>
                </a:lnTo>
                <a:lnTo>
                  <a:pt x="91" y="45"/>
                </a:lnTo>
                <a:lnTo>
                  <a:pt x="86" y="47"/>
                </a:lnTo>
                <a:lnTo>
                  <a:pt x="81" y="48"/>
                </a:lnTo>
                <a:lnTo>
                  <a:pt x="74" y="50"/>
                </a:lnTo>
                <a:lnTo>
                  <a:pt x="68" y="50"/>
                </a:lnTo>
                <a:lnTo>
                  <a:pt x="52" y="51"/>
                </a:lnTo>
                <a:lnTo>
                  <a:pt x="36" y="49"/>
                </a:lnTo>
                <a:lnTo>
                  <a:pt x="27" y="48"/>
                </a:lnTo>
                <a:lnTo>
                  <a:pt x="18" y="45"/>
                </a:lnTo>
                <a:lnTo>
                  <a:pt x="9" y="43"/>
                </a:lnTo>
                <a:lnTo>
                  <a:pt x="1" y="40"/>
                </a:lnTo>
                <a:lnTo>
                  <a:pt x="0" y="39"/>
                </a:lnTo>
                <a:lnTo>
                  <a:pt x="1" y="37"/>
                </a:lnTo>
                <a:lnTo>
                  <a:pt x="3" y="35"/>
                </a:lnTo>
                <a:lnTo>
                  <a:pt x="6" y="33"/>
                </a:lnTo>
                <a:lnTo>
                  <a:pt x="14" y="29"/>
                </a:lnTo>
                <a:lnTo>
                  <a:pt x="25" y="24"/>
                </a:lnTo>
                <a:lnTo>
                  <a:pt x="35" y="19"/>
                </a:lnTo>
                <a:lnTo>
                  <a:pt x="45" y="12"/>
                </a:lnTo>
                <a:lnTo>
                  <a:pt x="48" y="10"/>
                </a:lnTo>
                <a:lnTo>
                  <a:pt x="51" y="7"/>
                </a:lnTo>
                <a:lnTo>
                  <a:pt x="52" y="5"/>
                </a:lnTo>
                <a:lnTo>
                  <a:pt x="53" y="2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fr-FR" dirty="0"/>
          </a:p>
        </p:txBody>
      </p:sp>
      <p:sp>
        <p:nvSpPr>
          <p:cNvPr id="129" name="Freeform 522"/>
          <p:cNvSpPr>
            <a:spLocks/>
          </p:cNvSpPr>
          <p:nvPr>
            <p:custDataLst>
              <p:tags r:id="rId109"/>
            </p:custDataLst>
          </p:nvPr>
        </p:nvSpPr>
        <p:spPr bwMode="auto">
          <a:xfrm>
            <a:off x="1882198" y="3197738"/>
            <a:ext cx="39370" cy="75787"/>
          </a:xfrm>
          <a:custGeom>
            <a:avLst/>
            <a:gdLst>
              <a:gd name="T0" fmla="*/ 7429902 w 79"/>
              <a:gd name="T1" fmla="*/ 0 h 38"/>
              <a:gd name="T2" fmla="*/ 8722408 w 79"/>
              <a:gd name="T3" fmla="*/ 2137675 h 38"/>
              <a:gd name="T4" fmla="*/ 10014513 w 79"/>
              <a:gd name="T5" fmla="*/ 6413025 h 38"/>
              <a:gd name="T6" fmla="*/ 10983491 w 79"/>
              <a:gd name="T7" fmla="*/ 14965186 h 38"/>
              <a:gd name="T8" fmla="*/ 11629744 w 79"/>
              <a:gd name="T9" fmla="*/ 25655022 h 38"/>
              <a:gd name="T10" fmla="*/ 12114032 w 79"/>
              <a:gd name="T11" fmla="*/ 36344859 h 38"/>
              <a:gd name="T12" fmla="*/ 12437158 w 79"/>
              <a:gd name="T13" fmla="*/ 47033233 h 38"/>
              <a:gd name="T14" fmla="*/ 12760285 w 79"/>
              <a:gd name="T15" fmla="*/ 57723069 h 38"/>
              <a:gd name="T16" fmla="*/ 12760285 w 79"/>
              <a:gd name="T17" fmla="*/ 68412906 h 38"/>
              <a:gd name="T18" fmla="*/ 12437158 w 79"/>
              <a:gd name="T19" fmla="*/ 72688255 h 38"/>
              <a:gd name="T20" fmla="*/ 12114032 w 79"/>
              <a:gd name="T21" fmla="*/ 74827392 h 38"/>
              <a:gd name="T22" fmla="*/ 11629744 w 79"/>
              <a:gd name="T23" fmla="*/ 76965067 h 38"/>
              <a:gd name="T24" fmla="*/ 10983491 w 79"/>
              <a:gd name="T25" fmla="*/ 79102742 h 38"/>
              <a:gd name="T26" fmla="*/ 9206696 w 79"/>
              <a:gd name="T27" fmla="*/ 81240417 h 38"/>
              <a:gd name="T28" fmla="*/ 7429902 w 79"/>
              <a:gd name="T29" fmla="*/ 81240417 h 38"/>
              <a:gd name="T30" fmla="*/ 6137797 w 79"/>
              <a:gd name="T31" fmla="*/ 79102742 h 38"/>
              <a:gd name="T32" fmla="*/ 4845693 w 79"/>
              <a:gd name="T33" fmla="*/ 76965067 h 38"/>
              <a:gd name="T34" fmla="*/ 3392025 w 79"/>
              <a:gd name="T35" fmla="*/ 74827392 h 38"/>
              <a:gd name="T36" fmla="*/ 2422646 w 79"/>
              <a:gd name="T37" fmla="*/ 68412906 h 38"/>
              <a:gd name="T38" fmla="*/ 1292104 w 79"/>
              <a:gd name="T39" fmla="*/ 61999881 h 38"/>
              <a:gd name="T40" fmla="*/ 646253 w 79"/>
              <a:gd name="T41" fmla="*/ 53447720 h 38"/>
              <a:gd name="T42" fmla="*/ 323127 w 79"/>
              <a:gd name="T43" fmla="*/ 47033233 h 38"/>
              <a:gd name="T44" fmla="*/ 161563 w 79"/>
              <a:gd name="T45" fmla="*/ 42757883 h 38"/>
              <a:gd name="T46" fmla="*/ 0 w 79"/>
              <a:gd name="T47" fmla="*/ 36344859 h 38"/>
              <a:gd name="T48" fmla="*/ 0 w 79"/>
              <a:gd name="T49" fmla="*/ 27792697 h 38"/>
              <a:gd name="T50" fmla="*/ 161563 w 79"/>
              <a:gd name="T51" fmla="*/ 23517348 h 38"/>
              <a:gd name="T52" fmla="*/ 646253 w 79"/>
              <a:gd name="T53" fmla="*/ 19240536 h 38"/>
              <a:gd name="T54" fmla="*/ 1615231 w 79"/>
              <a:gd name="T55" fmla="*/ 12827511 h 38"/>
              <a:gd name="T56" fmla="*/ 2745772 w 79"/>
              <a:gd name="T57" fmla="*/ 8552162 h 38"/>
              <a:gd name="T58" fmla="*/ 5168820 w 79"/>
              <a:gd name="T59" fmla="*/ 2137675 h 38"/>
              <a:gd name="T60" fmla="*/ 7429902 w 79"/>
              <a:gd name="T61" fmla="*/ 0 h 38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79" h="38">
                <a:moveTo>
                  <a:pt x="46" y="0"/>
                </a:moveTo>
                <a:lnTo>
                  <a:pt x="54" y="1"/>
                </a:lnTo>
                <a:lnTo>
                  <a:pt x="62" y="3"/>
                </a:lnTo>
                <a:lnTo>
                  <a:pt x="68" y="7"/>
                </a:lnTo>
                <a:lnTo>
                  <a:pt x="72" y="12"/>
                </a:lnTo>
                <a:lnTo>
                  <a:pt x="75" y="17"/>
                </a:lnTo>
                <a:lnTo>
                  <a:pt x="77" y="22"/>
                </a:lnTo>
                <a:lnTo>
                  <a:pt x="79" y="27"/>
                </a:lnTo>
                <a:lnTo>
                  <a:pt x="79" y="32"/>
                </a:lnTo>
                <a:lnTo>
                  <a:pt x="77" y="34"/>
                </a:lnTo>
                <a:lnTo>
                  <a:pt x="75" y="35"/>
                </a:lnTo>
                <a:lnTo>
                  <a:pt x="72" y="36"/>
                </a:lnTo>
                <a:lnTo>
                  <a:pt x="68" y="37"/>
                </a:lnTo>
                <a:lnTo>
                  <a:pt x="57" y="38"/>
                </a:lnTo>
                <a:lnTo>
                  <a:pt x="46" y="38"/>
                </a:lnTo>
                <a:lnTo>
                  <a:pt x="38" y="37"/>
                </a:lnTo>
                <a:lnTo>
                  <a:pt x="30" y="36"/>
                </a:lnTo>
                <a:lnTo>
                  <a:pt x="21" y="35"/>
                </a:lnTo>
                <a:lnTo>
                  <a:pt x="15" y="32"/>
                </a:lnTo>
                <a:lnTo>
                  <a:pt x="8" y="29"/>
                </a:lnTo>
                <a:lnTo>
                  <a:pt x="4" y="25"/>
                </a:lnTo>
                <a:lnTo>
                  <a:pt x="2" y="22"/>
                </a:lnTo>
                <a:lnTo>
                  <a:pt x="1" y="20"/>
                </a:lnTo>
                <a:lnTo>
                  <a:pt x="0" y="17"/>
                </a:lnTo>
                <a:lnTo>
                  <a:pt x="0" y="13"/>
                </a:lnTo>
                <a:lnTo>
                  <a:pt x="1" y="11"/>
                </a:lnTo>
                <a:lnTo>
                  <a:pt x="4" y="9"/>
                </a:lnTo>
                <a:lnTo>
                  <a:pt x="10" y="6"/>
                </a:lnTo>
                <a:lnTo>
                  <a:pt x="17" y="4"/>
                </a:lnTo>
                <a:lnTo>
                  <a:pt x="32" y="1"/>
                </a:lnTo>
                <a:lnTo>
                  <a:pt x="46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fr-FR" dirty="0"/>
          </a:p>
        </p:txBody>
      </p:sp>
      <p:sp>
        <p:nvSpPr>
          <p:cNvPr id="130" name="Freeform 523"/>
          <p:cNvSpPr>
            <a:spLocks/>
          </p:cNvSpPr>
          <p:nvPr>
            <p:custDataLst>
              <p:tags r:id="rId110"/>
            </p:custDataLst>
          </p:nvPr>
        </p:nvSpPr>
        <p:spPr bwMode="auto">
          <a:xfrm>
            <a:off x="4740462" y="3602658"/>
            <a:ext cx="244094" cy="365945"/>
          </a:xfrm>
          <a:custGeom>
            <a:avLst/>
            <a:gdLst>
              <a:gd name="T0" fmla="*/ 4782297 w 459"/>
              <a:gd name="T1" fmla="*/ 12404251 h 511"/>
              <a:gd name="T2" fmla="*/ 2206950 w 459"/>
              <a:gd name="T3" fmla="*/ 6891484 h 511"/>
              <a:gd name="T4" fmla="*/ 0 w 459"/>
              <a:gd name="T5" fmla="*/ 0 h 511"/>
              <a:gd name="T6" fmla="*/ 4046361 w 459"/>
              <a:gd name="T7" fmla="*/ 1929468 h 511"/>
              <a:gd name="T8" fmla="*/ 6069756 w 459"/>
              <a:gd name="T9" fmla="*/ 1653830 h 511"/>
              <a:gd name="T10" fmla="*/ 17472903 w 459"/>
              <a:gd name="T11" fmla="*/ 18468820 h 511"/>
              <a:gd name="T12" fmla="*/ 26853514 w 459"/>
              <a:gd name="T13" fmla="*/ 33905093 h 511"/>
              <a:gd name="T14" fmla="*/ 39728104 w 459"/>
              <a:gd name="T15" fmla="*/ 54579020 h 511"/>
              <a:gd name="T16" fmla="*/ 47453287 w 459"/>
              <a:gd name="T17" fmla="*/ 65329441 h 511"/>
              <a:gd name="T18" fmla="*/ 55729993 w 459"/>
              <a:gd name="T19" fmla="*/ 73323478 h 511"/>
              <a:gd name="T20" fmla="*/ 68421029 w 459"/>
              <a:gd name="T21" fmla="*/ 85727729 h 511"/>
              <a:gd name="T22" fmla="*/ 73202897 w 459"/>
              <a:gd name="T23" fmla="*/ 92619213 h 511"/>
              <a:gd name="T24" fmla="*/ 67133141 w 459"/>
              <a:gd name="T25" fmla="*/ 88208474 h 511"/>
              <a:gd name="T26" fmla="*/ 59592370 w 459"/>
              <a:gd name="T27" fmla="*/ 81593154 h 511"/>
              <a:gd name="T28" fmla="*/ 57752959 w 459"/>
              <a:gd name="T29" fmla="*/ 82144430 h 511"/>
              <a:gd name="T30" fmla="*/ 57568975 w 459"/>
              <a:gd name="T31" fmla="*/ 85727729 h 511"/>
              <a:gd name="T32" fmla="*/ 58304911 w 459"/>
              <a:gd name="T33" fmla="*/ 92894851 h 511"/>
              <a:gd name="T34" fmla="*/ 59960338 w 459"/>
              <a:gd name="T35" fmla="*/ 98683257 h 511"/>
              <a:gd name="T36" fmla="*/ 64006700 w 459"/>
              <a:gd name="T37" fmla="*/ 106677294 h 511"/>
              <a:gd name="T38" fmla="*/ 72467390 w 459"/>
              <a:gd name="T39" fmla="*/ 116049523 h 511"/>
              <a:gd name="T40" fmla="*/ 80928080 w 459"/>
              <a:gd name="T41" fmla="*/ 126248667 h 511"/>
              <a:gd name="T42" fmla="*/ 82399094 w 459"/>
              <a:gd name="T43" fmla="*/ 131210158 h 511"/>
              <a:gd name="T44" fmla="*/ 78720701 w 459"/>
              <a:gd name="T45" fmla="*/ 129280689 h 511"/>
              <a:gd name="T46" fmla="*/ 72099422 w 459"/>
              <a:gd name="T47" fmla="*/ 127351221 h 511"/>
              <a:gd name="T48" fmla="*/ 72283406 w 459"/>
              <a:gd name="T49" fmla="*/ 136172173 h 511"/>
              <a:gd name="T50" fmla="*/ 73202897 w 459"/>
              <a:gd name="T51" fmla="*/ 140858025 h 511"/>
              <a:gd name="T52" fmla="*/ 71363486 w 459"/>
              <a:gd name="T53" fmla="*/ 135620897 h 511"/>
              <a:gd name="T54" fmla="*/ 66765602 w 459"/>
              <a:gd name="T55" fmla="*/ 128453774 h 511"/>
              <a:gd name="T56" fmla="*/ 63086780 w 459"/>
              <a:gd name="T57" fmla="*/ 122664844 h 511"/>
              <a:gd name="T58" fmla="*/ 62351273 w 459"/>
              <a:gd name="T59" fmla="*/ 118805907 h 511"/>
              <a:gd name="T60" fmla="*/ 60327878 w 459"/>
              <a:gd name="T61" fmla="*/ 113292615 h 511"/>
              <a:gd name="T62" fmla="*/ 57017452 w 459"/>
              <a:gd name="T63" fmla="*/ 105850379 h 511"/>
              <a:gd name="T64" fmla="*/ 54810073 w 459"/>
              <a:gd name="T65" fmla="*/ 101164002 h 511"/>
              <a:gd name="T66" fmla="*/ 51499648 w 459"/>
              <a:gd name="T67" fmla="*/ 98683257 h 511"/>
              <a:gd name="T68" fmla="*/ 48556762 w 459"/>
              <a:gd name="T69" fmla="*/ 94548681 h 511"/>
              <a:gd name="T70" fmla="*/ 45797860 w 459"/>
              <a:gd name="T71" fmla="*/ 86554644 h 511"/>
              <a:gd name="T72" fmla="*/ 45061924 w 459"/>
              <a:gd name="T73" fmla="*/ 80765714 h 511"/>
              <a:gd name="T74" fmla="*/ 43038958 w 459"/>
              <a:gd name="T75" fmla="*/ 77458053 h 511"/>
              <a:gd name="T76" fmla="*/ 35681743 w 459"/>
              <a:gd name="T77" fmla="*/ 67258909 h 511"/>
              <a:gd name="T78" fmla="*/ 31451398 w 459"/>
              <a:gd name="T79" fmla="*/ 60643589 h 511"/>
              <a:gd name="T80" fmla="*/ 29979955 w 459"/>
              <a:gd name="T81" fmla="*/ 55957211 h 511"/>
              <a:gd name="T82" fmla="*/ 28324957 w 459"/>
              <a:gd name="T83" fmla="*/ 51546998 h 511"/>
              <a:gd name="T84" fmla="*/ 21151725 w 459"/>
              <a:gd name="T85" fmla="*/ 42726045 h 511"/>
              <a:gd name="T86" fmla="*/ 12875019 w 459"/>
              <a:gd name="T87" fmla="*/ 35834561 h 511"/>
              <a:gd name="T88" fmla="*/ 8644674 w 459"/>
              <a:gd name="T89" fmla="*/ 30321794 h 511"/>
              <a:gd name="T90" fmla="*/ 6989247 w 459"/>
              <a:gd name="T91" fmla="*/ 25635417 h 511"/>
              <a:gd name="T92" fmla="*/ 6253311 w 459"/>
              <a:gd name="T93" fmla="*/ 20673927 h 511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</a:gdLst>
            <a:ahLst/>
            <a:cxnLst>
              <a:cxn ang="T94">
                <a:pos x="T0" y="T1"/>
              </a:cxn>
              <a:cxn ang="T95">
                <a:pos x="T2" y="T3"/>
              </a:cxn>
              <a:cxn ang="T96">
                <a:pos x="T4" y="T5"/>
              </a:cxn>
              <a:cxn ang="T97">
                <a:pos x="T6" y="T7"/>
              </a:cxn>
              <a:cxn ang="T98">
                <a:pos x="T8" y="T9"/>
              </a:cxn>
              <a:cxn ang="T99">
                <a:pos x="T10" y="T11"/>
              </a:cxn>
              <a:cxn ang="T100">
                <a:pos x="T12" y="T13"/>
              </a:cxn>
              <a:cxn ang="T101">
                <a:pos x="T14" y="T15"/>
              </a:cxn>
              <a:cxn ang="T102">
                <a:pos x="T16" y="T17"/>
              </a:cxn>
              <a:cxn ang="T103">
                <a:pos x="T18" y="T19"/>
              </a:cxn>
              <a:cxn ang="T104">
                <a:pos x="T20" y="T21"/>
              </a:cxn>
              <a:cxn ang="T105">
                <a:pos x="T22" y="T23"/>
              </a:cxn>
              <a:cxn ang="T106">
                <a:pos x="T24" y="T25"/>
              </a:cxn>
              <a:cxn ang="T107">
                <a:pos x="T26" y="T27"/>
              </a:cxn>
              <a:cxn ang="T108">
                <a:pos x="T28" y="T29"/>
              </a:cxn>
              <a:cxn ang="T109">
                <a:pos x="T30" y="T31"/>
              </a:cxn>
              <a:cxn ang="T110">
                <a:pos x="T32" y="T33"/>
              </a:cxn>
              <a:cxn ang="T111">
                <a:pos x="T34" y="T35"/>
              </a:cxn>
              <a:cxn ang="T112">
                <a:pos x="T36" y="T37"/>
              </a:cxn>
              <a:cxn ang="T113">
                <a:pos x="T38" y="T39"/>
              </a:cxn>
              <a:cxn ang="T114">
                <a:pos x="T40" y="T41"/>
              </a:cxn>
              <a:cxn ang="T115">
                <a:pos x="T42" y="T43"/>
              </a:cxn>
              <a:cxn ang="T116">
                <a:pos x="T44" y="T45"/>
              </a:cxn>
              <a:cxn ang="T117">
                <a:pos x="T46" y="T47"/>
              </a:cxn>
              <a:cxn ang="T118">
                <a:pos x="T48" y="T49"/>
              </a:cxn>
              <a:cxn ang="T119">
                <a:pos x="T50" y="T51"/>
              </a:cxn>
              <a:cxn ang="T120">
                <a:pos x="T52" y="T53"/>
              </a:cxn>
              <a:cxn ang="T121">
                <a:pos x="T54" y="T55"/>
              </a:cxn>
              <a:cxn ang="T122">
                <a:pos x="T56" y="T57"/>
              </a:cxn>
              <a:cxn ang="T123">
                <a:pos x="T58" y="T59"/>
              </a:cxn>
              <a:cxn ang="T124">
                <a:pos x="T60" y="T61"/>
              </a:cxn>
              <a:cxn ang="T125">
                <a:pos x="T62" y="T63"/>
              </a:cxn>
              <a:cxn ang="T126">
                <a:pos x="T64" y="T65"/>
              </a:cxn>
              <a:cxn ang="T127">
                <a:pos x="T66" y="T67"/>
              </a:cxn>
              <a:cxn ang="T128">
                <a:pos x="T68" y="T69"/>
              </a:cxn>
              <a:cxn ang="T129">
                <a:pos x="T70" y="T71"/>
              </a:cxn>
              <a:cxn ang="T130">
                <a:pos x="T72" y="T73"/>
              </a:cxn>
              <a:cxn ang="T131">
                <a:pos x="T74" y="T75"/>
              </a:cxn>
              <a:cxn ang="T132">
                <a:pos x="T76" y="T77"/>
              </a:cxn>
              <a:cxn ang="T133">
                <a:pos x="T78" y="T79"/>
              </a:cxn>
              <a:cxn ang="T134">
                <a:pos x="T80" y="T81"/>
              </a:cxn>
              <a:cxn ang="T135">
                <a:pos x="T82" y="T83"/>
              </a:cxn>
              <a:cxn ang="T136">
                <a:pos x="T84" y="T85"/>
              </a:cxn>
              <a:cxn ang="T137">
                <a:pos x="T86" y="T87"/>
              </a:cxn>
              <a:cxn ang="T138">
                <a:pos x="T88" y="T89"/>
              </a:cxn>
              <a:cxn ang="T139">
                <a:pos x="T90" y="T91"/>
              </a:cxn>
              <a:cxn ang="T140">
                <a:pos x="T92" y="T93"/>
              </a:cxn>
            </a:cxnLst>
            <a:rect l="0" t="0" r="r" b="b"/>
            <a:pathLst>
              <a:path w="459" h="511">
                <a:moveTo>
                  <a:pt x="33" y="68"/>
                </a:moveTo>
                <a:lnTo>
                  <a:pt x="29" y="56"/>
                </a:lnTo>
                <a:lnTo>
                  <a:pt x="26" y="45"/>
                </a:lnTo>
                <a:lnTo>
                  <a:pt x="22" y="38"/>
                </a:lnTo>
                <a:lnTo>
                  <a:pt x="16" y="31"/>
                </a:lnTo>
                <a:lnTo>
                  <a:pt x="12" y="25"/>
                </a:lnTo>
                <a:lnTo>
                  <a:pt x="6" y="18"/>
                </a:lnTo>
                <a:lnTo>
                  <a:pt x="3" y="10"/>
                </a:lnTo>
                <a:lnTo>
                  <a:pt x="0" y="0"/>
                </a:lnTo>
                <a:lnTo>
                  <a:pt x="6" y="2"/>
                </a:lnTo>
                <a:lnTo>
                  <a:pt x="16" y="5"/>
                </a:lnTo>
                <a:lnTo>
                  <a:pt x="22" y="7"/>
                </a:lnTo>
                <a:lnTo>
                  <a:pt x="26" y="8"/>
                </a:lnTo>
                <a:lnTo>
                  <a:pt x="29" y="8"/>
                </a:lnTo>
                <a:lnTo>
                  <a:pt x="33" y="6"/>
                </a:lnTo>
                <a:lnTo>
                  <a:pt x="59" y="31"/>
                </a:lnTo>
                <a:lnTo>
                  <a:pt x="80" y="50"/>
                </a:lnTo>
                <a:lnTo>
                  <a:pt x="95" y="67"/>
                </a:lnTo>
                <a:lnTo>
                  <a:pt x="107" y="80"/>
                </a:lnTo>
                <a:lnTo>
                  <a:pt x="125" y="102"/>
                </a:lnTo>
                <a:lnTo>
                  <a:pt x="146" y="123"/>
                </a:lnTo>
                <a:lnTo>
                  <a:pt x="172" y="149"/>
                </a:lnTo>
                <a:lnTo>
                  <a:pt x="195" y="175"/>
                </a:lnTo>
                <a:lnTo>
                  <a:pt x="216" y="198"/>
                </a:lnTo>
                <a:lnTo>
                  <a:pt x="239" y="222"/>
                </a:lnTo>
                <a:lnTo>
                  <a:pt x="248" y="230"/>
                </a:lnTo>
                <a:lnTo>
                  <a:pt x="258" y="237"/>
                </a:lnTo>
                <a:lnTo>
                  <a:pt x="269" y="245"/>
                </a:lnTo>
                <a:lnTo>
                  <a:pt x="280" y="252"/>
                </a:lnTo>
                <a:lnTo>
                  <a:pt x="303" y="266"/>
                </a:lnTo>
                <a:lnTo>
                  <a:pt x="327" y="281"/>
                </a:lnTo>
                <a:lnTo>
                  <a:pt x="350" y="295"/>
                </a:lnTo>
                <a:lnTo>
                  <a:pt x="372" y="311"/>
                </a:lnTo>
                <a:lnTo>
                  <a:pt x="382" y="318"/>
                </a:lnTo>
                <a:lnTo>
                  <a:pt x="391" y="327"/>
                </a:lnTo>
                <a:lnTo>
                  <a:pt x="398" y="336"/>
                </a:lnTo>
                <a:lnTo>
                  <a:pt x="405" y="345"/>
                </a:lnTo>
                <a:lnTo>
                  <a:pt x="387" y="334"/>
                </a:lnTo>
                <a:lnTo>
                  <a:pt x="365" y="320"/>
                </a:lnTo>
                <a:lnTo>
                  <a:pt x="343" y="306"/>
                </a:lnTo>
                <a:lnTo>
                  <a:pt x="326" y="295"/>
                </a:lnTo>
                <a:lnTo>
                  <a:pt x="324" y="296"/>
                </a:lnTo>
                <a:lnTo>
                  <a:pt x="318" y="296"/>
                </a:lnTo>
                <a:lnTo>
                  <a:pt x="316" y="297"/>
                </a:lnTo>
                <a:lnTo>
                  <a:pt x="314" y="298"/>
                </a:lnTo>
                <a:lnTo>
                  <a:pt x="313" y="300"/>
                </a:lnTo>
                <a:lnTo>
                  <a:pt x="311" y="301"/>
                </a:lnTo>
                <a:lnTo>
                  <a:pt x="313" y="311"/>
                </a:lnTo>
                <a:lnTo>
                  <a:pt x="313" y="320"/>
                </a:lnTo>
                <a:lnTo>
                  <a:pt x="315" y="328"/>
                </a:lnTo>
                <a:lnTo>
                  <a:pt x="317" y="337"/>
                </a:lnTo>
                <a:lnTo>
                  <a:pt x="319" y="344"/>
                </a:lnTo>
                <a:lnTo>
                  <a:pt x="322" y="351"/>
                </a:lnTo>
                <a:lnTo>
                  <a:pt x="326" y="358"/>
                </a:lnTo>
                <a:lnTo>
                  <a:pt x="329" y="364"/>
                </a:lnTo>
                <a:lnTo>
                  <a:pt x="338" y="375"/>
                </a:lnTo>
                <a:lnTo>
                  <a:pt x="348" y="387"/>
                </a:lnTo>
                <a:lnTo>
                  <a:pt x="359" y="396"/>
                </a:lnTo>
                <a:lnTo>
                  <a:pt x="370" y="405"/>
                </a:lnTo>
                <a:lnTo>
                  <a:pt x="394" y="421"/>
                </a:lnTo>
                <a:lnTo>
                  <a:pt x="418" y="438"/>
                </a:lnTo>
                <a:lnTo>
                  <a:pt x="430" y="448"/>
                </a:lnTo>
                <a:lnTo>
                  <a:pt x="440" y="458"/>
                </a:lnTo>
                <a:lnTo>
                  <a:pt x="450" y="468"/>
                </a:lnTo>
                <a:lnTo>
                  <a:pt x="459" y="480"/>
                </a:lnTo>
                <a:lnTo>
                  <a:pt x="448" y="476"/>
                </a:lnTo>
                <a:lnTo>
                  <a:pt x="437" y="473"/>
                </a:lnTo>
                <a:lnTo>
                  <a:pt x="432" y="471"/>
                </a:lnTo>
                <a:lnTo>
                  <a:pt x="428" y="469"/>
                </a:lnTo>
                <a:lnTo>
                  <a:pt x="426" y="466"/>
                </a:lnTo>
                <a:lnTo>
                  <a:pt x="425" y="462"/>
                </a:lnTo>
                <a:lnTo>
                  <a:pt x="392" y="462"/>
                </a:lnTo>
                <a:lnTo>
                  <a:pt x="392" y="475"/>
                </a:lnTo>
                <a:lnTo>
                  <a:pt x="393" y="488"/>
                </a:lnTo>
                <a:lnTo>
                  <a:pt x="393" y="494"/>
                </a:lnTo>
                <a:lnTo>
                  <a:pt x="395" y="501"/>
                </a:lnTo>
                <a:lnTo>
                  <a:pt x="396" y="506"/>
                </a:lnTo>
                <a:lnTo>
                  <a:pt x="398" y="511"/>
                </a:lnTo>
                <a:lnTo>
                  <a:pt x="395" y="505"/>
                </a:lnTo>
                <a:lnTo>
                  <a:pt x="392" y="498"/>
                </a:lnTo>
                <a:lnTo>
                  <a:pt x="388" y="492"/>
                </a:lnTo>
                <a:lnTo>
                  <a:pt x="383" y="486"/>
                </a:lnTo>
                <a:lnTo>
                  <a:pt x="374" y="476"/>
                </a:lnTo>
                <a:lnTo>
                  <a:pt x="363" y="466"/>
                </a:lnTo>
                <a:lnTo>
                  <a:pt x="354" y="458"/>
                </a:lnTo>
                <a:lnTo>
                  <a:pt x="346" y="449"/>
                </a:lnTo>
                <a:lnTo>
                  <a:pt x="343" y="445"/>
                </a:lnTo>
                <a:lnTo>
                  <a:pt x="340" y="439"/>
                </a:lnTo>
                <a:lnTo>
                  <a:pt x="339" y="435"/>
                </a:lnTo>
                <a:lnTo>
                  <a:pt x="339" y="431"/>
                </a:lnTo>
                <a:lnTo>
                  <a:pt x="337" y="425"/>
                </a:lnTo>
                <a:lnTo>
                  <a:pt x="333" y="419"/>
                </a:lnTo>
                <a:lnTo>
                  <a:pt x="328" y="411"/>
                </a:lnTo>
                <a:lnTo>
                  <a:pt x="321" y="403"/>
                </a:lnTo>
                <a:lnTo>
                  <a:pt x="316" y="394"/>
                </a:lnTo>
                <a:lnTo>
                  <a:pt x="310" y="384"/>
                </a:lnTo>
                <a:lnTo>
                  <a:pt x="307" y="376"/>
                </a:lnTo>
                <a:lnTo>
                  <a:pt x="305" y="369"/>
                </a:lnTo>
                <a:lnTo>
                  <a:pt x="298" y="367"/>
                </a:lnTo>
                <a:lnTo>
                  <a:pt x="292" y="365"/>
                </a:lnTo>
                <a:lnTo>
                  <a:pt x="285" y="362"/>
                </a:lnTo>
                <a:lnTo>
                  <a:pt x="280" y="358"/>
                </a:lnTo>
                <a:lnTo>
                  <a:pt x="274" y="353"/>
                </a:lnTo>
                <a:lnTo>
                  <a:pt x="269" y="348"/>
                </a:lnTo>
                <a:lnTo>
                  <a:pt x="264" y="343"/>
                </a:lnTo>
                <a:lnTo>
                  <a:pt x="261" y="337"/>
                </a:lnTo>
                <a:lnTo>
                  <a:pt x="254" y="325"/>
                </a:lnTo>
                <a:lnTo>
                  <a:pt x="249" y="314"/>
                </a:lnTo>
                <a:lnTo>
                  <a:pt x="247" y="304"/>
                </a:lnTo>
                <a:lnTo>
                  <a:pt x="246" y="295"/>
                </a:lnTo>
                <a:lnTo>
                  <a:pt x="245" y="293"/>
                </a:lnTo>
                <a:lnTo>
                  <a:pt x="242" y="289"/>
                </a:lnTo>
                <a:lnTo>
                  <a:pt x="239" y="285"/>
                </a:lnTo>
                <a:lnTo>
                  <a:pt x="234" y="281"/>
                </a:lnTo>
                <a:lnTo>
                  <a:pt x="221" y="269"/>
                </a:lnTo>
                <a:lnTo>
                  <a:pt x="208" y="257"/>
                </a:lnTo>
                <a:lnTo>
                  <a:pt x="194" y="244"/>
                </a:lnTo>
                <a:lnTo>
                  <a:pt x="181" y="232"/>
                </a:lnTo>
                <a:lnTo>
                  <a:pt x="175" y="226"/>
                </a:lnTo>
                <a:lnTo>
                  <a:pt x="171" y="220"/>
                </a:lnTo>
                <a:lnTo>
                  <a:pt x="168" y="214"/>
                </a:lnTo>
                <a:lnTo>
                  <a:pt x="165" y="209"/>
                </a:lnTo>
                <a:lnTo>
                  <a:pt x="163" y="203"/>
                </a:lnTo>
                <a:lnTo>
                  <a:pt x="161" y="197"/>
                </a:lnTo>
                <a:lnTo>
                  <a:pt x="158" y="192"/>
                </a:lnTo>
                <a:lnTo>
                  <a:pt x="154" y="187"/>
                </a:lnTo>
                <a:lnTo>
                  <a:pt x="146" y="178"/>
                </a:lnTo>
                <a:lnTo>
                  <a:pt x="137" y="170"/>
                </a:lnTo>
                <a:lnTo>
                  <a:pt x="115" y="155"/>
                </a:lnTo>
                <a:lnTo>
                  <a:pt x="92" y="143"/>
                </a:lnTo>
                <a:lnTo>
                  <a:pt x="81" y="136"/>
                </a:lnTo>
                <a:lnTo>
                  <a:pt x="70" y="130"/>
                </a:lnTo>
                <a:lnTo>
                  <a:pt x="60" y="122"/>
                </a:lnTo>
                <a:lnTo>
                  <a:pt x="51" y="114"/>
                </a:lnTo>
                <a:lnTo>
                  <a:pt x="47" y="110"/>
                </a:lnTo>
                <a:lnTo>
                  <a:pt x="44" y="104"/>
                </a:lnTo>
                <a:lnTo>
                  <a:pt x="40" y="99"/>
                </a:lnTo>
                <a:lnTo>
                  <a:pt x="38" y="93"/>
                </a:lnTo>
                <a:lnTo>
                  <a:pt x="36" y="88"/>
                </a:lnTo>
                <a:lnTo>
                  <a:pt x="34" y="81"/>
                </a:lnTo>
                <a:lnTo>
                  <a:pt x="34" y="75"/>
                </a:lnTo>
                <a:lnTo>
                  <a:pt x="33" y="68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fr-FR" dirty="0"/>
          </a:p>
        </p:txBody>
      </p:sp>
      <p:grpSp>
        <p:nvGrpSpPr>
          <p:cNvPr id="131" name="Group 524"/>
          <p:cNvGrpSpPr>
            <a:grpSpLocks/>
          </p:cNvGrpSpPr>
          <p:nvPr>
            <p:custDataLst>
              <p:tags r:id="rId111"/>
            </p:custDataLst>
          </p:nvPr>
        </p:nvGrpSpPr>
        <p:grpSpPr bwMode="auto">
          <a:xfrm>
            <a:off x="3240464" y="3542028"/>
            <a:ext cx="832677" cy="524015"/>
            <a:chOff x="4115" y="1551"/>
            <a:chExt cx="504" cy="244"/>
          </a:xfrm>
        </p:grpSpPr>
        <p:sp>
          <p:nvSpPr>
            <p:cNvPr id="146" name="Freeform 525"/>
            <p:cNvSpPr>
              <a:spLocks/>
            </p:cNvSpPr>
            <p:nvPr/>
          </p:nvSpPr>
          <p:spPr bwMode="auto">
            <a:xfrm>
              <a:off x="4540" y="1551"/>
              <a:ext cx="79" cy="86"/>
            </a:xfrm>
            <a:custGeom>
              <a:avLst/>
              <a:gdLst>
                <a:gd name="T0" fmla="*/ 1 w 240"/>
                <a:gd name="T1" fmla="*/ 27 h 259"/>
                <a:gd name="T2" fmla="*/ 9 w 240"/>
                <a:gd name="T3" fmla="*/ 29 h 259"/>
                <a:gd name="T4" fmla="*/ 13 w 240"/>
                <a:gd name="T5" fmla="*/ 27 h 259"/>
                <a:gd name="T6" fmla="*/ 14 w 240"/>
                <a:gd name="T7" fmla="*/ 23 h 259"/>
                <a:gd name="T8" fmla="*/ 21 w 240"/>
                <a:gd name="T9" fmla="*/ 18 h 259"/>
                <a:gd name="T10" fmla="*/ 23 w 240"/>
                <a:gd name="T11" fmla="*/ 12 h 259"/>
                <a:gd name="T12" fmla="*/ 26 w 240"/>
                <a:gd name="T13" fmla="*/ 3 h 259"/>
                <a:gd name="T14" fmla="*/ 23 w 240"/>
                <a:gd name="T15" fmla="*/ 0 h 259"/>
                <a:gd name="T16" fmla="*/ 22 w 240"/>
                <a:gd name="T17" fmla="*/ 4 h 259"/>
                <a:gd name="T18" fmla="*/ 22 w 240"/>
                <a:gd name="T19" fmla="*/ 8 h 259"/>
                <a:gd name="T20" fmla="*/ 18 w 240"/>
                <a:gd name="T21" fmla="*/ 12 h 259"/>
                <a:gd name="T22" fmla="*/ 14 w 240"/>
                <a:gd name="T23" fmla="*/ 16 h 259"/>
                <a:gd name="T24" fmla="*/ 12 w 240"/>
                <a:gd name="T25" fmla="*/ 20 h 259"/>
                <a:gd name="T26" fmla="*/ 10 w 240"/>
                <a:gd name="T27" fmla="*/ 24 h 259"/>
                <a:gd name="T28" fmla="*/ 2 w 240"/>
                <a:gd name="T29" fmla="*/ 25 h 259"/>
                <a:gd name="T30" fmla="*/ 0 w 240"/>
                <a:gd name="T31" fmla="*/ 25 h 259"/>
                <a:gd name="T32" fmla="*/ 1 w 240"/>
                <a:gd name="T33" fmla="*/ 27 h 259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240" h="259">
                  <a:moveTo>
                    <a:pt x="13" y="247"/>
                  </a:moveTo>
                  <a:lnTo>
                    <a:pt x="79" y="259"/>
                  </a:lnTo>
                  <a:lnTo>
                    <a:pt x="120" y="240"/>
                  </a:lnTo>
                  <a:lnTo>
                    <a:pt x="133" y="210"/>
                  </a:lnTo>
                  <a:lnTo>
                    <a:pt x="192" y="161"/>
                  </a:lnTo>
                  <a:lnTo>
                    <a:pt x="212" y="111"/>
                  </a:lnTo>
                  <a:lnTo>
                    <a:pt x="240" y="26"/>
                  </a:lnTo>
                  <a:lnTo>
                    <a:pt x="212" y="0"/>
                  </a:lnTo>
                  <a:lnTo>
                    <a:pt x="206" y="32"/>
                  </a:lnTo>
                  <a:lnTo>
                    <a:pt x="199" y="74"/>
                  </a:lnTo>
                  <a:lnTo>
                    <a:pt x="166" y="105"/>
                  </a:lnTo>
                  <a:lnTo>
                    <a:pt x="133" y="149"/>
                  </a:lnTo>
                  <a:lnTo>
                    <a:pt x="113" y="179"/>
                  </a:lnTo>
                  <a:lnTo>
                    <a:pt x="93" y="216"/>
                  </a:lnTo>
                  <a:lnTo>
                    <a:pt x="20" y="222"/>
                  </a:lnTo>
                  <a:lnTo>
                    <a:pt x="0" y="222"/>
                  </a:lnTo>
                  <a:lnTo>
                    <a:pt x="13" y="24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 dirty="0"/>
            </a:p>
          </p:txBody>
        </p:sp>
        <p:sp>
          <p:nvSpPr>
            <p:cNvPr id="147" name="Freeform 526"/>
            <p:cNvSpPr>
              <a:spLocks/>
            </p:cNvSpPr>
            <p:nvPr/>
          </p:nvSpPr>
          <p:spPr bwMode="auto">
            <a:xfrm>
              <a:off x="4115" y="1761"/>
              <a:ext cx="84" cy="34"/>
            </a:xfrm>
            <a:custGeom>
              <a:avLst/>
              <a:gdLst>
                <a:gd name="T0" fmla="*/ 4 w 259"/>
                <a:gd name="T1" fmla="*/ 11 h 104"/>
                <a:gd name="T2" fmla="*/ 3 w 259"/>
                <a:gd name="T3" fmla="*/ 9 h 104"/>
                <a:gd name="T4" fmla="*/ 6 w 259"/>
                <a:gd name="T5" fmla="*/ 7 h 104"/>
                <a:gd name="T6" fmla="*/ 7 w 259"/>
                <a:gd name="T7" fmla="*/ 5 h 104"/>
                <a:gd name="T8" fmla="*/ 13 w 259"/>
                <a:gd name="T9" fmla="*/ 5 h 104"/>
                <a:gd name="T10" fmla="*/ 18 w 259"/>
                <a:gd name="T11" fmla="*/ 5 h 104"/>
                <a:gd name="T12" fmla="*/ 26 w 259"/>
                <a:gd name="T13" fmla="*/ 3 h 104"/>
                <a:gd name="T14" fmla="*/ 27 w 259"/>
                <a:gd name="T15" fmla="*/ 1 h 104"/>
                <a:gd name="T16" fmla="*/ 26 w 259"/>
                <a:gd name="T17" fmla="*/ 0 h 104"/>
                <a:gd name="T18" fmla="*/ 21 w 259"/>
                <a:gd name="T19" fmla="*/ 1 h 104"/>
                <a:gd name="T20" fmla="*/ 16 w 259"/>
                <a:gd name="T21" fmla="*/ 1 h 104"/>
                <a:gd name="T22" fmla="*/ 11 w 259"/>
                <a:gd name="T23" fmla="*/ 1 h 104"/>
                <a:gd name="T24" fmla="*/ 6 w 259"/>
                <a:gd name="T25" fmla="*/ 2 h 104"/>
                <a:gd name="T26" fmla="*/ 3 w 259"/>
                <a:gd name="T27" fmla="*/ 5 h 104"/>
                <a:gd name="T28" fmla="*/ 0 w 259"/>
                <a:gd name="T29" fmla="*/ 7 h 104"/>
                <a:gd name="T30" fmla="*/ 0 w 259"/>
                <a:gd name="T31" fmla="*/ 11 h 104"/>
                <a:gd name="T32" fmla="*/ 4 w 259"/>
                <a:gd name="T33" fmla="*/ 11 h 104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259" h="104">
                  <a:moveTo>
                    <a:pt x="33" y="104"/>
                  </a:moveTo>
                  <a:lnTo>
                    <a:pt x="26" y="86"/>
                  </a:lnTo>
                  <a:lnTo>
                    <a:pt x="52" y="62"/>
                  </a:lnTo>
                  <a:lnTo>
                    <a:pt x="72" y="49"/>
                  </a:lnTo>
                  <a:lnTo>
                    <a:pt x="126" y="43"/>
                  </a:lnTo>
                  <a:lnTo>
                    <a:pt x="172" y="43"/>
                  </a:lnTo>
                  <a:lnTo>
                    <a:pt x="246" y="31"/>
                  </a:lnTo>
                  <a:lnTo>
                    <a:pt x="259" y="7"/>
                  </a:lnTo>
                  <a:lnTo>
                    <a:pt x="246" y="0"/>
                  </a:lnTo>
                  <a:lnTo>
                    <a:pt x="205" y="13"/>
                  </a:lnTo>
                  <a:lnTo>
                    <a:pt x="152" y="7"/>
                  </a:lnTo>
                  <a:lnTo>
                    <a:pt x="106" y="13"/>
                  </a:lnTo>
                  <a:lnTo>
                    <a:pt x="52" y="19"/>
                  </a:lnTo>
                  <a:lnTo>
                    <a:pt x="26" y="43"/>
                  </a:lnTo>
                  <a:lnTo>
                    <a:pt x="0" y="68"/>
                  </a:lnTo>
                  <a:lnTo>
                    <a:pt x="0" y="104"/>
                  </a:lnTo>
                  <a:lnTo>
                    <a:pt x="33" y="10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 dirty="0"/>
            </a:p>
          </p:txBody>
        </p:sp>
      </p:grpSp>
      <p:sp>
        <p:nvSpPr>
          <p:cNvPr id="132" name="Freeform 528"/>
          <p:cNvSpPr>
            <a:spLocks/>
          </p:cNvSpPr>
          <p:nvPr>
            <p:custDataLst>
              <p:tags r:id="rId112"/>
            </p:custDataLst>
          </p:nvPr>
        </p:nvSpPr>
        <p:spPr bwMode="auto">
          <a:xfrm>
            <a:off x="1419601" y="3942619"/>
            <a:ext cx="70866" cy="77953"/>
          </a:xfrm>
          <a:custGeom>
            <a:avLst/>
            <a:gdLst>
              <a:gd name="T0" fmla="*/ 22370702 w 146"/>
              <a:gd name="T1" fmla="*/ 8960556 h 81"/>
              <a:gd name="T2" fmla="*/ 21144717 w 146"/>
              <a:gd name="T3" fmla="*/ 11947172 h 81"/>
              <a:gd name="T4" fmla="*/ 19919124 w 146"/>
              <a:gd name="T5" fmla="*/ 14436372 h 81"/>
              <a:gd name="T6" fmla="*/ 18846583 w 146"/>
              <a:gd name="T7" fmla="*/ 17422989 h 81"/>
              <a:gd name="T8" fmla="*/ 18080538 w 146"/>
              <a:gd name="T9" fmla="*/ 20410311 h 81"/>
              <a:gd name="T10" fmla="*/ 16548057 w 146"/>
              <a:gd name="T11" fmla="*/ 26383544 h 81"/>
              <a:gd name="T12" fmla="*/ 15015967 w 146"/>
              <a:gd name="T13" fmla="*/ 31860067 h 81"/>
              <a:gd name="T14" fmla="*/ 14249922 w 146"/>
              <a:gd name="T15" fmla="*/ 34348561 h 81"/>
              <a:gd name="T16" fmla="*/ 13023937 w 146"/>
              <a:gd name="T17" fmla="*/ 36340344 h 81"/>
              <a:gd name="T18" fmla="*/ 11644900 w 146"/>
              <a:gd name="T19" fmla="*/ 38331422 h 81"/>
              <a:gd name="T20" fmla="*/ 10112810 w 146"/>
              <a:gd name="T21" fmla="*/ 39824378 h 81"/>
              <a:gd name="T22" fmla="*/ 8120780 w 146"/>
              <a:gd name="T23" fmla="*/ 40322500 h 81"/>
              <a:gd name="T24" fmla="*/ 5975698 w 146"/>
              <a:gd name="T25" fmla="*/ 39824378 h 81"/>
              <a:gd name="T26" fmla="*/ 3217623 w 146"/>
              <a:gd name="T27" fmla="*/ 38331422 h 81"/>
              <a:gd name="T28" fmla="*/ 0 w 146"/>
              <a:gd name="T29" fmla="*/ 36837761 h 81"/>
              <a:gd name="T30" fmla="*/ 0 w 146"/>
              <a:gd name="T31" fmla="*/ 30863822 h 81"/>
              <a:gd name="T32" fmla="*/ 0 w 146"/>
              <a:gd name="T33" fmla="*/ 24392467 h 81"/>
              <a:gd name="T34" fmla="*/ 0 w 146"/>
              <a:gd name="T35" fmla="*/ 16925572 h 81"/>
              <a:gd name="T36" fmla="*/ 0 w 146"/>
              <a:gd name="T37" fmla="*/ 8960556 h 81"/>
              <a:gd name="T38" fmla="*/ 2145082 w 146"/>
              <a:gd name="T39" fmla="*/ 8960556 h 81"/>
              <a:gd name="T40" fmla="*/ 3371067 w 146"/>
              <a:gd name="T41" fmla="*/ 8960556 h 81"/>
              <a:gd name="T42" fmla="*/ 4750104 w 146"/>
              <a:gd name="T43" fmla="*/ 8960556 h 81"/>
              <a:gd name="T44" fmla="*/ 6129142 w 146"/>
              <a:gd name="T45" fmla="*/ 8960556 h 81"/>
              <a:gd name="T46" fmla="*/ 7967728 w 146"/>
              <a:gd name="T47" fmla="*/ 8960556 h 81"/>
              <a:gd name="T48" fmla="*/ 9653261 w 146"/>
              <a:gd name="T49" fmla="*/ 7965017 h 81"/>
              <a:gd name="T50" fmla="*/ 11185351 w 146"/>
              <a:gd name="T51" fmla="*/ 6969478 h 81"/>
              <a:gd name="T52" fmla="*/ 12717441 w 146"/>
              <a:gd name="T53" fmla="*/ 5475817 h 81"/>
              <a:gd name="T54" fmla="*/ 15475515 w 146"/>
              <a:gd name="T55" fmla="*/ 2489200 h 81"/>
              <a:gd name="T56" fmla="*/ 18387034 w 146"/>
              <a:gd name="T57" fmla="*/ 0 h 81"/>
              <a:gd name="T58" fmla="*/ 19766071 w 146"/>
              <a:gd name="T59" fmla="*/ 1991078 h 81"/>
              <a:gd name="T60" fmla="*/ 20685168 w 146"/>
              <a:gd name="T61" fmla="*/ 4480278 h 81"/>
              <a:gd name="T62" fmla="*/ 21604657 w 146"/>
              <a:gd name="T63" fmla="*/ 6969478 h 81"/>
              <a:gd name="T64" fmla="*/ 22370702 w 146"/>
              <a:gd name="T65" fmla="*/ 8960556 h 81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0" t="0" r="r" b="b"/>
            <a:pathLst>
              <a:path w="146" h="81">
                <a:moveTo>
                  <a:pt x="146" y="18"/>
                </a:moveTo>
                <a:lnTo>
                  <a:pt x="138" y="24"/>
                </a:lnTo>
                <a:lnTo>
                  <a:pt x="130" y="29"/>
                </a:lnTo>
                <a:lnTo>
                  <a:pt x="123" y="35"/>
                </a:lnTo>
                <a:lnTo>
                  <a:pt x="118" y="41"/>
                </a:lnTo>
                <a:lnTo>
                  <a:pt x="108" y="53"/>
                </a:lnTo>
                <a:lnTo>
                  <a:pt x="98" y="64"/>
                </a:lnTo>
                <a:lnTo>
                  <a:pt x="93" y="69"/>
                </a:lnTo>
                <a:lnTo>
                  <a:pt x="85" y="73"/>
                </a:lnTo>
                <a:lnTo>
                  <a:pt x="76" y="77"/>
                </a:lnTo>
                <a:lnTo>
                  <a:pt x="66" y="80"/>
                </a:lnTo>
                <a:lnTo>
                  <a:pt x="53" y="81"/>
                </a:lnTo>
                <a:lnTo>
                  <a:pt x="39" y="80"/>
                </a:lnTo>
                <a:lnTo>
                  <a:pt x="21" y="77"/>
                </a:lnTo>
                <a:lnTo>
                  <a:pt x="0" y="74"/>
                </a:lnTo>
                <a:lnTo>
                  <a:pt x="0" y="62"/>
                </a:lnTo>
                <a:lnTo>
                  <a:pt x="0" y="49"/>
                </a:lnTo>
                <a:lnTo>
                  <a:pt x="0" y="34"/>
                </a:lnTo>
                <a:lnTo>
                  <a:pt x="0" y="18"/>
                </a:lnTo>
                <a:lnTo>
                  <a:pt x="14" y="18"/>
                </a:lnTo>
                <a:lnTo>
                  <a:pt x="22" y="18"/>
                </a:lnTo>
                <a:lnTo>
                  <a:pt x="31" y="18"/>
                </a:lnTo>
                <a:lnTo>
                  <a:pt x="40" y="18"/>
                </a:lnTo>
                <a:lnTo>
                  <a:pt x="52" y="18"/>
                </a:lnTo>
                <a:lnTo>
                  <a:pt x="63" y="16"/>
                </a:lnTo>
                <a:lnTo>
                  <a:pt x="73" y="14"/>
                </a:lnTo>
                <a:lnTo>
                  <a:pt x="83" y="11"/>
                </a:lnTo>
                <a:lnTo>
                  <a:pt x="101" y="5"/>
                </a:lnTo>
                <a:lnTo>
                  <a:pt x="120" y="0"/>
                </a:lnTo>
                <a:lnTo>
                  <a:pt x="129" y="4"/>
                </a:lnTo>
                <a:lnTo>
                  <a:pt x="135" y="9"/>
                </a:lnTo>
                <a:lnTo>
                  <a:pt x="141" y="14"/>
                </a:lnTo>
                <a:lnTo>
                  <a:pt x="146" y="18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fr-FR" dirty="0"/>
          </a:p>
        </p:txBody>
      </p:sp>
      <p:sp>
        <p:nvSpPr>
          <p:cNvPr id="133" name="Freeform 529"/>
          <p:cNvSpPr>
            <a:spLocks/>
          </p:cNvSpPr>
          <p:nvPr>
            <p:custDataLst>
              <p:tags r:id="rId113"/>
            </p:custDataLst>
          </p:nvPr>
        </p:nvSpPr>
        <p:spPr bwMode="auto">
          <a:xfrm>
            <a:off x="1096766" y="4232776"/>
            <a:ext cx="19685" cy="77953"/>
          </a:xfrm>
          <a:custGeom>
            <a:avLst/>
            <a:gdLst>
              <a:gd name="T0" fmla="*/ 7412224 w 34"/>
              <a:gd name="T1" fmla="*/ 66655561 h 49"/>
              <a:gd name="T2" fmla="*/ 7412224 w 34"/>
              <a:gd name="T3" fmla="*/ 46250679 h 49"/>
              <a:gd name="T4" fmla="*/ 7412224 w 34"/>
              <a:gd name="T5" fmla="*/ 34007749 h 49"/>
              <a:gd name="T6" fmla="*/ 7194176 w 34"/>
              <a:gd name="T7" fmla="*/ 28566836 h 49"/>
              <a:gd name="T8" fmla="*/ 7194176 w 34"/>
              <a:gd name="T9" fmla="*/ 23125922 h 49"/>
              <a:gd name="T10" fmla="*/ 6758081 w 34"/>
              <a:gd name="T11" fmla="*/ 20404883 h 49"/>
              <a:gd name="T12" fmla="*/ 6540033 w 34"/>
              <a:gd name="T13" fmla="*/ 16323906 h 49"/>
              <a:gd name="T14" fmla="*/ 5450261 w 34"/>
              <a:gd name="T15" fmla="*/ 10882993 h 49"/>
              <a:gd name="T16" fmla="*/ 4578070 w 34"/>
              <a:gd name="T17" fmla="*/ 0 h 49"/>
              <a:gd name="T18" fmla="*/ 1743915 w 34"/>
              <a:gd name="T19" fmla="*/ 0 h 49"/>
              <a:gd name="T20" fmla="*/ 0 w 34"/>
              <a:gd name="T21" fmla="*/ 0 h 49"/>
              <a:gd name="T22" fmla="*/ 654143 w 34"/>
              <a:gd name="T23" fmla="*/ 14963969 h 49"/>
              <a:gd name="T24" fmla="*/ 1525868 w 34"/>
              <a:gd name="T25" fmla="*/ 27206899 h 49"/>
              <a:gd name="T26" fmla="*/ 2180011 w 34"/>
              <a:gd name="T27" fmla="*/ 36728789 h 49"/>
              <a:gd name="T28" fmla="*/ 3052202 w 34"/>
              <a:gd name="T29" fmla="*/ 46250679 h 49"/>
              <a:gd name="T30" fmla="*/ 4141974 w 34"/>
              <a:gd name="T31" fmla="*/ 53052695 h 49"/>
              <a:gd name="T32" fmla="*/ 5232213 w 34"/>
              <a:gd name="T33" fmla="*/ 58493608 h 49"/>
              <a:gd name="T34" fmla="*/ 6321985 w 34"/>
              <a:gd name="T35" fmla="*/ 62574585 h 49"/>
              <a:gd name="T36" fmla="*/ 7412224 w 34"/>
              <a:gd name="T37" fmla="*/ 66655561 h 49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0" t="0" r="r" b="b"/>
            <a:pathLst>
              <a:path w="34" h="49">
                <a:moveTo>
                  <a:pt x="34" y="49"/>
                </a:moveTo>
                <a:lnTo>
                  <a:pt x="34" y="34"/>
                </a:lnTo>
                <a:lnTo>
                  <a:pt x="34" y="25"/>
                </a:lnTo>
                <a:lnTo>
                  <a:pt x="33" y="21"/>
                </a:lnTo>
                <a:lnTo>
                  <a:pt x="33" y="17"/>
                </a:lnTo>
                <a:lnTo>
                  <a:pt x="31" y="15"/>
                </a:lnTo>
                <a:lnTo>
                  <a:pt x="30" y="12"/>
                </a:lnTo>
                <a:lnTo>
                  <a:pt x="25" y="8"/>
                </a:lnTo>
                <a:lnTo>
                  <a:pt x="21" y="0"/>
                </a:lnTo>
                <a:lnTo>
                  <a:pt x="8" y="0"/>
                </a:lnTo>
                <a:lnTo>
                  <a:pt x="0" y="0"/>
                </a:lnTo>
                <a:lnTo>
                  <a:pt x="3" y="11"/>
                </a:lnTo>
                <a:lnTo>
                  <a:pt x="7" y="20"/>
                </a:lnTo>
                <a:lnTo>
                  <a:pt x="10" y="27"/>
                </a:lnTo>
                <a:lnTo>
                  <a:pt x="14" y="34"/>
                </a:lnTo>
                <a:lnTo>
                  <a:pt x="19" y="39"/>
                </a:lnTo>
                <a:lnTo>
                  <a:pt x="24" y="43"/>
                </a:lnTo>
                <a:lnTo>
                  <a:pt x="29" y="46"/>
                </a:lnTo>
                <a:lnTo>
                  <a:pt x="34" y="4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fr-FR" dirty="0"/>
          </a:p>
        </p:txBody>
      </p:sp>
      <p:sp>
        <p:nvSpPr>
          <p:cNvPr id="134" name="Freeform 530"/>
          <p:cNvSpPr>
            <a:spLocks/>
          </p:cNvSpPr>
          <p:nvPr>
            <p:custDataLst>
              <p:tags r:id="rId114"/>
            </p:custDataLst>
          </p:nvPr>
        </p:nvSpPr>
        <p:spPr bwMode="auto">
          <a:xfrm>
            <a:off x="590861" y="4704822"/>
            <a:ext cx="35433" cy="77953"/>
          </a:xfrm>
          <a:custGeom>
            <a:avLst/>
            <a:gdLst>
              <a:gd name="T0" fmla="*/ 13608844 w 60"/>
              <a:gd name="T1" fmla="*/ 0 h 74"/>
              <a:gd name="T2" fmla="*/ 12701588 w 60"/>
              <a:gd name="T3" fmla="*/ 2385626 h 74"/>
              <a:gd name="T4" fmla="*/ 11567636 w 60"/>
              <a:gd name="T5" fmla="*/ 5964452 h 74"/>
              <a:gd name="T6" fmla="*/ 10887075 w 60"/>
              <a:gd name="T7" fmla="*/ 8946292 h 74"/>
              <a:gd name="T8" fmla="*/ 10433685 w 60"/>
              <a:gd name="T9" fmla="*/ 12525118 h 74"/>
              <a:gd name="T10" fmla="*/ 9299258 w 60"/>
              <a:gd name="T11" fmla="*/ 18489570 h 74"/>
              <a:gd name="T12" fmla="*/ 8392001 w 60"/>
              <a:gd name="T13" fmla="*/ 25050235 h 74"/>
              <a:gd name="T14" fmla="*/ 7938611 w 60"/>
              <a:gd name="T15" fmla="*/ 28032847 h 74"/>
              <a:gd name="T16" fmla="*/ 7258050 w 60"/>
              <a:gd name="T17" fmla="*/ 30418474 h 74"/>
              <a:gd name="T18" fmla="*/ 6577489 w 60"/>
              <a:gd name="T19" fmla="*/ 33401086 h 74"/>
              <a:gd name="T20" fmla="*/ 5670233 w 60"/>
              <a:gd name="T21" fmla="*/ 35786712 h 74"/>
              <a:gd name="T22" fmla="*/ 4536281 w 60"/>
              <a:gd name="T23" fmla="*/ 38768552 h 74"/>
              <a:gd name="T24" fmla="*/ 3402330 w 60"/>
              <a:gd name="T25" fmla="*/ 41154951 h 74"/>
              <a:gd name="T26" fmla="*/ 1814513 w 60"/>
              <a:gd name="T27" fmla="*/ 42943591 h 74"/>
              <a:gd name="T28" fmla="*/ 0 w 60"/>
              <a:gd name="T29" fmla="*/ 44136791 h 74"/>
              <a:gd name="T30" fmla="*/ 1133951 w 60"/>
              <a:gd name="T31" fmla="*/ 35786712 h 74"/>
              <a:gd name="T32" fmla="*/ 2721769 w 60"/>
              <a:gd name="T33" fmla="*/ 28032847 h 74"/>
              <a:gd name="T34" fmla="*/ 4309586 w 60"/>
              <a:gd name="T35" fmla="*/ 20278982 h 74"/>
              <a:gd name="T36" fmla="*/ 6124099 w 60"/>
              <a:gd name="T37" fmla="*/ 13718317 h 74"/>
              <a:gd name="T38" fmla="*/ 8165306 w 60"/>
              <a:gd name="T39" fmla="*/ 8350078 h 74"/>
              <a:gd name="T40" fmla="*/ 9753124 w 60"/>
              <a:gd name="T41" fmla="*/ 3578826 h 74"/>
              <a:gd name="T42" fmla="*/ 10887075 w 60"/>
              <a:gd name="T43" fmla="*/ 1789413 h 74"/>
              <a:gd name="T44" fmla="*/ 11794331 w 60"/>
              <a:gd name="T45" fmla="*/ 596214 h 74"/>
              <a:gd name="T46" fmla="*/ 12701588 w 60"/>
              <a:gd name="T47" fmla="*/ 0 h 74"/>
              <a:gd name="T48" fmla="*/ 13608844 w 60"/>
              <a:gd name="T49" fmla="*/ 0 h 74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60" h="74">
                <a:moveTo>
                  <a:pt x="60" y="0"/>
                </a:moveTo>
                <a:lnTo>
                  <a:pt x="56" y="4"/>
                </a:lnTo>
                <a:lnTo>
                  <a:pt x="51" y="10"/>
                </a:lnTo>
                <a:lnTo>
                  <a:pt x="48" y="15"/>
                </a:lnTo>
                <a:lnTo>
                  <a:pt x="46" y="21"/>
                </a:lnTo>
                <a:lnTo>
                  <a:pt x="41" y="31"/>
                </a:lnTo>
                <a:lnTo>
                  <a:pt x="37" y="42"/>
                </a:lnTo>
                <a:lnTo>
                  <a:pt x="35" y="47"/>
                </a:lnTo>
                <a:lnTo>
                  <a:pt x="32" y="51"/>
                </a:lnTo>
                <a:lnTo>
                  <a:pt x="29" y="56"/>
                </a:lnTo>
                <a:lnTo>
                  <a:pt x="25" y="60"/>
                </a:lnTo>
                <a:lnTo>
                  <a:pt x="20" y="65"/>
                </a:lnTo>
                <a:lnTo>
                  <a:pt x="15" y="69"/>
                </a:lnTo>
                <a:lnTo>
                  <a:pt x="8" y="72"/>
                </a:lnTo>
                <a:lnTo>
                  <a:pt x="0" y="74"/>
                </a:lnTo>
                <a:lnTo>
                  <a:pt x="5" y="60"/>
                </a:lnTo>
                <a:lnTo>
                  <a:pt x="12" y="47"/>
                </a:lnTo>
                <a:lnTo>
                  <a:pt x="19" y="34"/>
                </a:lnTo>
                <a:lnTo>
                  <a:pt x="27" y="23"/>
                </a:lnTo>
                <a:lnTo>
                  <a:pt x="36" y="14"/>
                </a:lnTo>
                <a:lnTo>
                  <a:pt x="43" y="6"/>
                </a:lnTo>
                <a:lnTo>
                  <a:pt x="48" y="3"/>
                </a:lnTo>
                <a:lnTo>
                  <a:pt x="52" y="1"/>
                </a:lnTo>
                <a:lnTo>
                  <a:pt x="56" y="0"/>
                </a:lnTo>
                <a:lnTo>
                  <a:pt x="6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fr-FR" dirty="0"/>
          </a:p>
        </p:txBody>
      </p:sp>
      <p:sp>
        <p:nvSpPr>
          <p:cNvPr id="135" name="Freeform 532"/>
          <p:cNvSpPr>
            <a:spLocks/>
          </p:cNvSpPr>
          <p:nvPr>
            <p:custDataLst>
              <p:tags r:id="rId115"/>
            </p:custDataLst>
          </p:nvPr>
        </p:nvSpPr>
        <p:spPr bwMode="auto">
          <a:xfrm>
            <a:off x="486531" y="4717814"/>
            <a:ext cx="7874" cy="77953"/>
          </a:xfrm>
          <a:custGeom>
            <a:avLst/>
            <a:gdLst>
              <a:gd name="T0" fmla="*/ 357798 w 26"/>
              <a:gd name="T1" fmla="*/ 90725625 h 36"/>
              <a:gd name="T2" fmla="*/ 298206 w 26"/>
              <a:gd name="T3" fmla="*/ 75604688 h 36"/>
              <a:gd name="T4" fmla="*/ 179021 w 26"/>
              <a:gd name="T5" fmla="*/ 50403125 h 36"/>
              <a:gd name="T6" fmla="*/ 59592 w 26"/>
              <a:gd name="T7" fmla="*/ 25201563 h 36"/>
              <a:gd name="T8" fmla="*/ 0 w 26"/>
              <a:gd name="T9" fmla="*/ 0 h 36"/>
              <a:gd name="T10" fmla="*/ 1550865 w 26"/>
              <a:gd name="T11" fmla="*/ 0 h 36"/>
              <a:gd name="T12" fmla="*/ 1491273 w 26"/>
              <a:gd name="T13" fmla="*/ 30241875 h 36"/>
              <a:gd name="T14" fmla="*/ 1431681 w 26"/>
              <a:gd name="T15" fmla="*/ 57964388 h 36"/>
              <a:gd name="T16" fmla="*/ 1371844 w 26"/>
              <a:gd name="T17" fmla="*/ 68045013 h 36"/>
              <a:gd name="T18" fmla="*/ 1371844 w 26"/>
              <a:gd name="T19" fmla="*/ 78125638 h 36"/>
              <a:gd name="T20" fmla="*/ 1431681 w 26"/>
              <a:gd name="T21" fmla="*/ 85685313 h 36"/>
              <a:gd name="T22" fmla="*/ 1550865 w 26"/>
              <a:gd name="T23" fmla="*/ 90725625 h 36"/>
              <a:gd name="T24" fmla="*/ 357798 w 26"/>
              <a:gd name="T25" fmla="*/ 90725625 h 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6" h="36">
                <a:moveTo>
                  <a:pt x="6" y="36"/>
                </a:moveTo>
                <a:lnTo>
                  <a:pt x="5" y="30"/>
                </a:lnTo>
                <a:lnTo>
                  <a:pt x="3" y="20"/>
                </a:lnTo>
                <a:lnTo>
                  <a:pt x="1" y="10"/>
                </a:lnTo>
                <a:lnTo>
                  <a:pt x="0" y="0"/>
                </a:lnTo>
                <a:lnTo>
                  <a:pt x="26" y="0"/>
                </a:lnTo>
                <a:lnTo>
                  <a:pt x="25" y="12"/>
                </a:lnTo>
                <a:lnTo>
                  <a:pt x="24" y="23"/>
                </a:lnTo>
                <a:lnTo>
                  <a:pt x="23" y="27"/>
                </a:lnTo>
                <a:lnTo>
                  <a:pt x="23" y="31"/>
                </a:lnTo>
                <a:lnTo>
                  <a:pt x="24" y="34"/>
                </a:lnTo>
                <a:lnTo>
                  <a:pt x="26" y="36"/>
                </a:lnTo>
                <a:lnTo>
                  <a:pt x="6" y="36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fr-FR" dirty="0"/>
          </a:p>
        </p:txBody>
      </p:sp>
      <p:sp>
        <p:nvSpPr>
          <p:cNvPr id="136" name="Freeform 533"/>
          <p:cNvSpPr>
            <a:spLocks/>
          </p:cNvSpPr>
          <p:nvPr>
            <p:custDataLst>
              <p:tags r:id="rId116"/>
            </p:custDataLst>
          </p:nvPr>
        </p:nvSpPr>
        <p:spPr bwMode="auto">
          <a:xfrm>
            <a:off x="2063300" y="4347538"/>
            <a:ext cx="216535" cy="216535"/>
          </a:xfrm>
          <a:custGeom>
            <a:avLst/>
            <a:gdLst>
              <a:gd name="T0" fmla="*/ 4833448 w 405"/>
              <a:gd name="T1" fmla="*/ 44763820 h 302"/>
              <a:gd name="T2" fmla="*/ 5205550 w 405"/>
              <a:gd name="T3" fmla="*/ 43105882 h 302"/>
              <a:gd name="T4" fmla="*/ 5577221 w 405"/>
              <a:gd name="T5" fmla="*/ 42553411 h 302"/>
              <a:gd name="T6" fmla="*/ 5205550 w 405"/>
              <a:gd name="T7" fmla="*/ 41724441 h 302"/>
              <a:gd name="T8" fmla="*/ 3346332 w 405"/>
              <a:gd name="T9" fmla="*/ 39514031 h 302"/>
              <a:gd name="T10" fmla="*/ 1115444 w 405"/>
              <a:gd name="T11" fmla="*/ 35092686 h 302"/>
              <a:gd name="T12" fmla="*/ 371671 w 405"/>
              <a:gd name="T13" fmla="*/ 32053307 h 302"/>
              <a:gd name="T14" fmla="*/ 929609 w 405"/>
              <a:gd name="T15" fmla="*/ 30947839 h 302"/>
              <a:gd name="T16" fmla="*/ 1115444 w 405"/>
              <a:gd name="T17" fmla="*/ 28737430 h 302"/>
              <a:gd name="T18" fmla="*/ 3160497 w 405"/>
              <a:gd name="T19" fmla="*/ 26802993 h 302"/>
              <a:gd name="T20" fmla="*/ 6320994 w 405"/>
              <a:gd name="T21" fmla="*/ 25698050 h 302"/>
              <a:gd name="T22" fmla="*/ 8737718 w 405"/>
              <a:gd name="T23" fmla="*/ 24316084 h 302"/>
              <a:gd name="T24" fmla="*/ 10596935 w 405"/>
              <a:gd name="T25" fmla="*/ 22658146 h 302"/>
              <a:gd name="T26" fmla="*/ 12456152 w 405"/>
              <a:gd name="T27" fmla="*/ 19342268 h 302"/>
              <a:gd name="T28" fmla="*/ 13943267 w 405"/>
              <a:gd name="T29" fmla="*/ 14368452 h 302"/>
              <a:gd name="T30" fmla="*/ 15616649 w 405"/>
              <a:gd name="T31" fmla="*/ 12987012 h 302"/>
              <a:gd name="T32" fmla="*/ 17661271 w 405"/>
              <a:gd name="T33" fmla="*/ 14368452 h 302"/>
              <a:gd name="T34" fmla="*/ 21751376 w 405"/>
              <a:gd name="T35" fmla="*/ 14921449 h 302"/>
              <a:gd name="T36" fmla="*/ 31418702 w 405"/>
              <a:gd name="T37" fmla="*/ 12710513 h 302"/>
              <a:gd name="T38" fmla="*/ 39413078 w 405"/>
              <a:gd name="T39" fmla="*/ 11881544 h 302"/>
              <a:gd name="T40" fmla="*/ 43502752 w 405"/>
              <a:gd name="T41" fmla="*/ 11329073 h 302"/>
              <a:gd name="T42" fmla="*/ 49080404 w 405"/>
              <a:gd name="T43" fmla="*/ 9671134 h 302"/>
              <a:gd name="T44" fmla="*/ 59119402 w 405"/>
              <a:gd name="T45" fmla="*/ 4697318 h 302"/>
              <a:gd name="T46" fmla="*/ 66741675 w 405"/>
              <a:gd name="T47" fmla="*/ 1105468 h 302"/>
              <a:gd name="T48" fmla="*/ 69158399 w 405"/>
              <a:gd name="T49" fmla="*/ 828969 h 302"/>
              <a:gd name="T50" fmla="*/ 71575554 w 405"/>
              <a:gd name="T51" fmla="*/ 828969 h 302"/>
              <a:gd name="T52" fmla="*/ 73992277 w 405"/>
              <a:gd name="T53" fmla="*/ 276498 h 302"/>
              <a:gd name="T54" fmla="*/ 73434340 w 405"/>
              <a:gd name="T55" fmla="*/ 2210410 h 302"/>
              <a:gd name="T56" fmla="*/ 66927510 w 405"/>
              <a:gd name="T57" fmla="*/ 11329073 h 302"/>
              <a:gd name="T58" fmla="*/ 63952849 w 405"/>
              <a:gd name="T59" fmla="*/ 15750418 h 302"/>
              <a:gd name="T60" fmla="*/ 63023672 w 405"/>
              <a:gd name="T61" fmla="*/ 17684329 h 302"/>
              <a:gd name="T62" fmla="*/ 63023672 w 405"/>
              <a:gd name="T63" fmla="*/ 26527020 h 302"/>
              <a:gd name="T64" fmla="*/ 62651569 w 405"/>
              <a:gd name="T65" fmla="*/ 41171970 h 302"/>
              <a:gd name="T66" fmla="*/ 62279898 w 405"/>
              <a:gd name="T67" fmla="*/ 49737637 h 302"/>
              <a:gd name="T68" fmla="*/ 60606517 w 405"/>
              <a:gd name="T69" fmla="*/ 54711453 h 302"/>
              <a:gd name="T70" fmla="*/ 56702678 w 405"/>
              <a:gd name="T71" fmla="*/ 58027330 h 302"/>
              <a:gd name="T72" fmla="*/ 49266240 w 405"/>
              <a:gd name="T73" fmla="*/ 62724648 h 302"/>
              <a:gd name="T74" fmla="*/ 19706323 w 405"/>
              <a:gd name="T75" fmla="*/ 83448882 h 302"/>
              <a:gd name="T76" fmla="*/ 10596935 w 405"/>
              <a:gd name="T77" fmla="*/ 71843311 h 302"/>
              <a:gd name="T78" fmla="*/ 13013659 w 405"/>
              <a:gd name="T79" fmla="*/ 63001147 h 302"/>
              <a:gd name="T80" fmla="*/ 15058711 w 405"/>
              <a:gd name="T81" fmla="*/ 57750832 h 302"/>
              <a:gd name="T82" fmla="*/ 15988320 w 405"/>
              <a:gd name="T83" fmla="*/ 47527227 h 302"/>
              <a:gd name="T84" fmla="*/ 13199494 w 405"/>
              <a:gd name="T85" fmla="*/ 47803725 h 302"/>
              <a:gd name="T86" fmla="*/ 10596935 w 405"/>
              <a:gd name="T87" fmla="*/ 46698257 h 302"/>
              <a:gd name="T88" fmla="*/ 7622273 w 405"/>
              <a:gd name="T89" fmla="*/ 45592790 h 302"/>
              <a:gd name="T90" fmla="*/ 4833448 w 405"/>
              <a:gd name="T91" fmla="*/ 45869288 h 302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</a:gdLst>
            <a:ahLst/>
            <a:cxnLst>
              <a:cxn ang="T92">
                <a:pos x="T0" y="T1"/>
              </a:cxn>
              <a:cxn ang="T93">
                <a:pos x="T2" y="T3"/>
              </a:cxn>
              <a:cxn ang="T94">
                <a:pos x="T4" y="T5"/>
              </a:cxn>
              <a:cxn ang="T95">
                <a:pos x="T6" y="T7"/>
              </a:cxn>
              <a:cxn ang="T96">
                <a:pos x="T8" y="T9"/>
              </a:cxn>
              <a:cxn ang="T97">
                <a:pos x="T10" y="T11"/>
              </a:cxn>
              <a:cxn ang="T98">
                <a:pos x="T12" y="T13"/>
              </a:cxn>
              <a:cxn ang="T99">
                <a:pos x="T14" y="T15"/>
              </a:cxn>
              <a:cxn ang="T100">
                <a:pos x="T16" y="T17"/>
              </a:cxn>
              <a:cxn ang="T101">
                <a:pos x="T18" y="T19"/>
              </a:cxn>
              <a:cxn ang="T102">
                <a:pos x="T20" y="T21"/>
              </a:cxn>
              <a:cxn ang="T103">
                <a:pos x="T22" y="T23"/>
              </a:cxn>
              <a:cxn ang="T104">
                <a:pos x="T24" y="T25"/>
              </a:cxn>
              <a:cxn ang="T105">
                <a:pos x="T26" y="T27"/>
              </a:cxn>
              <a:cxn ang="T106">
                <a:pos x="T28" y="T29"/>
              </a:cxn>
              <a:cxn ang="T107">
                <a:pos x="T30" y="T31"/>
              </a:cxn>
              <a:cxn ang="T108">
                <a:pos x="T32" y="T33"/>
              </a:cxn>
              <a:cxn ang="T109">
                <a:pos x="T34" y="T35"/>
              </a:cxn>
              <a:cxn ang="T110">
                <a:pos x="T36" y="T37"/>
              </a:cxn>
              <a:cxn ang="T111">
                <a:pos x="T38" y="T39"/>
              </a:cxn>
              <a:cxn ang="T112">
                <a:pos x="T40" y="T41"/>
              </a:cxn>
              <a:cxn ang="T113">
                <a:pos x="T42" y="T43"/>
              </a:cxn>
              <a:cxn ang="T114">
                <a:pos x="T44" y="T45"/>
              </a:cxn>
              <a:cxn ang="T115">
                <a:pos x="T46" y="T47"/>
              </a:cxn>
              <a:cxn ang="T116">
                <a:pos x="T48" y="T49"/>
              </a:cxn>
              <a:cxn ang="T117">
                <a:pos x="T50" y="T51"/>
              </a:cxn>
              <a:cxn ang="T118">
                <a:pos x="T52" y="T53"/>
              </a:cxn>
              <a:cxn ang="T119">
                <a:pos x="T54" y="T55"/>
              </a:cxn>
              <a:cxn ang="T120">
                <a:pos x="T56" y="T57"/>
              </a:cxn>
              <a:cxn ang="T121">
                <a:pos x="T58" y="T59"/>
              </a:cxn>
              <a:cxn ang="T122">
                <a:pos x="T60" y="T61"/>
              </a:cxn>
              <a:cxn ang="T123">
                <a:pos x="T62" y="T63"/>
              </a:cxn>
              <a:cxn ang="T124">
                <a:pos x="T64" y="T65"/>
              </a:cxn>
              <a:cxn ang="T125">
                <a:pos x="T66" y="T67"/>
              </a:cxn>
              <a:cxn ang="T126">
                <a:pos x="T68" y="T69"/>
              </a:cxn>
              <a:cxn ang="T127">
                <a:pos x="T70" y="T71"/>
              </a:cxn>
              <a:cxn ang="T128">
                <a:pos x="T72" y="T73"/>
              </a:cxn>
              <a:cxn ang="T129">
                <a:pos x="T74" y="T75"/>
              </a:cxn>
              <a:cxn ang="T130">
                <a:pos x="T76" y="T77"/>
              </a:cxn>
              <a:cxn ang="T131">
                <a:pos x="T78" y="T79"/>
              </a:cxn>
              <a:cxn ang="T132">
                <a:pos x="T80" y="T81"/>
              </a:cxn>
              <a:cxn ang="T133">
                <a:pos x="T82" y="T83"/>
              </a:cxn>
              <a:cxn ang="T134">
                <a:pos x="T84" y="T85"/>
              </a:cxn>
              <a:cxn ang="T135">
                <a:pos x="T86" y="T87"/>
              </a:cxn>
              <a:cxn ang="T136">
                <a:pos x="T88" y="T89"/>
              </a:cxn>
              <a:cxn ang="T137">
                <a:pos x="T90" y="T91"/>
              </a:cxn>
            </a:cxnLst>
            <a:rect l="0" t="0" r="r" b="b"/>
            <a:pathLst>
              <a:path w="405" h="302">
                <a:moveTo>
                  <a:pt x="26" y="166"/>
                </a:moveTo>
                <a:lnTo>
                  <a:pt x="26" y="162"/>
                </a:lnTo>
                <a:lnTo>
                  <a:pt x="27" y="158"/>
                </a:lnTo>
                <a:lnTo>
                  <a:pt x="28" y="156"/>
                </a:lnTo>
                <a:lnTo>
                  <a:pt x="29" y="155"/>
                </a:lnTo>
                <a:lnTo>
                  <a:pt x="30" y="154"/>
                </a:lnTo>
                <a:lnTo>
                  <a:pt x="33" y="154"/>
                </a:lnTo>
                <a:lnTo>
                  <a:pt x="28" y="151"/>
                </a:lnTo>
                <a:lnTo>
                  <a:pt x="23" y="147"/>
                </a:lnTo>
                <a:lnTo>
                  <a:pt x="18" y="143"/>
                </a:lnTo>
                <a:lnTo>
                  <a:pt x="14" y="138"/>
                </a:lnTo>
                <a:lnTo>
                  <a:pt x="6" y="127"/>
                </a:lnTo>
                <a:lnTo>
                  <a:pt x="0" y="117"/>
                </a:lnTo>
                <a:lnTo>
                  <a:pt x="2" y="116"/>
                </a:lnTo>
                <a:lnTo>
                  <a:pt x="4" y="115"/>
                </a:lnTo>
                <a:lnTo>
                  <a:pt x="5" y="112"/>
                </a:lnTo>
                <a:lnTo>
                  <a:pt x="5" y="110"/>
                </a:lnTo>
                <a:lnTo>
                  <a:pt x="6" y="104"/>
                </a:lnTo>
                <a:lnTo>
                  <a:pt x="6" y="98"/>
                </a:lnTo>
                <a:lnTo>
                  <a:pt x="17" y="97"/>
                </a:lnTo>
                <a:lnTo>
                  <a:pt x="26" y="95"/>
                </a:lnTo>
                <a:lnTo>
                  <a:pt x="34" y="93"/>
                </a:lnTo>
                <a:lnTo>
                  <a:pt x="41" y="91"/>
                </a:lnTo>
                <a:lnTo>
                  <a:pt x="47" y="88"/>
                </a:lnTo>
                <a:lnTo>
                  <a:pt x="52" y="85"/>
                </a:lnTo>
                <a:lnTo>
                  <a:pt x="57" y="82"/>
                </a:lnTo>
                <a:lnTo>
                  <a:pt x="60" y="78"/>
                </a:lnTo>
                <a:lnTo>
                  <a:pt x="67" y="70"/>
                </a:lnTo>
                <a:lnTo>
                  <a:pt x="71" y="61"/>
                </a:lnTo>
                <a:lnTo>
                  <a:pt x="75" y="52"/>
                </a:lnTo>
                <a:lnTo>
                  <a:pt x="80" y="43"/>
                </a:lnTo>
                <a:lnTo>
                  <a:pt x="84" y="47"/>
                </a:lnTo>
                <a:lnTo>
                  <a:pt x="89" y="50"/>
                </a:lnTo>
                <a:lnTo>
                  <a:pt x="95" y="52"/>
                </a:lnTo>
                <a:lnTo>
                  <a:pt x="102" y="53"/>
                </a:lnTo>
                <a:lnTo>
                  <a:pt x="117" y="54"/>
                </a:lnTo>
                <a:lnTo>
                  <a:pt x="135" y="52"/>
                </a:lnTo>
                <a:lnTo>
                  <a:pt x="169" y="46"/>
                </a:lnTo>
                <a:lnTo>
                  <a:pt x="200" y="43"/>
                </a:lnTo>
                <a:lnTo>
                  <a:pt x="212" y="43"/>
                </a:lnTo>
                <a:lnTo>
                  <a:pt x="223" y="42"/>
                </a:lnTo>
                <a:lnTo>
                  <a:pt x="234" y="41"/>
                </a:lnTo>
                <a:lnTo>
                  <a:pt x="245" y="39"/>
                </a:lnTo>
                <a:lnTo>
                  <a:pt x="264" y="35"/>
                </a:lnTo>
                <a:lnTo>
                  <a:pt x="283" y="29"/>
                </a:lnTo>
                <a:lnTo>
                  <a:pt x="318" y="17"/>
                </a:lnTo>
                <a:lnTo>
                  <a:pt x="352" y="6"/>
                </a:lnTo>
                <a:lnTo>
                  <a:pt x="359" y="4"/>
                </a:lnTo>
                <a:lnTo>
                  <a:pt x="365" y="3"/>
                </a:lnTo>
                <a:lnTo>
                  <a:pt x="372" y="3"/>
                </a:lnTo>
                <a:lnTo>
                  <a:pt x="378" y="3"/>
                </a:lnTo>
                <a:lnTo>
                  <a:pt x="385" y="3"/>
                </a:lnTo>
                <a:lnTo>
                  <a:pt x="392" y="2"/>
                </a:lnTo>
                <a:lnTo>
                  <a:pt x="398" y="1"/>
                </a:lnTo>
                <a:lnTo>
                  <a:pt x="405" y="0"/>
                </a:lnTo>
                <a:lnTo>
                  <a:pt x="395" y="8"/>
                </a:lnTo>
                <a:lnTo>
                  <a:pt x="372" y="29"/>
                </a:lnTo>
                <a:lnTo>
                  <a:pt x="360" y="41"/>
                </a:lnTo>
                <a:lnTo>
                  <a:pt x="349" y="52"/>
                </a:lnTo>
                <a:lnTo>
                  <a:pt x="344" y="57"/>
                </a:lnTo>
                <a:lnTo>
                  <a:pt x="341" y="61"/>
                </a:lnTo>
                <a:lnTo>
                  <a:pt x="339" y="64"/>
                </a:lnTo>
                <a:lnTo>
                  <a:pt x="339" y="68"/>
                </a:lnTo>
                <a:lnTo>
                  <a:pt x="339" y="96"/>
                </a:lnTo>
                <a:lnTo>
                  <a:pt x="338" y="132"/>
                </a:lnTo>
                <a:lnTo>
                  <a:pt x="337" y="149"/>
                </a:lnTo>
                <a:lnTo>
                  <a:pt x="336" y="165"/>
                </a:lnTo>
                <a:lnTo>
                  <a:pt x="335" y="180"/>
                </a:lnTo>
                <a:lnTo>
                  <a:pt x="332" y="191"/>
                </a:lnTo>
                <a:lnTo>
                  <a:pt x="326" y="198"/>
                </a:lnTo>
                <a:lnTo>
                  <a:pt x="317" y="204"/>
                </a:lnTo>
                <a:lnTo>
                  <a:pt x="305" y="210"/>
                </a:lnTo>
                <a:lnTo>
                  <a:pt x="293" y="215"/>
                </a:lnTo>
                <a:lnTo>
                  <a:pt x="265" y="227"/>
                </a:lnTo>
                <a:lnTo>
                  <a:pt x="239" y="241"/>
                </a:lnTo>
                <a:lnTo>
                  <a:pt x="106" y="302"/>
                </a:lnTo>
                <a:lnTo>
                  <a:pt x="53" y="271"/>
                </a:lnTo>
                <a:lnTo>
                  <a:pt x="57" y="260"/>
                </a:lnTo>
                <a:lnTo>
                  <a:pt x="64" y="240"/>
                </a:lnTo>
                <a:lnTo>
                  <a:pt x="70" y="228"/>
                </a:lnTo>
                <a:lnTo>
                  <a:pt x="75" y="218"/>
                </a:lnTo>
                <a:lnTo>
                  <a:pt x="81" y="209"/>
                </a:lnTo>
                <a:lnTo>
                  <a:pt x="86" y="203"/>
                </a:lnTo>
                <a:lnTo>
                  <a:pt x="86" y="172"/>
                </a:lnTo>
                <a:lnTo>
                  <a:pt x="79" y="173"/>
                </a:lnTo>
                <a:lnTo>
                  <a:pt x="71" y="173"/>
                </a:lnTo>
                <a:lnTo>
                  <a:pt x="63" y="171"/>
                </a:lnTo>
                <a:lnTo>
                  <a:pt x="57" y="169"/>
                </a:lnTo>
                <a:lnTo>
                  <a:pt x="49" y="167"/>
                </a:lnTo>
                <a:lnTo>
                  <a:pt x="41" y="165"/>
                </a:lnTo>
                <a:lnTo>
                  <a:pt x="34" y="165"/>
                </a:lnTo>
                <a:lnTo>
                  <a:pt x="26" y="16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fr-FR" dirty="0"/>
          </a:p>
        </p:txBody>
      </p:sp>
      <p:grpSp>
        <p:nvGrpSpPr>
          <p:cNvPr id="137" name="Group 535"/>
          <p:cNvGrpSpPr>
            <a:grpSpLocks/>
          </p:cNvGrpSpPr>
          <p:nvPr>
            <p:custDataLst>
              <p:tags r:id="rId117"/>
            </p:custDataLst>
          </p:nvPr>
        </p:nvGrpSpPr>
        <p:grpSpPr bwMode="auto">
          <a:xfrm>
            <a:off x="1742435" y="4141831"/>
            <a:ext cx="598424" cy="274999"/>
            <a:chOff x="3289" y="1830"/>
            <a:chExt cx="363" cy="128"/>
          </a:xfrm>
          <a:solidFill>
            <a:srgbClr val="92D050"/>
          </a:solidFill>
        </p:grpSpPr>
        <p:sp>
          <p:nvSpPr>
            <p:cNvPr id="141" name="Freeform 536"/>
            <p:cNvSpPr>
              <a:spLocks/>
            </p:cNvSpPr>
            <p:nvPr/>
          </p:nvSpPr>
          <p:spPr bwMode="auto">
            <a:xfrm>
              <a:off x="3289" y="1871"/>
              <a:ext cx="4" cy="3"/>
            </a:xfrm>
            <a:custGeom>
              <a:avLst/>
              <a:gdLst>
                <a:gd name="T0" fmla="*/ 1 w 13"/>
                <a:gd name="T1" fmla="*/ 0 h 7"/>
                <a:gd name="T2" fmla="*/ 1 w 13"/>
                <a:gd name="T3" fmla="*/ 0 h 7"/>
                <a:gd name="T4" fmla="*/ 1 w 13"/>
                <a:gd name="T5" fmla="*/ 0 h 7"/>
                <a:gd name="T6" fmla="*/ 0 w 13"/>
                <a:gd name="T7" fmla="*/ 1 h 7"/>
                <a:gd name="T8" fmla="*/ 0 w 13"/>
                <a:gd name="T9" fmla="*/ 1 h 7"/>
                <a:gd name="T10" fmla="*/ 1 w 13"/>
                <a:gd name="T11" fmla="*/ 0 h 7"/>
                <a:gd name="T12" fmla="*/ 1 w 13"/>
                <a:gd name="T13" fmla="*/ 0 h 7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3" h="7">
                  <a:moveTo>
                    <a:pt x="13" y="0"/>
                  </a:moveTo>
                  <a:lnTo>
                    <a:pt x="12" y="1"/>
                  </a:lnTo>
                  <a:lnTo>
                    <a:pt x="9" y="3"/>
                  </a:lnTo>
                  <a:lnTo>
                    <a:pt x="4" y="5"/>
                  </a:lnTo>
                  <a:lnTo>
                    <a:pt x="0" y="7"/>
                  </a:lnTo>
                  <a:lnTo>
                    <a:pt x="7" y="3"/>
                  </a:lnTo>
                  <a:lnTo>
                    <a:pt x="13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 dirty="0"/>
            </a:p>
          </p:txBody>
        </p:sp>
        <p:sp>
          <p:nvSpPr>
            <p:cNvPr id="142" name="Freeform 537"/>
            <p:cNvSpPr>
              <a:spLocks/>
            </p:cNvSpPr>
            <p:nvPr/>
          </p:nvSpPr>
          <p:spPr bwMode="auto">
            <a:xfrm>
              <a:off x="3324" y="1937"/>
              <a:ext cx="10" cy="3"/>
            </a:xfrm>
            <a:custGeom>
              <a:avLst/>
              <a:gdLst>
                <a:gd name="T0" fmla="*/ 0 w 34"/>
                <a:gd name="T1" fmla="*/ 1 h 8"/>
                <a:gd name="T2" fmla="*/ 1 w 34"/>
                <a:gd name="T3" fmla="*/ 1 h 8"/>
                <a:gd name="T4" fmla="*/ 1 w 34"/>
                <a:gd name="T5" fmla="*/ 0 h 8"/>
                <a:gd name="T6" fmla="*/ 2 w 34"/>
                <a:gd name="T7" fmla="*/ 0 h 8"/>
                <a:gd name="T8" fmla="*/ 3 w 34"/>
                <a:gd name="T9" fmla="*/ 0 h 8"/>
                <a:gd name="T10" fmla="*/ 3 w 34"/>
                <a:gd name="T11" fmla="*/ 0 h 8"/>
                <a:gd name="T12" fmla="*/ 2 w 34"/>
                <a:gd name="T13" fmla="*/ 1 h 8"/>
                <a:gd name="T14" fmla="*/ 2 w 34"/>
                <a:gd name="T15" fmla="*/ 1 h 8"/>
                <a:gd name="T16" fmla="*/ 1 w 34"/>
                <a:gd name="T17" fmla="*/ 1 h 8"/>
                <a:gd name="T18" fmla="*/ 1 w 34"/>
                <a:gd name="T19" fmla="*/ 1 h 8"/>
                <a:gd name="T20" fmla="*/ 1 w 34"/>
                <a:gd name="T21" fmla="*/ 1 h 8"/>
                <a:gd name="T22" fmla="*/ 0 w 34"/>
                <a:gd name="T23" fmla="*/ 1 h 8"/>
                <a:gd name="T24" fmla="*/ 0 w 34"/>
                <a:gd name="T25" fmla="*/ 1 h 8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4" h="8">
                  <a:moveTo>
                    <a:pt x="0" y="6"/>
                  </a:moveTo>
                  <a:lnTo>
                    <a:pt x="7" y="5"/>
                  </a:lnTo>
                  <a:lnTo>
                    <a:pt x="15" y="3"/>
                  </a:lnTo>
                  <a:lnTo>
                    <a:pt x="25" y="1"/>
                  </a:lnTo>
                  <a:lnTo>
                    <a:pt x="34" y="0"/>
                  </a:lnTo>
                  <a:lnTo>
                    <a:pt x="31" y="2"/>
                  </a:lnTo>
                  <a:lnTo>
                    <a:pt x="27" y="4"/>
                  </a:lnTo>
                  <a:lnTo>
                    <a:pt x="22" y="6"/>
                  </a:lnTo>
                  <a:lnTo>
                    <a:pt x="18" y="7"/>
                  </a:lnTo>
                  <a:lnTo>
                    <a:pt x="12" y="8"/>
                  </a:lnTo>
                  <a:lnTo>
                    <a:pt x="8" y="8"/>
                  </a:lnTo>
                  <a:lnTo>
                    <a:pt x="4" y="8"/>
                  </a:lnTo>
                  <a:lnTo>
                    <a:pt x="0" y="6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 dirty="0"/>
            </a:p>
          </p:txBody>
        </p:sp>
        <p:sp>
          <p:nvSpPr>
            <p:cNvPr id="143" name="Freeform 538"/>
            <p:cNvSpPr>
              <a:spLocks/>
            </p:cNvSpPr>
            <p:nvPr/>
          </p:nvSpPr>
          <p:spPr bwMode="auto">
            <a:xfrm>
              <a:off x="3343" y="1948"/>
              <a:ext cx="4" cy="8"/>
            </a:xfrm>
            <a:custGeom>
              <a:avLst/>
              <a:gdLst>
                <a:gd name="T0" fmla="*/ 0 w 13"/>
                <a:gd name="T1" fmla="*/ 3 h 24"/>
                <a:gd name="T2" fmla="*/ 0 w 13"/>
                <a:gd name="T3" fmla="*/ 0 h 24"/>
                <a:gd name="T4" fmla="*/ 1 w 13"/>
                <a:gd name="T5" fmla="*/ 1 h 24"/>
                <a:gd name="T6" fmla="*/ 0 w 13"/>
                <a:gd name="T7" fmla="*/ 3 h 24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3" h="24">
                  <a:moveTo>
                    <a:pt x="0" y="24"/>
                  </a:moveTo>
                  <a:lnTo>
                    <a:pt x="0" y="0"/>
                  </a:lnTo>
                  <a:lnTo>
                    <a:pt x="13" y="12"/>
                  </a:lnTo>
                  <a:lnTo>
                    <a:pt x="0" y="24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 dirty="0"/>
            </a:p>
          </p:txBody>
        </p:sp>
        <p:sp>
          <p:nvSpPr>
            <p:cNvPr id="144" name="Freeform 539"/>
            <p:cNvSpPr>
              <a:spLocks/>
            </p:cNvSpPr>
            <p:nvPr/>
          </p:nvSpPr>
          <p:spPr bwMode="auto">
            <a:xfrm>
              <a:off x="3313" y="1834"/>
              <a:ext cx="34" cy="23"/>
            </a:xfrm>
            <a:custGeom>
              <a:avLst/>
              <a:gdLst>
                <a:gd name="T0" fmla="*/ 0 w 107"/>
                <a:gd name="T1" fmla="*/ 1 h 69"/>
                <a:gd name="T2" fmla="*/ 0 w 107"/>
                <a:gd name="T3" fmla="*/ 3 h 69"/>
                <a:gd name="T4" fmla="*/ 0 w 107"/>
                <a:gd name="T5" fmla="*/ 5 h 69"/>
                <a:gd name="T6" fmla="*/ 0 w 107"/>
                <a:gd name="T7" fmla="*/ 7 h 69"/>
                <a:gd name="T8" fmla="*/ 0 w 107"/>
                <a:gd name="T9" fmla="*/ 8 h 69"/>
                <a:gd name="T10" fmla="*/ 2 w 107"/>
                <a:gd name="T11" fmla="*/ 7 h 69"/>
                <a:gd name="T12" fmla="*/ 5 w 107"/>
                <a:gd name="T13" fmla="*/ 6 h 69"/>
                <a:gd name="T14" fmla="*/ 9 w 107"/>
                <a:gd name="T15" fmla="*/ 6 h 69"/>
                <a:gd name="T16" fmla="*/ 11 w 107"/>
                <a:gd name="T17" fmla="*/ 5 h 69"/>
                <a:gd name="T18" fmla="*/ 10 w 107"/>
                <a:gd name="T19" fmla="*/ 4 h 69"/>
                <a:gd name="T20" fmla="*/ 10 w 107"/>
                <a:gd name="T21" fmla="*/ 4 h 69"/>
                <a:gd name="T22" fmla="*/ 9 w 107"/>
                <a:gd name="T23" fmla="*/ 3 h 69"/>
                <a:gd name="T24" fmla="*/ 8 w 107"/>
                <a:gd name="T25" fmla="*/ 3 h 69"/>
                <a:gd name="T26" fmla="*/ 7 w 107"/>
                <a:gd name="T27" fmla="*/ 3 h 69"/>
                <a:gd name="T28" fmla="*/ 7 w 107"/>
                <a:gd name="T29" fmla="*/ 2 h 69"/>
                <a:gd name="T30" fmla="*/ 6 w 107"/>
                <a:gd name="T31" fmla="*/ 2 h 69"/>
                <a:gd name="T32" fmla="*/ 6 w 107"/>
                <a:gd name="T33" fmla="*/ 1 h 69"/>
                <a:gd name="T34" fmla="*/ 6 w 107"/>
                <a:gd name="T35" fmla="*/ 1 h 69"/>
                <a:gd name="T36" fmla="*/ 6 w 107"/>
                <a:gd name="T37" fmla="*/ 0 h 69"/>
                <a:gd name="T38" fmla="*/ 5 w 107"/>
                <a:gd name="T39" fmla="*/ 0 h 69"/>
                <a:gd name="T40" fmla="*/ 4 w 107"/>
                <a:gd name="T41" fmla="*/ 0 h 69"/>
                <a:gd name="T42" fmla="*/ 2 w 107"/>
                <a:gd name="T43" fmla="*/ 1 h 69"/>
                <a:gd name="T44" fmla="*/ 0 w 107"/>
                <a:gd name="T45" fmla="*/ 1 h 69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107" h="69">
                  <a:moveTo>
                    <a:pt x="0" y="13"/>
                  </a:moveTo>
                  <a:lnTo>
                    <a:pt x="0" y="27"/>
                  </a:lnTo>
                  <a:lnTo>
                    <a:pt x="0" y="45"/>
                  </a:lnTo>
                  <a:lnTo>
                    <a:pt x="0" y="62"/>
                  </a:lnTo>
                  <a:lnTo>
                    <a:pt x="0" y="69"/>
                  </a:lnTo>
                  <a:lnTo>
                    <a:pt x="16" y="66"/>
                  </a:lnTo>
                  <a:lnTo>
                    <a:pt x="49" y="58"/>
                  </a:lnTo>
                  <a:lnTo>
                    <a:pt x="85" y="50"/>
                  </a:lnTo>
                  <a:lnTo>
                    <a:pt x="107" y="44"/>
                  </a:lnTo>
                  <a:lnTo>
                    <a:pt x="101" y="38"/>
                  </a:lnTo>
                  <a:lnTo>
                    <a:pt x="94" y="34"/>
                  </a:lnTo>
                  <a:lnTo>
                    <a:pt x="86" y="30"/>
                  </a:lnTo>
                  <a:lnTo>
                    <a:pt x="78" y="27"/>
                  </a:lnTo>
                  <a:lnTo>
                    <a:pt x="72" y="23"/>
                  </a:lnTo>
                  <a:lnTo>
                    <a:pt x="65" y="18"/>
                  </a:lnTo>
                  <a:lnTo>
                    <a:pt x="63" y="15"/>
                  </a:lnTo>
                  <a:lnTo>
                    <a:pt x="62" y="11"/>
                  </a:lnTo>
                  <a:lnTo>
                    <a:pt x="61" y="7"/>
                  </a:lnTo>
                  <a:lnTo>
                    <a:pt x="61" y="0"/>
                  </a:lnTo>
                  <a:lnTo>
                    <a:pt x="54" y="1"/>
                  </a:lnTo>
                  <a:lnTo>
                    <a:pt x="38" y="4"/>
                  </a:lnTo>
                  <a:lnTo>
                    <a:pt x="18" y="9"/>
                  </a:lnTo>
                  <a:lnTo>
                    <a:pt x="0" y="13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 dirty="0"/>
            </a:p>
          </p:txBody>
        </p:sp>
        <p:sp>
          <p:nvSpPr>
            <p:cNvPr id="145" name="Freeform 540"/>
            <p:cNvSpPr>
              <a:spLocks/>
            </p:cNvSpPr>
            <p:nvPr/>
          </p:nvSpPr>
          <p:spPr bwMode="auto">
            <a:xfrm>
              <a:off x="3302" y="1830"/>
              <a:ext cx="350" cy="128"/>
            </a:xfrm>
            <a:custGeom>
              <a:avLst/>
              <a:gdLst>
                <a:gd name="T0" fmla="*/ 106 w 1070"/>
                <a:gd name="T1" fmla="*/ 14 h 382"/>
                <a:gd name="T2" fmla="*/ 104 w 1070"/>
                <a:gd name="T3" fmla="*/ 12 h 382"/>
                <a:gd name="T4" fmla="*/ 103 w 1070"/>
                <a:gd name="T5" fmla="*/ 6 h 382"/>
                <a:gd name="T6" fmla="*/ 100 w 1070"/>
                <a:gd name="T7" fmla="*/ 4 h 382"/>
                <a:gd name="T8" fmla="*/ 87 w 1070"/>
                <a:gd name="T9" fmla="*/ 2 h 382"/>
                <a:gd name="T10" fmla="*/ 78 w 1070"/>
                <a:gd name="T11" fmla="*/ 6 h 382"/>
                <a:gd name="T12" fmla="*/ 73 w 1070"/>
                <a:gd name="T13" fmla="*/ 7 h 382"/>
                <a:gd name="T14" fmla="*/ 68 w 1070"/>
                <a:gd name="T15" fmla="*/ 7 h 382"/>
                <a:gd name="T16" fmla="*/ 65 w 1070"/>
                <a:gd name="T17" fmla="*/ 5 h 382"/>
                <a:gd name="T18" fmla="*/ 60 w 1070"/>
                <a:gd name="T19" fmla="*/ 4 h 382"/>
                <a:gd name="T20" fmla="*/ 56 w 1070"/>
                <a:gd name="T21" fmla="*/ 2 h 382"/>
                <a:gd name="T22" fmla="*/ 52 w 1070"/>
                <a:gd name="T23" fmla="*/ 2 h 382"/>
                <a:gd name="T24" fmla="*/ 50 w 1070"/>
                <a:gd name="T25" fmla="*/ 0 h 382"/>
                <a:gd name="T26" fmla="*/ 42 w 1070"/>
                <a:gd name="T27" fmla="*/ 2 h 382"/>
                <a:gd name="T28" fmla="*/ 32 w 1070"/>
                <a:gd name="T29" fmla="*/ 3 h 382"/>
                <a:gd name="T30" fmla="*/ 27 w 1070"/>
                <a:gd name="T31" fmla="*/ 5 h 382"/>
                <a:gd name="T32" fmla="*/ 15 w 1070"/>
                <a:gd name="T33" fmla="*/ 7 h 382"/>
                <a:gd name="T34" fmla="*/ 19 w 1070"/>
                <a:gd name="T35" fmla="*/ 8 h 382"/>
                <a:gd name="T36" fmla="*/ 18 w 1070"/>
                <a:gd name="T37" fmla="*/ 10 h 382"/>
                <a:gd name="T38" fmla="*/ 12 w 1070"/>
                <a:gd name="T39" fmla="*/ 10 h 382"/>
                <a:gd name="T40" fmla="*/ 5 w 1070"/>
                <a:gd name="T41" fmla="*/ 10 h 382"/>
                <a:gd name="T42" fmla="*/ 1 w 1070"/>
                <a:gd name="T43" fmla="*/ 12 h 382"/>
                <a:gd name="T44" fmla="*/ 0 w 1070"/>
                <a:gd name="T45" fmla="*/ 16 h 382"/>
                <a:gd name="T46" fmla="*/ 2 w 1070"/>
                <a:gd name="T47" fmla="*/ 19 h 382"/>
                <a:gd name="T48" fmla="*/ 2 w 1070"/>
                <a:gd name="T49" fmla="*/ 22 h 382"/>
                <a:gd name="T50" fmla="*/ 2 w 1070"/>
                <a:gd name="T51" fmla="*/ 23 h 382"/>
                <a:gd name="T52" fmla="*/ 5 w 1070"/>
                <a:gd name="T53" fmla="*/ 26 h 382"/>
                <a:gd name="T54" fmla="*/ 6 w 1070"/>
                <a:gd name="T55" fmla="*/ 29 h 382"/>
                <a:gd name="T56" fmla="*/ 8 w 1070"/>
                <a:gd name="T57" fmla="*/ 30 h 382"/>
                <a:gd name="T58" fmla="*/ 10 w 1070"/>
                <a:gd name="T59" fmla="*/ 33 h 382"/>
                <a:gd name="T60" fmla="*/ 22 w 1070"/>
                <a:gd name="T61" fmla="*/ 40 h 382"/>
                <a:gd name="T62" fmla="*/ 27 w 1070"/>
                <a:gd name="T63" fmla="*/ 42 h 382"/>
                <a:gd name="T64" fmla="*/ 28 w 1070"/>
                <a:gd name="T65" fmla="*/ 40 h 382"/>
                <a:gd name="T66" fmla="*/ 30 w 1070"/>
                <a:gd name="T67" fmla="*/ 38 h 382"/>
                <a:gd name="T68" fmla="*/ 32 w 1070"/>
                <a:gd name="T69" fmla="*/ 36 h 382"/>
                <a:gd name="T70" fmla="*/ 36 w 1070"/>
                <a:gd name="T71" fmla="*/ 36 h 382"/>
                <a:gd name="T72" fmla="*/ 39 w 1070"/>
                <a:gd name="T73" fmla="*/ 40 h 382"/>
                <a:gd name="T74" fmla="*/ 43 w 1070"/>
                <a:gd name="T75" fmla="*/ 42 h 382"/>
                <a:gd name="T76" fmla="*/ 48 w 1070"/>
                <a:gd name="T77" fmla="*/ 40 h 382"/>
                <a:gd name="T78" fmla="*/ 53 w 1070"/>
                <a:gd name="T79" fmla="*/ 38 h 382"/>
                <a:gd name="T80" fmla="*/ 56 w 1070"/>
                <a:gd name="T81" fmla="*/ 37 h 382"/>
                <a:gd name="T82" fmla="*/ 60 w 1070"/>
                <a:gd name="T83" fmla="*/ 37 h 382"/>
                <a:gd name="T84" fmla="*/ 61 w 1070"/>
                <a:gd name="T85" fmla="*/ 41 h 382"/>
                <a:gd name="T86" fmla="*/ 63 w 1070"/>
                <a:gd name="T87" fmla="*/ 42 h 382"/>
                <a:gd name="T88" fmla="*/ 66 w 1070"/>
                <a:gd name="T89" fmla="*/ 41 h 382"/>
                <a:gd name="T90" fmla="*/ 69 w 1070"/>
                <a:gd name="T91" fmla="*/ 38 h 382"/>
                <a:gd name="T92" fmla="*/ 80 w 1070"/>
                <a:gd name="T93" fmla="*/ 37 h 382"/>
                <a:gd name="T94" fmla="*/ 89 w 1070"/>
                <a:gd name="T95" fmla="*/ 36 h 382"/>
                <a:gd name="T96" fmla="*/ 98 w 1070"/>
                <a:gd name="T97" fmla="*/ 32 h 382"/>
                <a:gd name="T98" fmla="*/ 103 w 1070"/>
                <a:gd name="T99" fmla="*/ 32 h 382"/>
                <a:gd name="T100" fmla="*/ 108 w 1070"/>
                <a:gd name="T101" fmla="*/ 33 h 382"/>
                <a:gd name="T102" fmla="*/ 113 w 1070"/>
                <a:gd name="T103" fmla="*/ 35 h 382"/>
                <a:gd name="T104" fmla="*/ 113 w 1070"/>
                <a:gd name="T105" fmla="*/ 30 h 382"/>
                <a:gd name="T106" fmla="*/ 110 w 1070"/>
                <a:gd name="T107" fmla="*/ 24 h 382"/>
                <a:gd name="T108" fmla="*/ 109 w 1070"/>
                <a:gd name="T109" fmla="*/ 19 h 382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1070" h="382">
                  <a:moveTo>
                    <a:pt x="1011" y="142"/>
                  </a:moveTo>
                  <a:lnTo>
                    <a:pt x="1011" y="136"/>
                  </a:lnTo>
                  <a:lnTo>
                    <a:pt x="1011" y="123"/>
                  </a:lnTo>
                  <a:lnTo>
                    <a:pt x="1000" y="125"/>
                  </a:lnTo>
                  <a:lnTo>
                    <a:pt x="992" y="124"/>
                  </a:lnTo>
                  <a:lnTo>
                    <a:pt x="984" y="122"/>
                  </a:lnTo>
                  <a:lnTo>
                    <a:pt x="980" y="119"/>
                  </a:lnTo>
                  <a:lnTo>
                    <a:pt x="976" y="114"/>
                  </a:lnTo>
                  <a:lnTo>
                    <a:pt x="972" y="109"/>
                  </a:lnTo>
                  <a:lnTo>
                    <a:pt x="970" y="103"/>
                  </a:lnTo>
                  <a:lnTo>
                    <a:pt x="969" y="96"/>
                  </a:lnTo>
                  <a:lnTo>
                    <a:pt x="967" y="82"/>
                  </a:lnTo>
                  <a:lnTo>
                    <a:pt x="966" y="68"/>
                  </a:lnTo>
                  <a:lnTo>
                    <a:pt x="965" y="62"/>
                  </a:lnTo>
                  <a:lnTo>
                    <a:pt x="962" y="57"/>
                  </a:lnTo>
                  <a:lnTo>
                    <a:pt x="960" y="53"/>
                  </a:lnTo>
                  <a:lnTo>
                    <a:pt x="957" y="50"/>
                  </a:lnTo>
                  <a:lnTo>
                    <a:pt x="950" y="44"/>
                  </a:lnTo>
                  <a:lnTo>
                    <a:pt x="944" y="40"/>
                  </a:lnTo>
                  <a:lnTo>
                    <a:pt x="936" y="36"/>
                  </a:lnTo>
                  <a:lnTo>
                    <a:pt x="928" y="33"/>
                  </a:lnTo>
                  <a:lnTo>
                    <a:pt x="912" y="28"/>
                  </a:lnTo>
                  <a:lnTo>
                    <a:pt x="894" y="25"/>
                  </a:lnTo>
                  <a:lnTo>
                    <a:pt x="857" y="22"/>
                  </a:lnTo>
                  <a:lnTo>
                    <a:pt x="817" y="19"/>
                  </a:lnTo>
                  <a:lnTo>
                    <a:pt x="799" y="29"/>
                  </a:lnTo>
                  <a:lnTo>
                    <a:pt x="769" y="43"/>
                  </a:lnTo>
                  <a:lnTo>
                    <a:pt x="752" y="50"/>
                  </a:lnTo>
                  <a:lnTo>
                    <a:pt x="734" y="56"/>
                  </a:lnTo>
                  <a:lnTo>
                    <a:pt x="726" y="58"/>
                  </a:lnTo>
                  <a:lnTo>
                    <a:pt x="719" y="60"/>
                  </a:lnTo>
                  <a:lnTo>
                    <a:pt x="711" y="61"/>
                  </a:lnTo>
                  <a:lnTo>
                    <a:pt x="704" y="62"/>
                  </a:lnTo>
                  <a:lnTo>
                    <a:pt x="692" y="63"/>
                  </a:lnTo>
                  <a:lnTo>
                    <a:pt x="678" y="65"/>
                  </a:lnTo>
                  <a:lnTo>
                    <a:pt x="664" y="67"/>
                  </a:lnTo>
                  <a:lnTo>
                    <a:pt x="652" y="68"/>
                  </a:lnTo>
                  <a:lnTo>
                    <a:pt x="644" y="68"/>
                  </a:lnTo>
                  <a:lnTo>
                    <a:pt x="637" y="67"/>
                  </a:lnTo>
                  <a:lnTo>
                    <a:pt x="632" y="65"/>
                  </a:lnTo>
                  <a:lnTo>
                    <a:pt x="626" y="63"/>
                  </a:lnTo>
                  <a:lnTo>
                    <a:pt x="622" y="59"/>
                  </a:lnTo>
                  <a:lnTo>
                    <a:pt x="618" y="55"/>
                  </a:lnTo>
                  <a:lnTo>
                    <a:pt x="614" y="50"/>
                  </a:lnTo>
                  <a:lnTo>
                    <a:pt x="612" y="44"/>
                  </a:lnTo>
                  <a:lnTo>
                    <a:pt x="601" y="45"/>
                  </a:lnTo>
                  <a:lnTo>
                    <a:pt x="591" y="44"/>
                  </a:lnTo>
                  <a:lnTo>
                    <a:pt x="581" y="42"/>
                  </a:lnTo>
                  <a:lnTo>
                    <a:pt x="571" y="40"/>
                  </a:lnTo>
                  <a:lnTo>
                    <a:pt x="560" y="37"/>
                  </a:lnTo>
                  <a:lnTo>
                    <a:pt x="549" y="34"/>
                  </a:lnTo>
                  <a:lnTo>
                    <a:pt x="537" y="32"/>
                  </a:lnTo>
                  <a:lnTo>
                    <a:pt x="525" y="32"/>
                  </a:lnTo>
                  <a:lnTo>
                    <a:pt x="525" y="25"/>
                  </a:lnTo>
                  <a:lnTo>
                    <a:pt x="525" y="19"/>
                  </a:lnTo>
                  <a:lnTo>
                    <a:pt x="512" y="22"/>
                  </a:lnTo>
                  <a:lnTo>
                    <a:pt x="499" y="25"/>
                  </a:lnTo>
                  <a:lnTo>
                    <a:pt x="493" y="25"/>
                  </a:lnTo>
                  <a:lnTo>
                    <a:pt x="488" y="23"/>
                  </a:lnTo>
                  <a:lnTo>
                    <a:pt x="483" y="21"/>
                  </a:lnTo>
                  <a:lnTo>
                    <a:pt x="477" y="17"/>
                  </a:lnTo>
                  <a:lnTo>
                    <a:pt x="473" y="13"/>
                  </a:lnTo>
                  <a:lnTo>
                    <a:pt x="468" y="9"/>
                  </a:lnTo>
                  <a:lnTo>
                    <a:pt x="466" y="5"/>
                  </a:lnTo>
                  <a:lnTo>
                    <a:pt x="465" y="0"/>
                  </a:lnTo>
                  <a:lnTo>
                    <a:pt x="456" y="5"/>
                  </a:lnTo>
                  <a:lnTo>
                    <a:pt x="445" y="9"/>
                  </a:lnTo>
                  <a:lnTo>
                    <a:pt x="432" y="12"/>
                  </a:lnTo>
                  <a:lnTo>
                    <a:pt x="419" y="14"/>
                  </a:lnTo>
                  <a:lnTo>
                    <a:pt x="390" y="16"/>
                  </a:lnTo>
                  <a:lnTo>
                    <a:pt x="360" y="19"/>
                  </a:lnTo>
                  <a:lnTo>
                    <a:pt x="343" y="20"/>
                  </a:lnTo>
                  <a:lnTo>
                    <a:pt x="329" y="21"/>
                  </a:lnTo>
                  <a:lnTo>
                    <a:pt x="313" y="23"/>
                  </a:lnTo>
                  <a:lnTo>
                    <a:pt x="299" y="26"/>
                  </a:lnTo>
                  <a:lnTo>
                    <a:pt x="286" y="30"/>
                  </a:lnTo>
                  <a:lnTo>
                    <a:pt x="274" y="35"/>
                  </a:lnTo>
                  <a:lnTo>
                    <a:pt x="267" y="38"/>
                  </a:lnTo>
                  <a:lnTo>
                    <a:pt x="262" y="41"/>
                  </a:lnTo>
                  <a:lnTo>
                    <a:pt x="257" y="45"/>
                  </a:lnTo>
                  <a:lnTo>
                    <a:pt x="253" y="50"/>
                  </a:lnTo>
                  <a:lnTo>
                    <a:pt x="147" y="50"/>
                  </a:lnTo>
                  <a:lnTo>
                    <a:pt x="145" y="54"/>
                  </a:lnTo>
                  <a:lnTo>
                    <a:pt x="142" y="58"/>
                  </a:lnTo>
                  <a:lnTo>
                    <a:pt x="138" y="61"/>
                  </a:lnTo>
                  <a:lnTo>
                    <a:pt x="133" y="62"/>
                  </a:lnTo>
                  <a:lnTo>
                    <a:pt x="143" y="65"/>
                  </a:lnTo>
                  <a:lnTo>
                    <a:pt x="153" y="68"/>
                  </a:lnTo>
                  <a:lnTo>
                    <a:pt x="163" y="70"/>
                  </a:lnTo>
                  <a:lnTo>
                    <a:pt x="173" y="75"/>
                  </a:lnTo>
                  <a:lnTo>
                    <a:pt x="173" y="79"/>
                  </a:lnTo>
                  <a:lnTo>
                    <a:pt x="172" y="83"/>
                  </a:lnTo>
                  <a:lnTo>
                    <a:pt x="170" y="86"/>
                  </a:lnTo>
                  <a:lnTo>
                    <a:pt x="167" y="88"/>
                  </a:lnTo>
                  <a:lnTo>
                    <a:pt x="164" y="90"/>
                  </a:lnTo>
                  <a:lnTo>
                    <a:pt x="161" y="91"/>
                  </a:lnTo>
                  <a:lnTo>
                    <a:pt x="158" y="92"/>
                  </a:lnTo>
                  <a:lnTo>
                    <a:pt x="153" y="93"/>
                  </a:lnTo>
                  <a:lnTo>
                    <a:pt x="133" y="94"/>
                  </a:lnTo>
                  <a:lnTo>
                    <a:pt x="114" y="93"/>
                  </a:lnTo>
                  <a:lnTo>
                    <a:pt x="108" y="93"/>
                  </a:lnTo>
                  <a:lnTo>
                    <a:pt x="94" y="93"/>
                  </a:lnTo>
                  <a:lnTo>
                    <a:pt x="74" y="93"/>
                  </a:lnTo>
                  <a:lnTo>
                    <a:pt x="53" y="93"/>
                  </a:lnTo>
                  <a:lnTo>
                    <a:pt x="42" y="94"/>
                  </a:lnTo>
                  <a:lnTo>
                    <a:pt x="31" y="95"/>
                  </a:lnTo>
                  <a:lnTo>
                    <a:pt x="22" y="99"/>
                  </a:lnTo>
                  <a:lnTo>
                    <a:pt x="15" y="104"/>
                  </a:lnTo>
                  <a:lnTo>
                    <a:pt x="11" y="107"/>
                  </a:lnTo>
                  <a:lnTo>
                    <a:pt x="8" y="110"/>
                  </a:lnTo>
                  <a:lnTo>
                    <a:pt x="6" y="114"/>
                  </a:lnTo>
                  <a:lnTo>
                    <a:pt x="4" y="119"/>
                  </a:lnTo>
                  <a:lnTo>
                    <a:pt x="2" y="130"/>
                  </a:lnTo>
                  <a:lnTo>
                    <a:pt x="0" y="142"/>
                  </a:lnTo>
                  <a:lnTo>
                    <a:pt x="0" y="147"/>
                  </a:lnTo>
                  <a:lnTo>
                    <a:pt x="2" y="151"/>
                  </a:lnTo>
                  <a:lnTo>
                    <a:pt x="4" y="154"/>
                  </a:lnTo>
                  <a:lnTo>
                    <a:pt x="5" y="157"/>
                  </a:lnTo>
                  <a:lnTo>
                    <a:pt x="10" y="162"/>
                  </a:lnTo>
                  <a:lnTo>
                    <a:pt x="16" y="167"/>
                  </a:lnTo>
                  <a:lnTo>
                    <a:pt x="20" y="173"/>
                  </a:lnTo>
                  <a:lnTo>
                    <a:pt x="22" y="179"/>
                  </a:lnTo>
                  <a:lnTo>
                    <a:pt x="24" y="183"/>
                  </a:lnTo>
                  <a:lnTo>
                    <a:pt x="24" y="188"/>
                  </a:lnTo>
                  <a:lnTo>
                    <a:pt x="22" y="193"/>
                  </a:lnTo>
                  <a:lnTo>
                    <a:pt x="20" y="198"/>
                  </a:lnTo>
                  <a:lnTo>
                    <a:pt x="19" y="200"/>
                  </a:lnTo>
                  <a:lnTo>
                    <a:pt x="19" y="203"/>
                  </a:lnTo>
                  <a:lnTo>
                    <a:pt x="20" y="206"/>
                  </a:lnTo>
                  <a:lnTo>
                    <a:pt x="21" y="210"/>
                  </a:lnTo>
                  <a:lnTo>
                    <a:pt x="25" y="217"/>
                  </a:lnTo>
                  <a:lnTo>
                    <a:pt x="30" y="224"/>
                  </a:lnTo>
                  <a:lnTo>
                    <a:pt x="37" y="230"/>
                  </a:lnTo>
                  <a:lnTo>
                    <a:pt x="44" y="235"/>
                  </a:lnTo>
                  <a:lnTo>
                    <a:pt x="49" y="237"/>
                  </a:lnTo>
                  <a:lnTo>
                    <a:pt x="52" y="239"/>
                  </a:lnTo>
                  <a:lnTo>
                    <a:pt x="56" y="241"/>
                  </a:lnTo>
                  <a:lnTo>
                    <a:pt x="60" y="241"/>
                  </a:lnTo>
                  <a:lnTo>
                    <a:pt x="59" y="250"/>
                  </a:lnTo>
                  <a:lnTo>
                    <a:pt x="56" y="259"/>
                  </a:lnTo>
                  <a:lnTo>
                    <a:pt x="52" y="266"/>
                  </a:lnTo>
                  <a:lnTo>
                    <a:pt x="47" y="271"/>
                  </a:lnTo>
                  <a:lnTo>
                    <a:pt x="56" y="271"/>
                  </a:lnTo>
                  <a:lnTo>
                    <a:pt x="66" y="271"/>
                  </a:lnTo>
                  <a:lnTo>
                    <a:pt x="74" y="271"/>
                  </a:lnTo>
                  <a:lnTo>
                    <a:pt x="81" y="271"/>
                  </a:lnTo>
                  <a:lnTo>
                    <a:pt x="82" y="275"/>
                  </a:lnTo>
                  <a:lnTo>
                    <a:pt x="84" y="280"/>
                  </a:lnTo>
                  <a:lnTo>
                    <a:pt x="89" y="284"/>
                  </a:lnTo>
                  <a:lnTo>
                    <a:pt x="96" y="290"/>
                  </a:lnTo>
                  <a:lnTo>
                    <a:pt x="112" y="302"/>
                  </a:lnTo>
                  <a:lnTo>
                    <a:pt x="131" y="313"/>
                  </a:lnTo>
                  <a:lnTo>
                    <a:pt x="170" y="334"/>
                  </a:lnTo>
                  <a:lnTo>
                    <a:pt x="193" y="345"/>
                  </a:lnTo>
                  <a:lnTo>
                    <a:pt x="205" y="352"/>
                  </a:lnTo>
                  <a:lnTo>
                    <a:pt x="218" y="360"/>
                  </a:lnTo>
                  <a:lnTo>
                    <a:pt x="226" y="364"/>
                  </a:lnTo>
                  <a:lnTo>
                    <a:pt x="234" y="367"/>
                  </a:lnTo>
                  <a:lnTo>
                    <a:pt x="243" y="370"/>
                  </a:lnTo>
                  <a:lnTo>
                    <a:pt x="253" y="370"/>
                  </a:lnTo>
                  <a:lnTo>
                    <a:pt x="255" y="370"/>
                  </a:lnTo>
                  <a:lnTo>
                    <a:pt x="257" y="367"/>
                  </a:lnTo>
                  <a:lnTo>
                    <a:pt x="261" y="365"/>
                  </a:lnTo>
                  <a:lnTo>
                    <a:pt x="264" y="361"/>
                  </a:lnTo>
                  <a:lnTo>
                    <a:pt x="267" y="358"/>
                  </a:lnTo>
                  <a:lnTo>
                    <a:pt x="271" y="355"/>
                  </a:lnTo>
                  <a:lnTo>
                    <a:pt x="275" y="353"/>
                  </a:lnTo>
                  <a:lnTo>
                    <a:pt x="279" y="352"/>
                  </a:lnTo>
                  <a:lnTo>
                    <a:pt x="277" y="344"/>
                  </a:lnTo>
                  <a:lnTo>
                    <a:pt x="277" y="338"/>
                  </a:lnTo>
                  <a:lnTo>
                    <a:pt x="278" y="332"/>
                  </a:lnTo>
                  <a:lnTo>
                    <a:pt x="280" y="326"/>
                  </a:lnTo>
                  <a:lnTo>
                    <a:pt x="284" y="322"/>
                  </a:lnTo>
                  <a:lnTo>
                    <a:pt x="289" y="318"/>
                  </a:lnTo>
                  <a:lnTo>
                    <a:pt x="297" y="316"/>
                  </a:lnTo>
                  <a:lnTo>
                    <a:pt x="306" y="315"/>
                  </a:lnTo>
                  <a:lnTo>
                    <a:pt x="316" y="315"/>
                  </a:lnTo>
                  <a:lnTo>
                    <a:pt x="323" y="317"/>
                  </a:lnTo>
                  <a:lnTo>
                    <a:pt x="329" y="320"/>
                  </a:lnTo>
                  <a:lnTo>
                    <a:pt x="334" y="323"/>
                  </a:lnTo>
                  <a:lnTo>
                    <a:pt x="343" y="332"/>
                  </a:lnTo>
                  <a:lnTo>
                    <a:pt x="350" y="342"/>
                  </a:lnTo>
                  <a:lnTo>
                    <a:pt x="353" y="347"/>
                  </a:lnTo>
                  <a:lnTo>
                    <a:pt x="357" y="353"/>
                  </a:lnTo>
                  <a:lnTo>
                    <a:pt x="362" y="358"/>
                  </a:lnTo>
                  <a:lnTo>
                    <a:pt x="367" y="362"/>
                  </a:lnTo>
                  <a:lnTo>
                    <a:pt x="373" y="365"/>
                  </a:lnTo>
                  <a:lnTo>
                    <a:pt x="380" y="368"/>
                  </a:lnTo>
                  <a:lnTo>
                    <a:pt x="389" y="370"/>
                  </a:lnTo>
                  <a:lnTo>
                    <a:pt x="399" y="370"/>
                  </a:lnTo>
                  <a:lnTo>
                    <a:pt x="409" y="370"/>
                  </a:lnTo>
                  <a:lnTo>
                    <a:pt x="418" y="369"/>
                  </a:lnTo>
                  <a:lnTo>
                    <a:pt x="425" y="367"/>
                  </a:lnTo>
                  <a:lnTo>
                    <a:pt x="433" y="365"/>
                  </a:lnTo>
                  <a:lnTo>
                    <a:pt x="447" y="359"/>
                  </a:lnTo>
                  <a:lnTo>
                    <a:pt x="459" y="352"/>
                  </a:lnTo>
                  <a:lnTo>
                    <a:pt x="472" y="345"/>
                  </a:lnTo>
                  <a:lnTo>
                    <a:pt x="483" y="339"/>
                  </a:lnTo>
                  <a:lnTo>
                    <a:pt x="488" y="336"/>
                  </a:lnTo>
                  <a:lnTo>
                    <a:pt x="493" y="335"/>
                  </a:lnTo>
                  <a:lnTo>
                    <a:pt x="499" y="333"/>
                  </a:lnTo>
                  <a:lnTo>
                    <a:pt x="506" y="333"/>
                  </a:lnTo>
                  <a:lnTo>
                    <a:pt x="512" y="332"/>
                  </a:lnTo>
                  <a:lnTo>
                    <a:pt x="521" y="329"/>
                  </a:lnTo>
                  <a:lnTo>
                    <a:pt x="525" y="327"/>
                  </a:lnTo>
                  <a:lnTo>
                    <a:pt x="529" y="325"/>
                  </a:lnTo>
                  <a:lnTo>
                    <a:pt x="531" y="323"/>
                  </a:lnTo>
                  <a:lnTo>
                    <a:pt x="532" y="321"/>
                  </a:lnTo>
                  <a:lnTo>
                    <a:pt x="565" y="321"/>
                  </a:lnTo>
                  <a:lnTo>
                    <a:pt x="564" y="326"/>
                  </a:lnTo>
                  <a:lnTo>
                    <a:pt x="563" y="333"/>
                  </a:lnTo>
                  <a:lnTo>
                    <a:pt x="564" y="341"/>
                  </a:lnTo>
                  <a:lnTo>
                    <a:pt x="565" y="349"/>
                  </a:lnTo>
                  <a:lnTo>
                    <a:pt x="566" y="358"/>
                  </a:lnTo>
                  <a:lnTo>
                    <a:pt x="567" y="367"/>
                  </a:lnTo>
                  <a:lnTo>
                    <a:pt x="567" y="375"/>
                  </a:lnTo>
                  <a:lnTo>
                    <a:pt x="565" y="382"/>
                  </a:lnTo>
                  <a:lnTo>
                    <a:pt x="575" y="381"/>
                  </a:lnTo>
                  <a:lnTo>
                    <a:pt x="582" y="379"/>
                  </a:lnTo>
                  <a:lnTo>
                    <a:pt x="590" y="377"/>
                  </a:lnTo>
                  <a:lnTo>
                    <a:pt x="596" y="375"/>
                  </a:lnTo>
                  <a:lnTo>
                    <a:pt x="601" y="372"/>
                  </a:lnTo>
                  <a:lnTo>
                    <a:pt x="605" y="369"/>
                  </a:lnTo>
                  <a:lnTo>
                    <a:pt x="610" y="366"/>
                  </a:lnTo>
                  <a:lnTo>
                    <a:pt x="613" y="362"/>
                  </a:lnTo>
                  <a:lnTo>
                    <a:pt x="623" y="345"/>
                  </a:lnTo>
                  <a:lnTo>
                    <a:pt x="632" y="327"/>
                  </a:lnTo>
                  <a:lnTo>
                    <a:pt x="636" y="331"/>
                  </a:lnTo>
                  <a:lnTo>
                    <a:pt x="641" y="334"/>
                  </a:lnTo>
                  <a:lnTo>
                    <a:pt x="647" y="336"/>
                  </a:lnTo>
                  <a:lnTo>
                    <a:pt x="654" y="337"/>
                  </a:lnTo>
                  <a:lnTo>
                    <a:pt x="669" y="338"/>
                  </a:lnTo>
                  <a:lnTo>
                    <a:pt x="687" y="336"/>
                  </a:lnTo>
                  <a:lnTo>
                    <a:pt x="721" y="330"/>
                  </a:lnTo>
                  <a:lnTo>
                    <a:pt x="752" y="327"/>
                  </a:lnTo>
                  <a:lnTo>
                    <a:pt x="767" y="327"/>
                  </a:lnTo>
                  <a:lnTo>
                    <a:pt x="781" y="325"/>
                  </a:lnTo>
                  <a:lnTo>
                    <a:pt x="794" y="324"/>
                  </a:lnTo>
                  <a:lnTo>
                    <a:pt x="808" y="321"/>
                  </a:lnTo>
                  <a:lnTo>
                    <a:pt x="831" y="315"/>
                  </a:lnTo>
                  <a:lnTo>
                    <a:pt x="853" y="307"/>
                  </a:lnTo>
                  <a:lnTo>
                    <a:pt x="873" y="299"/>
                  </a:lnTo>
                  <a:lnTo>
                    <a:pt x="895" y="290"/>
                  </a:lnTo>
                  <a:lnTo>
                    <a:pt x="906" y="287"/>
                  </a:lnTo>
                  <a:lnTo>
                    <a:pt x="918" y="283"/>
                  </a:lnTo>
                  <a:lnTo>
                    <a:pt x="930" y="280"/>
                  </a:lnTo>
                  <a:lnTo>
                    <a:pt x="944" y="278"/>
                  </a:lnTo>
                  <a:lnTo>
                    <a:pt x="951" y="279"/>
                  </a:lnTo>
                  <a:lnTo>
                    <a:pt x="961" y="284"/>
                  </a:lnTo>
                  <a:lnTo>
                    <a:pt x="967" y="286"/>
                  </a:lnTo>
                  <a:lnTo>
                    <a:pt x="972" y="288"/>
                  </a:lnTo>
                  <a:lnTo>
                    <a:pt x="979" y="289"/>
                  </a:lnTo>
                  <a:lnTo>
                    <a:pt x="983" y="290"/>
                  </a:lnTo>
                  <a:lnTo>
                    <a:pt x="995" y="290"/>
                  </a:lnTo>
                  <a:lnTo>
                    <a:pt x="1005" y="293"/>
                  </a:lnTo>
                  <a:lnTo>
                    <a:pt x="1015" y="295"/>
                  </a:lnTo>
                  <a:lnTo>
                    <a:pt x="1024" y="300"/>
                  </a:lnTo>
                  <a:lnTo>
                    <a:pt x="1034" y="303"/>
                  </a:lnTo>
                  <a:lnTo>
                    <a:pt x="1045" y="306"/>
                  </a:lnTo>
                  <a:lnTo>
                    <a:pt x="1056" y="308"/>
                  </a:lnTo>
                  <a:lnTo>
                    <a:pt x="1070" y="309"/>
                  </a:lnTo>
                  <a:lnTo>
                    <a:pt x="1068" y="297"/>
                  </a:lnTo>
                  <a:lnTo>
                    <a:pt x="1063" y="286"/>
                  </a:lnTo>
                  <a:lnTo>
                    <a:pt x="1060" y="276"/>
                  </a:lnTo>
                  <a:lnTo>
                    <a:pt x="1056" y="268"/>
                  </a:lnTo>
                  <a:lnTo>
                    <a:pt x="1047" y="254"/>
                  </a:lnTo>
                  <a:lnTo>
                    <a:pt x="1038" y="241"/>
                  </a:lnTo>
                  <a:lnTo>
                    <a:pt x="1034" y="233"/>
                  </a:lnTo>
                  <a:lnTo>
                    <a:pt x="1030" y="226"/>
                  </a:lnTo>
                  <a:lnTo>
                    <a:pt x="1026" y="219"/>
                  </a:lnTo>
                  <a:lnTo>
                    <a:pt x="1024" y="211"/>
                  </a:lnTo>
                  <a:lnTo>
                    <a:pt x="1021" y="202"/>
                  </a:lnTo>
                  <a:lnTo>
                    <a:pt x="1018" y="192"/>
                  </a:lnTo>
                  <a:lnTo>
                    <a:pt x="1017" y="179"/>
                  </a:lnTo>
                  <a:lnTo>
                    <a:pt x="1017" y="167"/>
                  </a:lnTo>
                  <a:lnTo>
                    <a:pt x="1014" y="152"/>
                  </a:lnTo>
                  <a:lnTo>
                    <a:pt x="1011" y="142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 dirty="0"/>
            </a:p>
          </p:txBody>
        </p:sp>
      </p:grpSp>
      <p:sp>
        <p:nvSpPr>
          <p:cNvPr id="138" name="Freeform 547"/>
          <p:cNvSpPr>
            <a:spLocks/>
          </p:cNvSpPr>
          <p:nvPr>
            <p:custDataLst>
              <p:tags r:id="rId118"/>
            </p:custDataLst>
          </p:nvPr>
        </p:nvSpPr>
        <p:spPr bwMode="auto">
          <a:xfrm>
            <a:off x="1506215" y="2961714"/>
            <a:ext cx="293306" cy="125590"/>
          </a:xfrm>
          <a:custGeom>
            <a:avLst/>
            <a:gdLst>
              <a:gd name="T0" fmla="*/ 13888101 w 546"/>
              <a:gd name="T1" fmla="*/ 5381864 h 173"/>
              <a:gd name="T2" fmla="*/ 17641501 w 546"/>
              <a:gd name="T3" fmla="*/ 9631151 h 173"/>
              <a:gd name="T4" fmla="*/ 20644568 w 546"/>
              <a:gd name="T5" fmla="*/ 7648079 h 173"/>
              <a:gd name="T6" fmla="*/ 24773568 w 546"/>
              <a:gd name="T7" fmla="*/ 7648079 h 173"/>
              <a:gd name="T8" fmla="*/ 30216085 w 546"/>
              <a:gd name="T9" fmla="*/ 12463655 h 173"/>
              <a:gd name="T10" fmla="*/ 39224853 w 546"/>
              <a:gd name="T11" fmla="*/ 5381864 h 173"/>
              <a:gd name="T12" fmla="*/ 45605720 w 546"/>
              <a:gd name="T13" fmla="*/ 5381864 h 173"/>
              <a:gd name="T14" fmla="*/ 48796370 w 546"/>
              <a:gd name="T15" fmla="*/ 4532432 h 173"/>
              <a:gd name="T16" fmla="*/ 50485487 w 546"/>
              <a:gd name="T17" fmla="*/ 3965612 h 173"/>
              <a:gd name="T18" fmla="*/ 52362187 w 546"/>
              <a:gd name="T19" fmla="*/ 3115648 h 173"/>
              <a:gd name="T20" fmla="*/ 53675704 w 546"/>
              <a:gd name="T21" fmla="*/ 849964 h 173"/>
              <a:gd name="T22" fmla="*/ 60244588 w 546"/>
              <a:gd name="T23" fmla="*/ 1416252 h 173"/>
              <a:gd name="T24" fmla="*/ 62496888 w 546"/>
              <a:gd name="T25" fmla="*/ 3399324 h 173"/>
              <a:gd name="T26" fmla="*/ 65311938 w 546"/>
              <a:gd name="T27" fmla="*/ 1983072 h 173"/>
              <a:gd name="T28" fmla="*/ 66250288 w 546"/>
              <a:gd name="T29" fmla="*/ 0 h 173"/>
              <a:gd name="T30" fmla="*/ 68877755 w 546"/>
              <a:gd name="T31" fmla="*/ 1983072 h 173"/>
              <a:gd name="T32" fmla="*/ 73006755 w 546"/>
              <a:gd name="T33" fmla="*/ 1983072 h 173"/>
              <a:gd name="T34" fmla="*/ 81827506 w 546"/>
              <a:gd name="T35" fmla="*/ 283144 h 173"/>
              <a:gd name="T36" fmla="*/ 90460673 w 546"/>
              <a:gd name="T37" fmla="*/ 1699396 h 173"/>
              <a:gd name="T38" fmla="*/ 99093840 w 546"/>
              <a:gd name="T39" fmla="*/ 3399324 h 173"/>
              <a:gd name="T40" fmla="*/ 102284491 w 546"/>
              <a:gd name="T41" fmla="*/ 13879907 h 173"/>
              <a:gd name="T42" fmla="*/ 100782957 w 546"/>
              <a:gd name="T43" fmla="*/ 16996087 h 173"/>
              <a:gd name="T44" fmla="*/ 96278790 w 546"/>
              <a:gd name="T45" fmla="*/ 17562375 h 173"/>
              <a:gd name="T46" fmla="*/ 90648256 w 546"/>
              <a:gd name="T47" fmla="*/ 15296159 h 173"/>
              <a:gd name="T48" fmla="*/ 77510922 w 546"/>
              <a:gd name="T49" fmla="*/ 12463655 h 173"/>
              <a:gd name="T50" fmla="*/ 82202673 w 546"/>
              <a:gd name="T51" fmla="*/ 22944238 h 173"/>
              <a:gd name="T52" fmla="*/ 88396390 w 546"/>
              <a:gd name="T53" fmla="*/ 28892922 h 173"/>
              <a:gd name="T54" fmla="*/ 92524957 w 546"/>
              <a:gd name="T55" fmla="*/ 33708498 h 173"/>
              <a:gd name="T56" fmla="*/ 89147156 w 546"/>
              <a:gd name="T57" fmla="*/ 38524074 h 173"/>
              <a:gd name="T58" fmla="*/ 84267389 w 546"/>
              <a:gd name="T59" fmla="*/ 40223469 h 173"/>
              <a:gd name="T60" fmla="*/ 79950806 w 546"/>
              <a:gd name="T61" fmla="*/ 39940325 h 173"/>
              <a:gd name="T62" fmla="*/ 77323339 w 546"/>
              <a:gd name="T63" fmla="*/ 37957253 h 173"/>
              <a:gd name="T64" fmla="*/ 74883455 w 546"/>
              <a:gd name="T65" fmla="*/ 36824146 h 173"/>
              <a:gd name="T66" fmla="*/ 72255988 w 546"/>
              <a:gd name="T67" fmla="*/ 34274786 h 173"/>
              <a:gd name="T68" fmla="*/ 70379288 w 546"/>
              <a:gd name="T69" fmla="*/ 29459210 h 173"/>
              <a:gd name="T70" fmla="*/ 68502588 w 546"/>
              <a:gd name="T71" fmla="*/ 26060418 h 173"/>
              <a:gd name="T72" fmla="*/ 64561171 w 546"/>
              <a:gd name="T73" fmla="*/ 23794202 h 173"/>
              <a:gd name="T74" fmla="*/ 60995354 w 546"/>
              <a:gd name="T75" fmla="*/ 21527987 h 173"/>
              <a:gd name="T76" fmla="*/ 56866354 w 546"/>
              <a:gd name="T77" fmla="*/ 24644166 h 173"/>
              <a:gd name="T78" fmla="*/ 48420770 w 546"/>
              <a:gd name="T79" fmla="*/ 37957253 h 173"/>
              <a:gd name="T80" fmla="*/ 44291770 w 546"/>
              <a:gd name="T81" fmla="*/ 46172153 h 173"/>
              <a:gd name="T82" fmla="*/ 41289136 w 546"/>
              <a:gd name="T83" fmla="*/ 48721513 h 173"/>
              <a:gd name="T84" fmla="*/ 35283436 w 546"/>
              <a:gd name="T85" fmla="*/ 47305261 h 173"/>
              <a:gd name="T86" fmla="*/ 30966852 w 546"/>
              <a:gd name="T87" fmla="*/ 43905937 h 173"/>
              <a:gd name="T88" fmla="*/ 21207751 w 546"/>
              <a:gd name="T89" fmla="*/ 29742886 h 173"/>
              <a:gd name="T90" fmla="*/ 17829518 w 546"/>
              <a:gd name="T91" fmla="*/ 25777274 h 173"/>
              <a:gd name="T92" fmla="*/ 11260634 w 546"/>
              <a:gd name="T93" fmla="*/ 21527987 h 173"/>
              <a:gd name="T94" fmla="*/ 3002634 w 546"/>
              <a:gd name="T95" fmla="*/ 16429267 h 173"/>
              <a:gd name="T96" fmla="*/ 2064284 w 546"/>
              <a:gd name="T97" fmla="*/ 9631151 h 173"/>
              <a:gd name="T98" fmla="*/ 5254934 w 546"/>
              <a:gd name="T99" fmla="*/ 5381864 h 173"/>
              <a:gd name="T100" fmla="*/ 8820751 w 546"/>
              <a:gd name="T101" fmla="*/ 3399324 h 173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0" t="0" r="r" b="b"/>
            <a:pathLst>
              <a:path w="546" h="173">
                <a:moveTo>
                  <a:pt x="47" y="12"/>
                </a:moveTo>
                <a:lnTo>
                  <a:pt x="61" y="15"/>
                </a:lnTo>
                <a:lnTo>
                  <a:pt x="74" y="19"/>
                </a:lnTo>
                <a:lnTo>
                  <a:pt x="61" y="38"/>
                </a:lnTo>
                <a:lnTo>
                  <a:pt x="87" y="38"/>
                </a:lnTo>
                <a:lnTo>
                  <a:pt x="94" y="34"/>
                </a:lnTo>
                <a:lnTo>
                  <a:pt x="102" y="31"/>
                </a:lnTo>
                <a:lnTo>
                  <a:pt x="107" y="29"/>
                </a:lnTo>
                <a:lnTo>
                  <a:pt x="110" y="27"/>
                </a:lnTo>
                <a:lnTo>
                  <a:pt x="112" y="23"/>
                </a:lnTo>
                <a:lnTo>
                  <a:pt x="113" y="19"/>
                </a:lnTo>
                <a:lnTo>
                  <a:pt x="132" y="27"/>
                </a:lnTo>
                <a:lnTo>
                  <a:pt x="142" y="32"/>
                </a:lnTo>
                <a:lnTo>
                  <a:pt x="150" y="36"/>
                </a:lnTo>
                <a:lnTo>
                  <a:pt x="161" y="44"/>
                </a:lnTo>
                <a:lnTo>
                  <a:pt x="161" y="19"/>
                </a:lnTo>
                <a:lnTo>
                  <a:pt x="188" y="19"/>
                </a:lnTo>
                <a:lnTo>
                  <a:pt x="209" y="19"/>
                </a:lnTo>
                <a:lnTo>
                  <a:pt x="224" y="19"/>
                </a:lnTo>
                <a:lnTo>
                  <a:pt x="233" y="19"/>
                </a:lnTo>
                <a:lnTo>
                  <a:pt x="243" y="19"/>
                </a:lnTo>
                <a:lnTo>
                  <a:pt x="253" y="19"/>
                </a:lnTo>
                <a:lnTo>
                  <a:pt x="256" y="17"/>
                </a:lnTo>
                <a:lnTo>
                  <a:pt x="260" y="16"/>
                </a:lnTo>
                <a:lnTo>
                  <a:pt x="264" y="14"/>
                </a:lnTo>
                <a:lnTo>
                  <a:pt x="266" y="12"/>
                </a:lnTo>
                <a:lnTo>
                  <a:pt x="269" y="14"/>
                </a:lnTo>
                <a:lnTo>
                  <a:pt x="273" y="14"/>
                </a:lnTo>
                <a:lnTo>
                  <a:pt x="276" y="13"/>
                </a:lnTo>
                <a:lnTo>
                  <a:pt x="279" y="11"/>
                </a:lnTo>
                <a:lnTo>
                  <a:pt x="281" y="8"/>
                </a:lnTo>
                <a:lnTo>
                  <a:pt x="285" y="6"/>
                </a:lnTo>
                <a:lnTo>
                  <a:pt x="286" y="3"/>
                </a:lnTo>
                <a:lnTo>
                  <a:pt x="287" y="0"/>
                </a:lnTo>
                <a:lnTo>
                  <a:pt x="320" y="0"/>
                </a:lnTo>
                <a:lnTo>
                  <a:pt x="321" y="5"/>
                </a:lnTo>
                <a:lnTo>
                  <a:pt x="324" y="9"/>
                </a:lnTo>
                <a:lnTo>
                  <a:pt x="329" y="11"/>
                </a:lnTo>
                <a:lnTo>
                  <a:pt x="333" y="12"/>
                </a:lnTo>
                <a:lnTo>
                  <a:pt x="338" y="11"/>
                </a:lnTo>
                <a:lnTo>
                  <a:pt x="345" y="9"/>
                </a:lnTo>
                <a:lnTo>
                  <a:pt x="348" y="7"/>
                </a:lnTo>
                <a:lnTo>
                  <a:pt x="351" y="5"/>
                </a:lnTo>
                <a:lnTo>
                  <a:pt x="353" y="3"/>
                </a:lnTo>
                <a:lnTo>
                  <a:pt x="353" y="0"/>
                </a:lnTo>
                <a:lnTo>
                  <a:pt x="358" y="3"/>
                </a:lnTo>
                <a:lnTo>
                  <a:pt x="363" y="6"/>
                </a:lnTo>
                <a:lnTo>
                  <a:pt x="367" y="7"/>
                </a:lnTo>
                <a:lnTo>
                  <a:pt x="371" y="8"/>
                </a:lnTo>
                <a:lnTo>
                  <a:pt x="380" y="8"/>
                </a:lnTo>
                <a:lnTo>
                  <a:pt x="389" y="7"/>
                </a:lnTo>
                <a:lnTo>
                  <a:pt x="404" y="3"/>
                </a:lnTo>
                <a:lnTo>
                  <a:pt x="420" y="0"/>
                </a:lnTo>
                <a:lnTo>
                  <a:pt x="436" y="1"/>
                </a:lnTo>
                <a:lnTo>
                  <a:pt x="453" y="2"/>
                </a:lnTo>
                <a:lnTo>
                  <a:pt x="467" y="4"/>
                </a:lnTo>
                <a:lnTo>
                  <a:pt x="482" y="6"/>
                </a:lnTo>
                <a:lnTo>
                  <a:pt x="498" y="9"/>
                </a:lnTo>
                <a:lnTo>
                  <a:pt x="513" y="11"/>
                </a:lnTo>
                <a:lnTo>
                  <a:pt x="528" y="12"/>
                </a:lnTo>
                <a:lnTo>
                  <a:pt x="546" y="12"/>
                </a:lnTo>
                <a:lnTo>
                  <a:pt x="546" y="44"/>
                </a:lnTo>
                <a:lnTo>
                  <a:pt x="545" y="49"/>
                </a:lnTo>
                <a:lnTo>
                  <a:pt x="542" y="55"/>
                </a:lnTo>
                <a:lnTo>
                  <a:pt x="539" y="58"/>
                </a:lnTo>
                <a:lnTo>
                  <a:pt x="537" y="60"/>
                </a:lnTo>
                <a:lnTo>
                  <a:pt x="535" y="61"/>
                </a:lnTo>
                <a:lnTo>
                  <a:pt x="533" y="62"/>
                </a:lnTo>
                <a:lnTo>
                  <a:pt x="513" y="62"/>
                </a:lnTo>
                <a:lnTo>
                  <a:pt x="498" y="60"/>
                </a:lnTo>
                <a:lnTo>
                  <a:pt x="490" y="57"/>
                </a:lnTo>
                <a:lnTo>
                  <a:pt x="483" y="54"/>
                </a:lnTo>
                <a:lnTo>
                  <a:pt x="478" y="50"/>
                </a:lnTo>
                <a:lnTo>
                  <a:pt x="472" y="44"/>
                </a:lnTo>
                <a:lnTo>
                  <a:pt x="413" y="44"/>
                </a:lnTo>
                <a:lnTo>
                  <a:pt x="421" y="58"/>
                </a:lnTo>
                <a:lnTo>
                  <a:pt x="428" y="70"/>
                </a:lnTo>
                <a:lnTo>
                  <a:pt x="438" y="81"/>
                </a:lnTo>
                <a:lnTo>
                  <a:pt x="448" y="89"/>
                </a:lnTo>
                <a:lnTo>
                  <a:pt x="459" y="96"/>
                </a:lnTo>
                <a:lnTo>
                  <a:pt x="471" y="102"/>
                </a:lnTo>
                <a:lnTo>
                  <a:pt x="484" y="107"/>
                </a:lnTo>
                <a:lnTo>
                  <a:pt x="499" y="111"/>
                </a:lnTo>
                <a:lnTo>
                  <a:pt x="493" y="119"/>
                </a:lnTo>
                <a:lnTo>
                  <a:pt x="488" y="126"/>
                </a:lnTo>
                <a:lnTo>
                  <a:pt x="481" y="132"/>
                </a:lnTo>
                <a:lnTo>
                  <a:pt x="475" y="136"/>
                </a:lnTo>
                <a:lnTo>
                  <a:pt x="466" y="139"/>
                </a:lnTo>
                <a:lnTo>
                  <a:pt x="458" y="141"/>
                </a:lnTo>
                <a:lnTo>
                  <a:pt x="449" y="142"/>
                </a:lnTo>
                <a:lnTo>
                  <a:pt x="439" y="142"/>
                </a:lnTo>
                <a:lnTo>
                  <a:pt x="432" y="142"/>
                </a:lnTo>
                <a:lnTo>
                  <a:pt x="426" y="141"/>
                </a:lnTo>
                <a:lnTo>
                  <a:pt x="421" y="139"/>
                </a:lnTo>
                <a:lnTo>
                  <a:pt x="416" y="136"/>
                </a:lnTo>
                <a:lnTo>
                  <a:pt x="412" y="134"/>
                </a:lnTo>
                <a:lnTo>
                  <a:pt x="409" y="132"/>
                </a:lnTo>
                <a:lnTo>
                  <a:pt x="404" y="131"/>
                </a:lnTo>
                <a:lnTo>
                  <a:pt x="399" y="130"/>
                </a:lnTo>
                <a:lnTo>
                  <a:pt x="394" y="128"/>
                </a:lnTo>
                <a:lnTo>
                  <a:pt x="390" y="125"/>
                </a:lnTo>
                <a:lnTo>
                  <a:pt x="385" y="121"/>
                </a:lnTo>
                <a:lnTo>
                  <a:pt x="381" y="116"/>
                </a:lnTo>
                <a:lnTo>
                  <a:pt x="378" y="110"/>
                </a:lnTo>
                <a:lnTo>
                  <a:pt x="375" y="104"/>
                </a:lnTo>
                <a:lnTo>
                  <a:pt x="374" y="98"/>
                </a:lnTo>
                <a:lnTo>
                  <a:pt x="372" y="93"/>
                </a:lnTo>
                <a:lnTo>
                  <a:pt x="365" y="92"/>
                </a:lnTo>
                <a:lnTo>
                  <a:pt x="358" y="90"/>
                </a:lnTo>
                <a:lnTo>
                  <a:pt x="351" y="87"/>
                </a:lnTo>
                <a:lnTo>
                  <a:pt x="344" y="84"/>
                </a:lnTo>
                <a:lnTo>
                  <a:pt x="337" y="81"/>
                </a:lnTo>
                <a:lnTo>
                  <a:pt x="331" y="78"/>
                </a:lnTo>
                <a:lnTo>
                  <a:pt x="325" y="76"/>
                </a:lnTo>
                <a:lnTo>
                  <a:pt x="320" y="75"/>
                </a:lnTo>
                <a:lnTo>
                  <a:pt x="314" y="78"/>
                </a:lnTo>
                <a:lnTo>
                  <a:pt x="303" y="87"/>
                </a:lnTo>
                <a:lnTo>
                  <a:pt x="289" y="101"/>
                </a:lnTo>
                <a:lnTo>
                  <a:pt x="274" y="117"/>
                </a:lnTo>
                <a:lnTo>
                  <a:pt x="258" y="134"/>
                </a:lnTo>
                <a:lnTo>
                  <a:pt x="246" y="150"/>
                </a:lnTo>
                <a:lnTo>
                  <a:pt x="241" y="157"/>
                </a:lnTo>
                <a:lnTo>
                  <a:pt x="236" y="163"/>
                </a:lnTo>
                <a:lnTo>
                  <a:pt x="234" y="169"/>
                </a:lnTo>
                <a:lnTo>
                  <a:pt x="233" y="173"/>
                </a:lnTo>
                <a:lnTo>
                  <a:pt x="220" y="172"/>
                </a:lnTo>
                <a:lnTo>
                  <a:pt x="209" y="171"/>
                </a:lnTo>
                <a:lnTo>
                  <a:pt x="198" y="169"/>
                </a:lnTo>
                <a:lnTo>
                  <a:pt x="188" y="167"/>
                </a:lnTo>
                <a:lnTo>
                  <a:pt x="180" y="163"/>
                </a:lnTo>
                <a:lnTo>
                  <a:pt x="172" y="160"/>
                </a:lnTo>
                <a:lnTo>
                  <a:pt x="165" y="155"/>
                </a:lnTo>
                <a:lnTo>
                  <a:pt x="158" y="151"/>
                </a:lnTo>
                <a:lnTo>
                  <a:pt x="136" y="128"/>
                </a:lnTo>
                <a:lnTo>
                  <a:pt x="113" y="105"/>
                </a:lnTo>
                <a:lnTo>
                  <a:pt x="108" y="100"/>
                </a:lnTo>
                <a:lnTo>
                  <a:pt x="101" y="95"/>
                </a:lnTo>
                <a:lnTo>
                  <a:pt x="95" y="91"/>
                </a:lnTo>
                <a:lnTo>
                  <a:pt x="88" y="87"/>
                </a:lnTo>
                <a:lnTo>
                  <a:pt x="74" y="81"/>
                </a:lnTo>
                <a:lnTo>
                  <a:pt x="60" y="76"/>
                </a:lnTo>
                <a:lnTo>
                  <a:pt x="45" y="70"/>
                </a:lnTo>
                <a:lnTo>
                  <a:pt x="31" y="64"/>
                </a:lnTo>
                <a:lnTo>
                  <a:pt x="16" y="58"/>
                </a:lnTo>
                <a:lnTo>
                  <a:pt x="0" y="50"/>
                </a:lnTo>
                <a:lnTo>
                  <a:pt x="6" y="41"/>
                </a:lnTo>
                <a:lnTo>
                  <a:pt x="11" y="34"/>
                </a:lnTo>
                <a:lnTo>
                  <a:pt x="16" y="28"/>
                </a:lnTo>
                <a:lnTo>
                  <a:pt x="21" y="22"/>
                </a:lnTo>
                <a:lnTo>
                  <a:pt x="28" y="19"/>
                </a:lnTo>
                <a:lnTo>
                  <a:pt x="33" y="15"/>
                </a:lnTo>
                <a:lnTo>
                  <a:pt x="40" y="13"/>
                </a:lnTo>
                <a:lnTo>
                  <a:pt x="47" y="12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fr-FR" dirty="0"/>
          </a:p>
        </p:txBody>
      </p:sp>
      <p:sp>
        <p:nvSpPr>
          <p:cNvPr id="139" name="Freeform 549"/>
          <p:cNvSpPr>
            <a:spLocks/>
          </p:cNvSpPr>
          <p:nvPr>
            <p:custDataLst>
              <p:tags r:id="rId119"/>
            </p:custDataLst>
          </p:nvPr>
        </p:nvSpPr>
        <p:spPr bwMode="auto">
          <a:xfrm>
            <a:off x="2317237" y="2916243"/>
            <a:ext cx="78740" cy="77953"/>
          </a:xfrm>
          <a:custGeom>
            <a:avLst/>
            <a:gdLst>
              <a:gd name="T0" fmla="*/ 18707356 w 149"/>
              <a:gd name="T1" fmla="*/ 0 h 61"/>
              <a:gd name="T2" fmla="*/ 21431889 w 149"/>
              <a:gd name="T3" fmla="*/ 877861 h 61"/>
              <a:gd name="T4" fmla="*/ 24337547 w 149"/>
              <a:gd name="T5" fmla="*/ 2633584 h 61"/>
              <a:gd name="T6" fmla="*/ 26335453 w 149"/>
              <a:gd name="T7" fmla="*/ 4388370 h 61"/>
              <a:gd name="T8" fmla="*/ 27062081 w 149"/>
              <a:gd name="T9" fmla="*/ 5266232 h 61"/>
              <a:gd name="T10" fmla="*/ 27062081 w 149"/>
              <a:gd name="T11" fmla="*/ 7021955 h 61"/>
              <a:gd name="T12" fmla="*/ 26698980 w 149"/>
              <a:gd name="T13" fmla="*/ 8777678 h 61"/>
              <a:gd name="T14" fmla="*/ 26335453 w 149"/>
              <a:gd name="T15" fmla="*/ 10533401 h 61"/>
              <a:gd name="T16" fmla="*/ 25609252 w 149"/>
              <a:gd name="T17" fmla="*/ 11411262 h 61"/>
              <a:gd name="T18" fmla="*/ 24882624 w 149"/>
              <a:gd name="T19" fmla="*/ 12288187 h 61"/>
              <a:gd name="T20" fmla="*/ 23974446 w 149"/>
              <a:gd name="T21" fmla="*/ 12288187 h 61"/>
              <a:gd name="T22" fmla="*/ 23066268 w 149"/>
              <a:gd name="T23" fmla="*/ 12288187 h 61"/>
              <a:gd name="T24" fmla="*/ 22339641 w 149"/>
              <a:gd name="T25" fmla="*/ 10533401 h 61"/>
              <a:gd name="T26" fmla="*/ 22339641 w 149"/>
              <a:gd name="T27" fmla="*/ 20188003 h 61"/>
              <a:gd name="T28" fmla="*/ 22339641 w 149"/>
              <a:gd name="T29" fmla="*/ 28965681 h 61"/>
              <a:gd name="T30" fmla="*/ 22339641 w 149"/>
              <a:gd name="T31" fmla="*/ 35987636 h 61"/>
              <a:gd name="T32" fmla="*/ 22339641 w 149"/>
              <a:gd name="T33" fmla="*/ 43009591 h 61"/>
              <a:gd name="T34" fmla="*/ 21068362 w 149"/>
              <a:gd name="T35" fmla="*/ 43887452 h 61"/>
              <a:gd name="T36" fmla="*/ 19797084 w 149"/>
              <a:gd name="T37" fmla="*/ 44765314 h 61"/>
              <a:gd name="T38" fmla="*/ 18888906 w 149"/>
              <a:gd name="T39" fmla="*/ 46521037 h 61"/>
              <a:gd name="T40" fmla="*/ 18162279 w 149"/>
              <a:gd name="T41" fmla="*/ 48276760 h 61"/>
              <a:gd name="T42" fmla="*/ 17072550 w 149"/>
              <a:gd name="T43" fmla="*/ 50031546 h 61"/>
              <a:gd name="T44" fmla="*/ 16164799 w 149"/>
              <a:gd name="T45" fmla="*/ 51787269 h 61"/>
              <a:gd name="T46" fmla="*/ 15074644 w 149"/>
              <a:gd name="T47" fmla="*/ 53542992 h 61"/>
              <a:gd name="T48" fmla="*/ 13803366 w 149"/>
              <a:gd name="T49" fmla="*/ 53542992 h 61"/>
              <a:gd name="T50" fmla="*/ 12168987 w 149"/>
              <a:gd name="T51" fmla="*/ 52665130 h 61"/>
              <a:gd name="T52" fmla="*/ 9626003 w 149"/>
              <a:gd name="T53" fmla="*/ 50031546 h 61"/>
              <a:gd name="T54" fmla="*/ 7083446 w 149"/>
              <a:gd name="T55" fmla="*/ 47398898 h 61"/>
              <a:gd name="T56" fmla="*/ 4540463 w 149"/>
              <a:gd name="T57" fmla="*/ 43009591 h 61"/>
              <a:gd name="T58" fmla="*/ 2179456 w 149"/>
              <a:gd name="T59" fmla="*/ 39499082 h 61"/>
              <a:gd name="T60" fmla="*/ 545077 w 149"/>
              <a:gd name="T61" fmla="*/ 35987636 h 61"/>
              <a:gd name="T62" fmla="*/ 181550 w 149"/>
              <a:gd name="T63" fmla="*/ 34232850 h 61"/>
              <a:gd name="T64" fmla="*/ 0 w 149"/>
              <a:gd name="T65" fmla="*/ 33354989 h 61"/>
              <a:gd name="T66" fmla="*/ 0 w 149"/>
              <a:gd name="T67" fmla="*/ 32477127 h 61"/>
              <a:gd name="T68" fmla="*/ 545077 w 149"/>
              <a:gd name="T69" fmla="*/ 32477127 h 61"/>
              <a:gd name="T70" fmla="*/ 3450735 w 149"/>
              <a:gd name="T71" fmla="*/ 31599266 h 61"/>
              <a:gd name="T72" fmla="*/ 6356819 w 149"/>
              <a:gd name="T73" fmla="*/ 30721404 h 61"/>
              <a:gd name="T74" fmla="*/ 8717826 w 149"/>
              <a:gd name="T75" fmla="*/ 28087820 h 61"/>
              <a:gd name="T76" fmla="*/ 10897282 w 149"/>
              <a:gd name="T77" fmla="*/ 23699449 h 61"/>
              <a:gd name="T78" fmla="*/ 13077164 w 149"/>
              <a:gd name="T79" fmla="*/ 19310142 h 61"/>
              <a:gd name="T80" fmla="*/ 14893094 w 149"/>
              <a:gd name="T81" fmla="*/ 14043910 h 61"/>
              <a:gd name="T82" fmla="*/ 16891000 w 149"/>
              <a:gd name="T83" fmla="*/ 7021955 h 61"/>
              <a:gd name="T84" fmla="*/ 18707356 w 149"/>
              <a:gd name="T85" fmla="*/ 0 h 61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0" t="0" r="r" b="b"/>
            <a:pathLst>
              <a:path w="149" h="61">
                <a:moveTo>
                  <a:pt x="103" y="0"/>
                </a:moveTo>
                <a:lnTo>
                  <a:pt x="118" y="1"/>
                </a:lnTo>
                <a:lnTo>
                  <a:pt x="134" y="3"/>
                </a:lnTo>
                <a:lnTo>
                  <a:pt x="145" y="5"/>
                </a:lnTo>
                <a:lnTo>
                  <a:pt x="149" y="6"/>
                </a:lnTo>
                <a:lnTo>
                  <a:pt x="149" y="8"/>
                </a:lnTo>
                <a:lnTo>
                  <a:pt x="147" y="10"/>
                </a:lnTo>
                <a:lnTo>
                  <a:pt x="145" y="12"/>
                </a:lnTo>
                <a:lnTo>
                  <a:pt x="141" y="13"/>
                </a:lnTo>
                <a:lnTo>
                  <a:pt x="137" y="14"/>
                </a:lnTo>
                <a:lnTo>
                  <a:pt x="132" y="14"/>
                </a:lnTo>
                <a:lnTo>
                  <a:pt x="127" y="14"/>
                </a:lnTo>
                <a:lnTo>
                  <a:pt x="123" y="12"/>
                </a:lnTo>
                <a:lnTo>
                  <a:pt x="123" y="23"/>
                </a:lnTo>
                <a:lnTo>
                  <a:pt x="123" y="33"/>
                </a:lnTo>
                <a:lnTo>
                  <a:pt x="123" y="41"/>
                </a:lnTo>
                <a:lnTo>
                  <a:pt x="123" y="49"/>
                </a:lnTo>
                <a:lnTo>
                  <a:pt x="116" y="50"/>
                </a:lnTo>
                <a:lnTo>
                  <a:pt x="109" y="51"/>
                </a:lnTo>
                <a:lnTo>
                  <a:pt x="104" y="53"/>
                </a:lnTo>
                <a:lnTo>
                  <a:pt x="100" y="55"/>
                </a:lnTo>
                <a:lnTo>
                  <a:pt x="94" y="57"/>
                </a:lnTo>
                <a:lnTo>
                  <a:pt x="89" y="59"/>
                </a:lnTo>
                <a:lnTo>
                  <a:pt x="83" y="61"/>
                </a:lnTo>
                <a:lnTo>
                  <a:pt x="76" y="61"/>
                </a:lnTo>
                <a:lnTo>
                  <a:pt x="67" y="60"/>
                </a:lnTo>
                <a:lnTo>
                  <a:pt x="53" y="57"/>
                </a:lnTo>
                <a:lnTo>
                  <a:pt x="39" y="54"/>
                </a:lnTo>
                <a:lnTo>
                  <a:pt x="25" y="49"/>
                </a:lnTo>
                <a:lnTo>
                  <a:pt x="12" y="45"/>
                </a:lnTo>
                <a:lnTo>
                  <a:pt x="3" y="41"/>
                </a:lnTo>
                <a:lnTo>
                  <a:pt x="1" y="39"/>
                </a:lnTo>
                <a:lnTo>
                  <a:pt x="0" y="38"/>
                </a:lnTo>
                <a:lnTo>
                  <a:pt x="0" y="37"/>
                </a:lnTo>
                <a:lnTo>
                  <a:pt x="3" y="37"/>
                </a:lnTo>
                <a:lnTo>
                  <a:pt x="19" y="36"/>
                </a:lnTo>
                <a:lnTo>
                  <a:pt x="35" y="35"/>
                </a:lnTo>
                <a:lnTo>
                  <a:pt x="48" y="32"/>
                </a:lnTo>
                <a:lnTo>
                  <a:pt x="60" y="27"/>
                </a:lnTo>
                <a:lnTo>
                  <a:pt x="72" y="22"/>
                </a:lnTo>
                <a:lnTo>
                  <a:pt x="82" y="16"/>
                </a:lnTo>
                <a:lnTo>
                  <a:pt x="93" y="8"/>
                </a:lnTo>
                <a:lnTo>
                  <a:pt x="103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fr-FR" dirty="0"/>
          </a:p>
        </p:txBody>
      </p:sp>
      <p:sp>
        <p:nvSpPr>
          <p:cNvPr id="140" name="Freeform 550"/>
          <p:cNvSpPr>
            <a:spLocks/>
          </p:cNvSpPr>
          <p:nvPr>
            <p:custDataLst>
              <p:tags r:id="rId120"/>
            </p:custDataLst>
          </p:nvPr>
        </p:nvSpPr>
        <p:spPr bwMode="auto">
          <a:xfrm>
            <a:off x="2362512" y="2927069"/>
            <a:ext cx="161417" cy="77953"/>
          </a:xfrm>
          <a:custGeom>
            <a:avLst/>
            <a:gdLst>
              <a:gd name="T0" fmla="*/ 25209542 w 299"/>
              <a:gd name="T1" fmla="*/ 42943591 h 74"/>
              <a:gd name="T2" fmla="*/ 29190111 w 299"/>
              <a:gd name="T3" fmla="*/ 38768552 h 74"/>
              <a:gd name="T4" fmla="*/ 33738835 w 299"/>
              <a:gd name="T5" fmla="*/ 32207886 h 74"/>
              <a:gd name="T6" fmla="*/ 37719404 w 299"/>
              <a:gd name="T7" fmla="*/ 25050235 h 74"/>
              <a:gd name="T8" fmla="*/ 39235790 w 299"/>
              <a:gd name="T9" fmla="*/ 23857808 h 74"/>
              <a:gd name="T10" fmla="*/ 39994201 w 299"/>
              <a:gd name="T11" fmla="*/ 27436634 h 74"/>
              <a:gd name="T12" fmla="*/ 41699972 w 299"/>
              <a:gd name="T13" fmla="*/ 30418474 h 74"/>
              <a:gd name="T14" fmla="*/ 46059311 w 299"/>
              <a:gd name="T15" fmla="*/ 32804100 h 74"/>
              <a:gd name="T16" fmla="*/ 50987675 w 299"/>
              <a:gd name="T17" fmla="*/ 32804100 h 74"/>
              <a:gd name="T18" fmla="*/ 54209833 w 299"/>
              <a:gd name="T19" fmla="*/ 32804100 h 74"/>
              <a:gd name="T20" fmla="*/ 55536835 w 299"/>
              <a:gd name="T21" fmla="*/ 27436634 h 74"/>
              <a:gd name="T22" fmla="*/ 56484630 w 299"/>
              <a:gd name="T23" fmla="*/ 18489570 h 74"/>
              <a:gd name="T24" fmla="*/ 52883267 w 299"/>
              <a:gd name="T25" fmla="*/ 14910744 h 74"/>
              <a:gd name="T26" fmla="*/ 46249131 w 299"/>
              <a:gd name="T27" fmla="*/ 14910744 h 74"/>
              <a:gd name="T28" fmla="*/ 42647768 w 299"/>
              <a:gd name="T29" fmla="*/ 14910744 h 74"/>
              <a:gd name="T30" fmla="*/ 40562791 w 299"/>
              <a:gd name="T31" fmla="*/ 16103943 h 74"/>
              <a:gd name="T32" fmla="*/ 38667199 w 299"/>
              <a:gd name="T33" fmla="*/ 19682769 h 74"/>
              <a:gd name="T34" fmla="*/ 32601654 w 299"/>
              <a:gd name="T35" fmla="*/ 22068395 h 74"/>
              <a:gd name="T36" fmla="*/ 33360065 w 299"/>
              <a:gd name="T37" fmla="*/ 16700157 h 74"/>
              <a:gd name="T38" fmla="*/ 34118040 w 299"/>
              <a:gd name="T39" fmla="*/ 12525118 h 74"/>
              <a:gd name="T40" fmla="*/ 36771608 w 299"/>
              <a:gd name="T41" fmla="*/ 7753865 h 74"/>
              <a:gd name="T42" fmla="*/ 39804380 w 299"/>
              <a:gd name="T43" fmla="*/ 5368239 h 74"/>
              <a:gd name="T44" fmla="*/ 42647768 w 299"/>
              <a:gd name="T45" fmla="*/ 0 h 74"/>
              <a:gd name="T46" fmla="*/ 35065836 w 299"/>
              <a:gd name="T47" fmla="*/ 1789413 h 74"/>
              <a:gd name="T48" fmla="*/ 29758702 w 299"/>
              <a:gd name="T49" fmla="*/ 6560666 h 74"/>
              <a:gd name="T50" fmla="*/ 25398928 w 299"/>
              <a:gd name="T51" fmla="*/ 14910744 h 74"/>
              <a:gd name="T52" fmla="*/ 21608179 w 299"/>
              <a:gd name="T53" fmla="*/ 23857808 h 74"/>
              <a:gd name="T54" fmla="*/ 18954612 w 299"/>
              <a:gd name="T55" fmla="*/ 31611673 h 74"/>
              <a:gd name="T56" fmla="*/ 16490430 w 299"/>
              <a:gd name="T57" fmla="*/ 35190499 h 74"/>
              <a:gd name="T58" fmla="*/ 12131091 w 299"/>
              <a:gd name="T59" fmla="*/ 37576125 h 74"/>
              <a:gd name="T60" fmla="*/ 6065545 w 299"/>
              <a:gd name="T61" fmla="*/ 38172339 h 74"/>
              <a:gd name="T62" fmla="*/ 2274362 w 299"/>
              <a:gd name="T63" fmla="*/ 39961751 h 74"/>
              <a:gd name="T64" fmla="*/ 379205 w 299"/>
              <a:gd name="T65" fmla="*/ 41751164 h 74"/>
              <a:gd name="T66" fmla="*/ 7392111 w 299"/>
              <a:gd name="T67" fmla="*/ 44136791 h 74"/>
              <a:gd name="T68" fmla="*/ 19333817 w 299"/>
              <a:gd name="T69" fmla="*/ 44136791 h 74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0" t="0" r="r" b="b"/>
            <a:pathLst>
              <a:path w="299" h="74">
                <a:moveTo>
                  <a:pt x="126" y="74"/>
                </a:moveTo>
                <a:lnTo>
                  <a:pt x="133" y="72"/>
                </a:lnTo>
                <a:lnTo>
                  <a:pt x="142" y="69"/>
                </a:lnTo>
                <a:lnTo>
                  <a:pt x="154" y="65"/>
                </a:lnTo>
                <a:lnTo>
                  <a:pt x="166" y="60"/>
                </a:lnTo>
                <a:lnTo>
                  <a:pt x="178" y="54"/>
                </a:lnTo>
                <a:lnTo>
                  <a:pt x="189" y="48"/>
                </a:lnTo>
                <a:lnTo>
                  <a:pt x="199" y="42"/>
                </a:lnTo>
                <a:lnTo>
                  <a:pt x="205" y="37"/>
                </a:lnTo>
                <a:lnTo>
                  <a:pt x="207" y="40"/>
                </a:lnTo>
                <a:lnTo>
                  <a:pt x="209" y="43"/>
                </a:lnTo>
                <a:lnTo>
                  <a:pt x="211" y="46"/>
                </a:lnTo>
                <a:lnTo>
                  <a:pt x="214" y="48"/>
                </a:lnTo>
                <a:lnTo>
                  <a:pt x="220" y="51"/>
                </a:lnTo>
                <a:lnTo>
                  <a:pt x="227" y="53"/>
                </a:lnTo>
                <a:lnTo>
                  <a:pt x="243" y="55"/>
                </a:lnTo>
                <a:lnTo>
                  <a:pt x="259" y="55"/>
                </a:lnTo>
                <a:lnTo>
                  <a:pt x="269" y="55"/>
                </a:lnTo>
                <a:lnTo>
                  <a:pt x="278" y="55"/>
                </a:lnTo>
                <a:lnTo>
                  <a:pt x="286" y="55"/>
                </a:lnTo>
                <a:lnTo>
                  <a:pt x="292" y="55"/>
                </a:lnTo>
                <a:lnTo>
                  <a:pt x="293" y="46"/>
                </a:lnTo>
                <a:lnTo>
                  <a:pt x="295" y="38"/>
                </a:lnTo>
                <a:lnTo>
                  <a:pt x="298" y="31"/>
                </a:lnTo>
                <a:lnTo>
                  <a:pt x="299" y="25"/>
                </a:lnTo>
                <a:lnTo>
                  <a:pt x="279" y="25"/>
                </a:lnTo>
                <a:lnTo>
                  <a:pt x="260" y="25"/>
                </a:lnTo>
                <a:lnTo>
                  <a:pt x="244" y="25"/>
                </a:lnTo>
                <a:lnTo>
                  <a:pt x="232" y="25"/>
                </a:lnTo>
                <a:lnTo>
                  <a:pt x="225" y="25"/>
                </a:lnTo>
                <a:lnTo>
                  <a:pt x="220" y="26"/>
                </a:lnTo>
                <a:lnTo>
                  <a:pt x="214" y="27"/>
                </a:lnTo>
                <a:lnTo>
                  <a:pt x="211" y="29"/>
                </a:lnTo>
                <a:lnTo>
                  <a:pt x="204" y="33"/>
                </a:lnTo>
                <a:lnTo>
                  <a:pt x="199" y="37"/>
                </a:lnTo>
                <a:lnTo>
                  <a:pt x="172" y="37"/>
                </a:lnTo>
                <a:lnTo>
                  <a:pt x="174" y="32"/>
                </a:lnTo>
                <a:lnTo>
                  <a:pt x="176" y="28"/>
                </a:lnTo>
                <a:lnTo>
                  <a:pt x="178" y="24"/>
                </a:lnTo>
                <a:lnTo>
                  <a:pt x="180" y="21"/>
                </a:lnTo>
                <a:lnTo>
                  <a:pt x="187" y="16"/>
                </a:lnTo>
                <a:lnTo>
                  <a:pt x="194" y="13"/>
                </a:lnTo>
                <a:lnTo>
                  <a:pt x="202" y="11"/>
                </a:lnTo>
                <a:lnTo>
                  <a:pt x="210" y="9"/>
                </a:lnTo>
                <a:lnTo>
                  <a:pt x="217" y="5"/>
                </a:lnTo>
                <a:lnTo>
                  <a:pt x="225" y="0"/>
                </a:lnTo>
                <a:lnTo>
                  <a:pt x="199" y="0"/>
                </a:lnTo>
                <a:lnTo>
                  <a:pt x="185" y="3"/>
                </a:lnTo>
                <a:lnTo>
                  <a:pt x="170" y="7"/>
                </a:lnTo>
                <a:lnTo>
                  <a:pt x="157" y="11"/>
                </a:lnTo>
                <a:lnTo>
                  <a:pt x="145" y="18"/>
                </a:lnTo>
                <a:lnTo>
                  <a:pt x="134" y="25"/>
                </a:lnTo>
                <a:lnTo>
                  <a:pt x="123" y="32"/>
                </a:lnTo>
                <a:lnTo>
                  <a:pt x="114" y="40"/>
                </a:lnTo>
                <a:lnTo>
                  <a:pt x="105" y="49"/>
                </a:lnTo>
                <a:lnTo>
                  <a:pt x="100" y="53"/>
                </a:lnTo>
                <a:lnTo>
                  <a:pt x="95" y="56"/>
                </a:lnTo>
                <a:lnTo>
                  <a:pt x="87" y="59"/>
                </a:lnTo>
                <a:lnTo>
                  <a:pt x="80" y="61"/>
                </a:lnTo>
                <a:lnTo>
                  <a:pt x="64" y="63"/>
                </a:lnTo>
                <a:lnTo>
                  <a:pt x="47" y="64"/>
                </a:lnTo>
                <a:lnTo>
                  <a:pt x="32" y="64"/>
                </a:lnTo>
                <a:lnTo>
                  <a:pt x="18" y="65"/>
                </a:lnTo>
                <a:lnTo>
                  <a:pt x="12" y="67"/>
                </a:lnTo>
                <a:lnTo>
                  <a:pt x="7" y="68"/>
                </a:lnTo>
                <a:lnTo>
                  <a:pt x="2" y="70"/>
                </a:lnTo>
                <a:lnTo>
                  <a:pt x="0" y="74"/>
                </a:lnTo>
                <a:lnTo>
                  <a:pt x="39" y="74"/>
                </a:lnTo>
                <a:lnTo>
                  <a:pt x="73" y="74"/>
                </a:lnTo>
                <a:lnTo>
                  <a:pt x="102" y="74"/>
                </a:lnTo>
                <a:lnTo>
                  <a:pt x="126" y="74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fr-FR" dirty="0"/>
          </a:p>
        </p:txBody>
      </p:sp>
      <p:pic>
        <p:nvPicPr>
          <p:cNvPr id="148" name="Image 147"/>
          <p:cNvPicPr>
            <a:picLocks noChangeAspect="1"/>
          </p:cNvPicPr>
          <p:nvPr/>
        </p:nvPicPr>
        <p:blipFill>
          <a:blip r:embed="rId1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85" y="4869160"/>
            <a:ext cx="886524" cy="886524"/>
          </a:xfrm>
          <a:prstGeom prst="rect">
            <a:avLst/>
          </a:prstGeom>
        </p:spPr>
      </p:pic>
      <p:grpSp>
        <p:nvGrpSpPr>
          <p:cNvPr id="13" name="Groupe 12"/>
          <p:cNvGrpSpPr/>
          <p:nvPr/>
        </p:nvGrpSpPr>
        <p:grpSpPr>
          <a:xfrm>
            <a:off x="2395977" y="5229200"/>
            <a:ext cx="2054011" cy="914693"/>
            <a:chOff x="2395977" y="5915206"/>
            <a:chExt cx="2054011" cy="914693"/>
          </a:xfrm>
        </p:grpSpPr>
        <p:pic>
          <p:nvPicPr>
            <p:cNvPr id="150" name="Image 149"/>
            <p:cNvPicPr>
              <a:picLocks noChangeAspect="1"/>
            </p:cNvPicPr>
            <p:nvPr/>
          </p:nvPicPr>
          <p:blipFill>
            <a:blip r:embed="rId12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395977" y="5915206"/>
              <a:ext cx="913877" cy="914693"/>
            </a:xfrm>
            <a:prstGeom prst="rect">
              <a:avLst/>
            </a:prstGeom>
          </p:spPr>
        </p:pic>
        <p:pic>
          <p:nvPicPr>
            <p:cNvPr id="151" name="Image 150"/>
            <p:cNvPicPr>
              <a:picLocks noChangeAspect="1"/>
            </p:cNvPicPr>
            <p:nvPr/>
          </p:nvPicPr>
          <p:blipFill>
            <a:blip r:embed="rId12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444095" y="6180785"/>
              <a:ext cx="1005893" cy="504533"/>
            </a:xfrm>
            <a:prstGeom prst="rect">
              <a:avLst/>
            </a:prstGeom>
          </p:spPr>
        </p:pic>
      </p:grpSp>
      <p:grpSp>
        <p:nvGrpSpPr>
          <p:cNvPr id="8" name="Groupe 7"/>
          <p:cNvGrpSpPr/>
          <p:nvPr/>
        </p:nvGrpSpPr>
        <p:grpSpPr>
          <a:xfrm>
            <a:off x="70259" y="1484784"/>
            <a:ext cx="8655341" cy="987230"/>
            <a:chOff x="70259" y="2723358"/>
            <a:chExt cx="8655341" cy="987230"/>
          </a:xfrm>
        </p:grpSpPr>
        <p:pic>
          <p:nvPicPr>
            <p:cNvPr id="7" name="Image 6"/>
            <p:cNvPicPr>
              <a:picLocks noChangeAspect="1"/>
            </p:cNvPicPr>
            <p:nvPr/>
          </p:nvPicPr>
          <p:blipFill>
            <a:blip r:embed="rId12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0259" y="2897139"/>
              <a:ext cx="2183001" cy="551208"/>
            </a:xfrm>
            <a:prstGeom prst="rect">
              <a:avLst/>
            </a:prstGeom>
          </p:spPr>
        </p:pic>
        <p:pic>
          <p:nvPicPr>
            <p:cNvPr id="9" name="Image 8"/>
            <p:cNvPicPr>
              <a:picLocks noChangeAspect="1"/>
            </p:cNvPicPr>
            <p:nvPr/>
          </p:nvPicPr>
          <p:blipFill>
            <a:blip r:embed="rId12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137316" y="3044002"/>
              <a:ext cx="1907565" cy="410860"/>
            </a:xfrm>
            <a:prstGeom prst="rect">
              <a:avLst/>
            </a:prstGeom>
          </p:spPr>
        </p:pic>
        <p:pic>
          <p:nvPicPr>
            <p:cNvPr id="10" name="Image 9"/>
            <p:cNvPicPr>
              <a:picLocks noChangeAspect="1"/>
            </p:cNvPicPr>
            <p:nvPr/>
          </p:nvPicPr>
          <p:blipFill>
            <a:blip r:embed="rId12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103116" y="3008123"/>
              <a:ext cx="1622484" cy="470520"/>
            </a:xfrm>
            <a:prstGeom prst="rect">
              <a:avLst/>
            </a:prstGeom>
          </p:spPr>
        </p:pic>
        <p:pic>
          <p:nvPicPr>
            <p:cNvPr id="152" name="Image 151"/>
            <p:cNvPicPr>
              <a:picLocks noChangeAspect="1"/>
            </p:cNvPicPr>
            <p:nvPr/>
          </p:nvPicPr>
          <p:blipFill>
            <a:blip r:embed="rId12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370965" y="3073939"/>
              <a:ext cx="1672490" cy="423903"/>
            </a:xfrm>
            <a:prstGeom prst="rect">
              <a:avLst/>
            </a:prstGeom>
          </p:spPr>
        </p:pic>
        <p:pic>
          <p:nvPicPr>
            <p:cNvPr id="1027" name="Picture 3" descr="C:\Users\RENAUDIN\Dropbox\EURIPIDES (1)\EURIPIDES OFFICE\EVENTS\Stockholm event\POSTERS\SYM Yazılım ve Bilişim Hizmetleri San.Tic.Ltd.Şti. logo.png"/>
            <p:cNvPicPr>
              <a:picLocks noChangeAspect="1" noChangeArrowheads="1"/>
            </p:cNvPicPr>
            <p:nvPr/>
          </p:nvPicPr>
          <p:blipFill>
            <a:blip r:embed="rId13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247727" y="2723358"/>
              <a:ext cx="987230" cy="98723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1" name="Groupe 10"/>
          <p:cNvGrpSpPr/>
          <p:nvPr/>
        </p:nvGrpSpPr>
        <p:grpSpPr>
          <a:xfrm>
            <a:off x="5985720" y="2880583"/>
            <a:ext cx="2480456" cy="1988577"/>
            <a:chOff x="5985720" y="3631532"/>
            <a:chExt cx="2480456" cy="1988577"/>
          </a:xfrm>
        </p:grpSpPr>
        <p:pic>
          <p:nvPicPr>
            <p:cNvPr id="149" name="Image 148"/>
            <p:cNvPicPr>
              <a:picLocks noChangeAspect="1"/>
            </p:cNvPicPr>
            <p:nvPr/>
          </p:nvPicPr>
          <p:blipFill>
            <a:blip r:embed="rId13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532050" y="4200557"/>
              <a:ext cx="1335211" cy="590574"/>
            </a:xfrm>
            <a:prstGeom prst="rect">
              <a:avLst/>
            </a:prstGeom>
          </p:spPr>
        </p:pic>
        <p:pic>
          <p:nvPicPr>
            <p:cNvPr id="1026" name="Picture 2" descr="See original image"/>
            <p:cNvPicPr>
              <a:picLocks noChangeAspect="1" noChangeArrowheads="1"/>
            </p:cNvPicPr>
            <p:nvPr/>
          </p:nvPicPr>
          <p:blipFill>
            <a:blip r:embed="rId13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583063" y="4791810"/>
              <a:ext cx="1341055" cy="82829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53" name="Image 152"/>
            <p:cNvPicPr>
              <a:picLocks noChangeAspect="1"/>
            </p:cNvPicPr>
            <p:nvPr/>
          </p:nvPicPr>
          <p:blipFill>
            <a:blip r:embed="rId13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985720" y="3631532"/>
              <a:ext cx="2480456" cy="609685"/>
            </a:xfrm>
            <a:prstGeom prst="rect">
              <a:avLst/>
            </a:prstGeom>
          </p:spPr>
        </p:pic>
      </p:grpSp>
      <p:sp>
        <p:nvSpPr>
          <p:cNvPr id="6" name="ZoneTexte 5"/>
          <p:cNvSpPr txBox="1"/>
          <p:nvPr/>
        </p:nvSpPr>
        <p:spPr>
          <a:xfrm>
            <a:off x="6408525" y="5169966"/>
            <a:ext cx="2627971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dirty="0" smtClean="0"/>
              <a:t>Start: 2015</a:t>
            </a:r>
          </a:p>
          <a:p>
            <a:r>
              <a:rPr lang="fr-FR" dirty="0" smtClean="0"/>
              <a:t>End: 2018</a:t>
            </a:r>
          </a:p>
          <a:p>
            <a:r>
              <a:rPr lang="en-GB" dirty="0" smtClean="0"/>
              <a:t>Cost</a:t>
            </a:r>
            <a:r>
              <a:rPr lang="fr-FR" dirty="0" smtClean="0"/>
              <a:t>: 5,5 M€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761892226"/>
      </p:ext>
    </p:extLst>
  </p:cSld>
  <p:clrMapOvr>
    <a:masterClrMapping/>
  </p:clrMapOvr>
  <p:transition spd="med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13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3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1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6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6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3" dur="500" fill="hold"/>
                                        <p:tgtEl>
                                          <p:spTgt spid="8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500" fill="hold"/>
                                        <p:tgtEl>
                                          <p:spTgt spid="8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0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1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2" fill="hold">
                      <p:stCondLst>
                        <p:cond delay="indefinite"/>
                      </p:stCondLst>
                      <p:childTnLst>
                        <p:par>
                          <p:cTn id="43" fill="hold">
                            <p:stCondLst>
                              <p:cond delay="0"/>
                            </p:stCondLst>
                            <p:childTnLst>
                              <p:par>
                                <p:cTn id="44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6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7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3" dur="500" fill="hold"/>
                                        <p:tgtEl>
                                          <p:spTgt spid="14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4" dur="500" fill="hold"/>
                                        <p:tgtEl>
                                          <p:spTgt spid="14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" fill="hold">
                      <p:stCondLst>
                        <p:cond delay="indefinite"/>
                      </p:stCondLst>
                      <p:childTnLst>
                        <p:par>
                          <p:cTn id="56" fill="hold">
                            <p:stCondLst>
                              <p:cond delay="0"/>
                            </p:stCondLst>
                            <p:childTnLst>
                              <p:par>
                                <p:cTn id="5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9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0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7" grpId="0" animBg="1"/>
      <p:bldP spid="62" grpId="0" animBg="1"/>
      <p:bldP spid="82" grpId="0" animBg="1"/>
      <p:bldP spid="6" grpId="0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GB" dirty="0"/>
              <a:t>ADORAS: Advanced Onboard Data Recording and System Analysi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8C080AE-66C8-8249-B90B-B6D109566B0C}" type="slidenum">
              <a:rPr lang="en-GB" smtClean="0"/>
              <a:pPr/>
              <a:t>23</a:t>
            </a:fld>
            <a:endParaRPr lang="en-GB" dirty="0"/>
          </a:p>
        </p:txBody>
      </p:sp>
      <p:sp>
        <p:nvSpPr>
          <p:cNvPr id="36" name="Rectangle 12"/>
          <p:cNvSpPr>
            <a:spLocks/>
          </p:cNvSpPr>
          <p:nvPr/>
        </p:nvSpPr>
        <p:spPr bwMode="auto">
          <a:xfrm>
            <a:off x="550388" y="1828800"/>
            <a:ext cx="7911224" cy="172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algn="ctr">
              <a:defRPr sz="56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algn="ctr">
              <a:defRPr sz="56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algn="ctr">
              <a:defRPr sz="56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algn="ctr">
              <a:defRPr sz="56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algn="ctr">
              <a:defRPr sz="56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56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56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56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56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l" eaLnBrk="1" hangingPunct="1"/>
            <a:r>
              <a:rPr lang="en-GB" sz="1800" b="1" dirty="0" smtClean="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  <a:sym typeface="Lato" panose="020F0502020204030203" pitchFamily="34" charset="0"/>
              </a:rPr>
              <a:t>            </a:t>
            </a:r>
            <a:endParaRPr lang="en-GB" sz="1600" dirty="0">
              <a:solidFill>
                <a:schemeClr val="tx1"/>
              </a:solidFill>
              <a:latin typeface="+mn-lt"/>
              <a:ea typeface="Lato" panose="020F0502020204030203" pitchFamily="34" charset="0"/>
              <a:cs typeface="Lato" panose="020F0502020204030203" pitchFamily="34" charset="0"/>
              <a:sym typeface="Lato" panose="020F0502020204030203" pitchFamily="34" charset="0"/>
            </a:endParaRPr>
          </a:p>
        </p:txBody>
      </p:sp>
      <p:pic>
        <p:nvPicPr>
          <p:cNvPr id="9" name="Image 8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05522" y="3449122"/>
            <a:ext cx="1907565" cy="410860"/>
          </a:xfrm>
          <a:prstGeom prst="rect">
            <a:avLst/>
          </a:prstGeom>
        </p:spPr>
      </p:pic>
      <p:pic>
        <p:nvPicPr>
          <p:cNvPr id="10" name="Image 9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2679" y="5118720"/>
            <a:ext cx="1622484" cy="470520"/>
          </a:xfrm>
          <a:prstGeom prst="rect">
            <a:avLst/>
          </a:prstGeom>
        </p:spPr>
      </p:pic>
      <p:pic>
        <p:nvPicPr>
          <p:cNvPr id="148" name="Image 147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89073" y="5085184"/>
            <a:ext cx="886524" cy="886524"/>
          </a:xfrm>
          <a:prstGeom prst="rect">
            <a:avLst/>
          </a:prstGeom>
        </p:spPr>
      </p:pic>
      <p:pic>
        <p:nvPicPr>
          <p:cNvPr id="149" name="Image 148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71973" y="3381303"/>
            <a:ext cx="1335211" cy="590574"/>
          </a:xfrm>
          <a:prstGeom prst="rect">
            <a:avLst/>
          </a:prstGeom>
        </p:spPr>
      </p:pic>
      <p:grpSp>
        <p:nvGrpSpPr>
          <p:cNvPr id="11" name="Groupe 10"/>
          <p:cNvGrpSpPr/>
          <p:nvPr/>
        </p:nvGrpSpPr>
        <p:grpSpPr>
          <a:xfrm>
            <a:off x="5048491" y="5085184"/>
            <a:ext cx="1931167" cy="914693"/>
            <a:chOff x="5048491" y="5728750"/>
            <a:chExt cx="1931167" cy="914693"/>
          </a:xfrm>
        </p:grpSpPr>
        <p:pic>
          <p:nvPicPr>
            <p:cNvPr id="150" name="Image 149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065781" y="5728750"/>
              <a:ext cx="913877" cy="914693"/>
            </a:xfrm>
            <a:prstGeom prst="rect">
              <a:avLst/>
            </a:prstGeom>
          </p:spPr>
        </p:pic>
        <p:pic>
          <p:nvPicPr>
            <p:cNvPr id="151" name="Image 150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048491" y="5935354"/>
              <a:ext cx="1005893" cy="504533"/>
            </a:xfrm>
            <a:prstGeom prst="rect">
              <a:avLst/>
            </a:prstGeom>
          </p:spPr>
        </p:pic>
      </p:grpSp>
      <p:pic>
        <p:nvPicPr>
          <p:cNvPr id="152" name="Image 151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4288" y="3365137"/>
            <a:ext cx="1672490" cy="423903"/>
          </a:xfrm>
          <a:prstGeom prst="rect">
            <a:avLst/>
          </a:prstGeom>
        </p:spPr>
      </p:pic>
      <p:pic>
        <p:nvPicPr>
          <p:cNvPr id="1027" name="Picture 3" descr="C:\Users\RENAUDIN\Dropbox\EURIPIDES (1)\EURIPIDES OFFICE\EVENTS\Stockholm event\POSTERS\SYM Yazılım ve Bilişim Hizmetleri San.Tic.Ltd.Şti. logo.png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55939" y="4746026"/>
            <a:ext cx="987230" cy="9872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8" name="Groupe 7"/>
          <p:cNvGrpSpPr/>
          <p:nvPr/>
        </p:nvGrpSpPr>
        <p:grpSpPr>
          <a:xfrm>
            <a:off x="251520" y="2918303"/>
            <a:ext cx="1497243" cy="1237078"/>
            <a:chOff x="285265" y="3800706"/>
            <a:chExt cx="1497243" cy="1237078"/>
          </a:xfrm>
        </p:grpSpPr>
        <p:pic>
          <p:nvPicPr>
            <p:cNvPr id="1026" name="Picture 2" descr="See original image"/>
            <p:cNvPicPr>
              <a:picLocks noChangeAspect="1" noChangeArrowheads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21484" y="4209485"/>
              <a:ext cx="1341055" cy="82829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53" name="Image 152"/>
            <p:cNvPicPr>
              <a:picLocks noChangeAspect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85265" y="3800706"/>
              <a:ext cx="1497243" cy="368016"/>
            </a:xfrm>
            <a:prstGeom prst="rect">
              <a:avLst/>
            </a:prstGeom>
          </p:spPr>
        </p:pic>
      </p:grpSp>
      <p:sp>
        <p:nvSpPr>
          <p:cNvPr id="6" name="ZoneTexte 5"/>
          <p:cNvSpPr txBox="1"/>
          <p:nvPr/>
        </p:nvSpPr>
        <p:spPr>
          <a:xfrm>
            <a:off x="123474" y="2420888"/>
            <a:ext cx="1913668" cy="408623"/>
          </a:xfrm>
          <a:prstGeom prst="flowChartAlternateProcess">
            <a:avLst/>
          </a:prstGeom>
          <a:solidFill>
            <a:srgbClr val="00A0D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GB" b="1" dirty="0" smtClean="0"/>
              <a:t>Video camera</a:t>
            </a:r>
            <a:endParaRPr lang="en-GB" b="1" dirty="0"/>
          </a:p>
        </p:txBody>
      </p:sp>
      <p:sp>
        <p:nvSpPr>
          <p:cNvPr id="154" name="ZoneTexte 153"/>
          <p:cNvSpPr txBox="1"/>
          <p:nvPr/>
        </p:nvSpPr>
        <p:spPr>
          <a:xfrm>
            <a:off x="2175154" y="2614949"/>
            <a:ext cx="1913668" cy="715089"/>
          </a:xfrm>
          <a:prstGeom prst="roundRect">
            <a:avLst/>
          </a:prstGeom>
          <a:solidFill>
            <a:srgbClr val="00A0D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>
            <a:defPPr>
              <a:defRPr lang="nl-NL"/>
            </a:defPPr>
            <a:lvl1pPr algn="ctr">
              <a:defRPr b="1"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GB" dirty="0"/>
              <a:t>Sign recognition</a:t>
            </a:r>
          </a:p>
        </p:txBody>
      </p:sp>
      <p:sp>
        <p:nvSpPr>
          <p:cNvPr id="155" name="ZoneTexte 154"/>
          <p:cNvSpPr txBox="1"/>
          <p:nvPr/>
        </p:nvSpPr>
        <p:spPr>
          <a:xfrm>
            <a:off x="4281048" y="2628449"/>
            <a:ext cx="2363812" cy="715089"/>
          </a:xfrm>
          <a:prstGeom prst="roundRect">
            <a:avLst/>
          </a:prstGeom>
          <a:solidFill>
            <a:srgbClr val="00A0D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>
            <a:defPPr>
              <a:defRPr lang="nl-NL"/>
            </a:defPPr>
            <a:lvl1pPr algn="ctr">
              <a:defRPr b="1"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GB" dirty="0"/>
              <a:t>Obstacle recognition</a:t>
            </a:r>
          </a:p>
        </p:txBody>
      </p:sp>
      <p:sp>
        <p:nvSpPr>
          <p:cNvPr id="156" name="ZoneTexte 155"/>
          <p:cNvSpPr txBox="1"/>
          <p:nvPr/>
        </p:nvSpPr>
        <p:spPr>
          <a:xfrm>
            <a:off x="6945222" y="2780849"/>
            <a:ext cx="1992493" cy="408623"/>
          </a:xfrm>
          <a:prstGeom prst="roundRect">
            <a:avLst/>
          </a:prstGeom>
          <a:solidFill>
            <a:srgbClr val="00A0D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>
            <a:defPPr>
              <a:defRPr lang="nl-NL"/>
            </a:defPPr>
            <a:lvl1pPr algn="ctr">
              <a:defRPr b="1"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GB" dirty="0"/>
              <a:t>Geolocalisation</a:t>
            </a:r>
          </a:p>
        </p:txBody>
      </p:sp>
      <p:sp>
        <p:nvSpPr>
          <p:cNvPr id="157" name="ZoneTexte 156"/>
          <p:cNvSpPr txBox="1"/>
          <p:nvPr/>
        </p:nvSpPr>
        <p:spPr>
          <a:xfrm>
            <a:off x="192922" y="4298087"/>
            <a:ext cx="2341933" cy="715089"/>
          </a:xfrm>
          <a:prstGeom prst="roundRect">
            <a:avLst/>
          </a:prstGeom>
          <a:solidFill>
            <a:srgbClr val="00A0D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>
            <a:defPPr>
              <a:defRPr lang="nl-NL"/>
            </a:defPPr>
            <a:lvl1pPr algn="ctr">
              <a:defRPr b="1"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GB" dirty="0"/>
              <a:t>Wearable sensors</a:t>
            </a:r>
          </a:p>
          <a:p>
            <a:r>
              <a:rPr lang="en-GB" dirty="0"/>
              <a:t>Train driver</a:t>
            </a:r>
          </a:p>
        </p:txBody>
      </p:sp>
      <p:sp>
        <p:nvSpPr>
          <p:cNvPr id="158" name="ZoneTexte 157"/>
          <p:cNvSpPr txBox="1"/>
          <p:nvPr/>
        </p:nvSpPr>
        <p:spPr>
          <a:xfrm>
            <a:off x="2742325" y="4062036"/>
            <a:ext cx="2027423" cy="715089"/>
          </a:xfrm>
          <a:prstGeom prst="roundRect">
            <a:avLst/>
          </a:prstGeom>
          <a:solidFill>
            <a:srgbClr val="00A0D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>
            <a:defPPr>
              <a:defRPr lang="nl-NL"/>
            </a:defPPr>
            <a:lvl1pPr algn="ctr">
              <a:defRPr b="1"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GB" dirty="0"/>
              <a:t>Communication architecture</a:t>
            </a:r>
          </a:p>
        </p:txBody>
      </p:sp>
      <p:sp>
        <p:nvSpPr>
          <p:cNvPr id="159" name="ZoneTexte 158"/>
          <p:cNvSpPr txBox="1"/>
          <p:nvPr/>
        </p:nvSpPr>
        <p:spPr>
          <a:xfrm>
            <a:off x="5161335" y="4372069"/>
            <a:ext cx="1659019" cy="408623"/>
          </a:xfrm>
          <a:prstGeom prst="roundRect">
            <a:avLst/>
          </a:prstGeom>
          <a:solidFill>
            <a:srgbClr val="00A0D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>
            <a:defPPr>
              <a:defRPr lang="nl-NL"/>
            </a:defPPr>
            <a:lvl1pPr algn="ctr">
              <a:defRPr b="1"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GB" dirty="0"/>
              <a:t>Video search</a:t>
            </a:r>
          </a:p>
        </p:txBody>
      </p:sp>
      <p:sp>
        <p:nvSpPr>
          <p:cNvPr id="160" name="ZoneTexte 159"/>
          <p:cNvSpPr txBox="1"/>
          <p:nvPr/>
        </p:nvSpPr>
        <p:spPr>
          <a:xfrm>
            <a:off x="7181611" y="3938047"/>
            <a:ext cx="1856846" cy="715089"/>
          </a:xfrm>
          <a:prstGeom prst="roundRect">
            <a:avLst/>
          </a:prstGeom>
          <a:solidFill>
            <a:srgbClr val="00A0D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>
            <a:defPPr>
              <a:defRPr lang="nl-NL"/>
            </a:defPPr>
            <a:lvl1pPr algn="ctr">
              <a:defRPr b="1"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GB" dirty="0"/>
              <a:t>Data processing</a:t>
            </a:r>
          </a:p>
        </p:txBody>
      </p:sp>
      <p:grpSp>
        <p:nvGrpSpPr>
          <p:cNvPr id="13" name="Groupe 12"/>
          <p:cNvGrpSpPr/>
          <p:nvPr/>
        </p:nvGrpSpPr>
        <p:grpSpPr>
          <a:xfrm>
            <a:off x="2977506" y="1482286"/>
            <a:ext cx="5617869" cy="939227"/>
            <a:chOff x="3011251" y="2364689"/>
            <a:chExt cx="5617869" cy="939227"/>
          </a:xfrm>
        </p:grpSpPr>
        <p:pic>
          <p:nvPicPr>
            <p:cNvPr id="7" name="Image 6"/>
            <p:cNvPicPr>
              <a:picLocks noChangeAspect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011251" y="2364689"/>
              <a:ext cx="2645060" cy="667878"/>
            </a:xfrm>
            <a:prstGeom prst="rect">
              <a:avLst/>
            </a:prstGeom>
          </p:spPr>
        </p:pic>
        <p:sp>
          <p:nvSpPr>
            <p:cNvPr id="161" name="ZoneTexte 160"/>
            <p:cNvSpPr txBox="1"/>
            <p:nvPr/>
          </p:nvSpPr>
          <p:spPr>
            <a:xfrm>
              <a:off x="6190082" y="2384515"/>
              <a:ext cx="2439038" cy="919401"/>
            </a:xfrm>
            <a:prstGeom prst="roundRect">
              <a:avLst/>
            </a:prstGeom>
            <a:solidFill>
              <a:srgbClr val="00A0DF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>
              <a:spAutoFit/>
            </a:bodyPr>
            <a:lstStyle>
              <a:defPPr>
                <a:defRPr lang="nl-NL"/>
              </a:defPPr>
              <a:lvl1pPr algn="ctr">
                <a:defRPr b="1">
                  <a:solidFill>
                    <a:schemeClr val="lt1"/>
                  </a:solidFill>
                </a:defRPr>
              </a:lvl1pPr>
              <a:lvl2pPr>
                <a:defRPr>
                  <a:solidFill>
                    <a:schemeClr val="lt1"/>
                  </a:solidFill>
                </a:defRPr>
              </a:lvl2pPr>
              <a:lvl3pPr>
                <a:defRPr>
                  <a:solidFill>
                    <a:schemeClr val="lt1"/>
                  </a:solidFill>
                </a:defRPr>
              </a:lvl3pPr>
              <a:lvl4pPr>
                <a:defRPr>
                  <a:solidFill>
                    <a:schemeClr val="lt1"/>
                  </a:solidFill>
                </a:defRPr>
              </a:lvl4pPr>
              <a:lvl5pPr>
                <a:defRPr>
                  <a:solidFill>
                    <a:schemeClr val="lt1"/>
                  </a:solidFill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r>
                <a:rPr lang="en-GB" sz="2400" dirty="0"/>
                <a:t>System integrator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077523966"/>
      </p:ext>
    </p:extLst>
  </p:cSld>
  <p:clrMapOvr>
    <a:masterClrMapping/>
  </p:clrMapOvr>
  <p:transition spd="med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13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14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5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16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7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18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9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20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26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9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0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15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15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15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35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154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36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154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7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154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38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154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9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154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40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154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41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154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42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154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26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1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2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3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4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15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5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15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6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15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57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155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58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155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59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155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60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155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61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155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62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155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63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155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64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155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5" fill="hold">
                      <p:stCondLst>
                        <p:cond delay="indefinite"/>
                      </p:stCondLst>
                      <p:childTnLst>
                        <p:par>
                          <p:cTn id="66" fill="hold">
                            <p:stCondLst>
                              <p:cond delay="0"/>
                            </p:stCondLst>
                            <p:childTnLst>
                              <p:par>
                                <p:cTn id="6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9" fill="hold">
                      <p:stCondLst>
                        <p:cond delay="indefinite"/>
                      </p:stCondLst>
                      <p:childTnLst>
                        <p:par>
                          <p:cTn id="70" fill="hold">
                            <p:stCondLst>
                              <p:cond delay="0"/>
                            </p:stCondLst>
                            <p:childTnLst>
                              <p:par>
                                <p:cTn id="71" presetID="26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3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4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5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6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15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7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15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8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15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79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156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80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156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81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156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82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156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83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156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84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156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85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156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86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156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7" fill="hold">
                      <p:stCondLst>
                        <p:cond delay="indefinite"/>
                      </p:stCondLst>
                      <p:childTnLst>
                        <p:par>
                          <p:cTn id="88" fill="hold">
                            <p:stCondLst>
                              <p:cond delay="0"/>
                            </p:stCondLst>
                            <p:childTnLst>
                              <p:par>
                                <p:cTn id="8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1" fill="hold">
                      <p:stCondLst>
                        <p:cond delay="indefinite"/>
                      </p:stCondLst>
                      <p:childTnLst>
                        <p:par>
                          <p:cTn id="92" fill="hold">
                            <p:stCondLst>
                              <p:cond delay="0"/>
                            </p:stCondLst>
                            <p:childTnLst>
                              <p:par>
                                <p:cTn id="93" presetID="26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95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96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7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8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15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9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15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0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15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101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157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102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157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03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157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104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157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05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157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106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157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07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157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108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157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9" fill="hold">
                      <p:stCondLst>
                        <p:cond delay="indefinite"/>
                      </p:stCondLst>
                      <p:childTnLst>
                        <p:par>
                          <p:cTn id="110" fill="hold">
                            <p:stCondLst>
                              <p:cond delay="0"/>
                            </p:stCondLst>
                            <p:childTnLst>
                              <p:par>
                                <p:cTn id="1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3" fill="hold">
                      <p:stCondLst>
                        <p:cond delay="indefinite"/>
                      </p:stCondLst>
                      <p:childTnLst>
                        <p:par>
                          <p:cTn id="114" fill="hold">
                            <p:stCondLst>
                              <p:cond delay="0"/>
                            </p:stCondLst>
                            <p:childTnLst>
                              <p:par>
                                <p:cTn id="115" presetID="26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7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18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9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0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15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1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15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2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15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123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158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124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158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25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158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126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158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27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158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128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158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29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158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130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158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1" fill="hold">
                      <p:stCondLst>
                        <p:cond delay="indefinite"/>
                      </p:stCondLst>
                      <p:childTnLst>
                        <p:par>
                          <p:cTn id="132" fill="hold">
                            <p:stCondLst>
                              <p:cond delay="0"/>
                            </p:stCondLst>
                            <p:childTnLst>
                              <p:par>
                                <p:cTn id="1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5" fill="hold">
                      <p:stCondLst>
                        <p:cond delay="indefinite"/>
                      </p:stCondLst>
                      <p:childTnLst>
                        <p:par>
                          <p:cTn id="136" fill="hold">
                            <p:stCondLst>
                              <p:cond delay="0"/>
                            </p:stCondLst>
                            <p:childTnLst>
                              <p:par>
                                <p:cTn id="137" presetID="26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39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0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1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2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15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3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15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4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15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145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159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146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159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47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159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148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159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49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159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150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159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51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159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152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159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3" fill="hold">
                      <p:stCondLst>
                        <p:cond delay="indefinite"/>
                      </p:stCondLst>
                      <p:childTnLst>
                        <p:par>
                          <p:cTn id="154" fill="hold">
                            <p:stCondLst>
                              <p:cond delay="0"/>
                            </p:stCondLst>
                            <p:childTnLst>
                              <p:par>
                                <p:cTn id="15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7" fill="hold">
                      <p:stCondLst>
                        <p:cond delay="indefinite"/>
                      </p:stCondLst>
                      <p:childTnLst>
                        <p:par>
                          <p:cTn id="158" fill="hold">
                            <p:stCondLst>
                              <p:cond delay="0"/>
                            </p:stCondLst>
                            <p:childTnLst>
                              <p:par>
                                <p:cTn id="159" presetID="26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61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62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3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4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16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5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16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6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16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167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160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168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160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69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160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170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160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71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160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172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160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73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160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174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160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5" fill="hold">
                      <p:stCondLst>
                        <p:cond delay="indefinite"/>
                      </p:stCondLst>
                      <p:childTnLst>
                        <p:par>
                          <p:cTn id="176" fill="hold">
                            <p:stCondLst>
                              <p:cond delay="0"/>
                            </p:stCondLst>
                            <p:childTnLst>
                              <p:par>
                                <p:cTn id="17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9" fill="hold">
                      <p:stCondLst>
                        <p:cond delay="indefinite"/>
                      </p:stCondLst>
                      <p:childTnLst>
                        <p:par>
                          <p:cTn id="180" fill="hold">
                            <p:stCondLst>
                              <p:cond delay="0"/>
                            </p:stCondLst>
                            <p:childTnLst>
                              <p:par>
                                <p:cTn id="18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83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4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154" grpId="0" animBg="1"/>
      <p:bldP spid="155" grpId="0" animBg="1"/>
      <p:bldP spid="156" grpId="0" animBg="1"/>
      <p:bldP spid="157" grpId="0" animBg="1"/>
      <p:bldP spid="158" grpId="0" animBg="1"/>
      <p:bldP spid="159" grpId="0" animBg="1"/>
      <p:bldP spid="160" grpId="0" animBg="1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Image 19" descr="D:\Jutel\Projets_09\ENERPACK\SP5_Packaging\ERYMA-SAS_ENERPACK_768x768px.jpg"/>
          <p:cNvPicPr/>
          <p:nvPr/>
        </p:nvPicPr>
        <p:blipFill rotWithShape="1">
          <a:blip r:embed="rId3" cstate="print"/>
          <a:srcRect/>
          <a:stretch/>
        </p:blipFill>
        <p:spPr bwMode="auto">
          <a:xfrm>
            <a:off x="323528" y="1295734"/>
            <a:ext cx="2349081" cy="21022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6" name="Image 25" descr="Ceradrop Printer.jpg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3131840" y="1412776"/>
            <a:ext cx="2911872" cy="1985218"/>
          </a:xfrm>
          <a:prstGeom prst="rect">
            <a:avLst/>
          </a:prstGeom>
        </p:spPr>
      </p:pic>
      <p:sp>
        <p:nvSpPr>
          <p:cNvPr id="2056" name="AutoShape 8" descr="https://docs.google.com/a/euripides-eureka.eu/file/d/0B1j-fTxyRhUPanFCLWVscXZtWjA/image?pagenumber=1&amp;w=138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prstClr val="black"/>
              </a:solidFill>
            </a:endParaRPr>
          </a:p>
        </p:txBody>
      </p:sp>
      <p:sp>
        <p:nvSpPr>
          <p:cNvPr id="2062" name="AutoShape 14" descr="data:image/jpeg;base64,/9j/4AAQSkZJRgABAQAAAQABAAD/2wCEAAkGBhAPDRQQEBASEBAUDxEWFA8WEBQUEBUUFRAVFBgSFBQXGykeFxojGRUVHy8gIygpLywsFx4xNTAqNSYrLCkBCQoKDgwOGg8PGSokHiApKSwqKikpLCwpKSwpKSkpKSksLCwsKSkpLCksLCwsLCksKSk1LCwsKSkpLCksLCwpLP/AABEIAIQBfgMBIgACEQEDEQH/xAAcAAEBAAIDAQEAAAAAAAAAAAAABwUGAQQIAwL/xABKEAABAwICBgILDQcEAwEAAAABAAIDBBEFEgYHEyExQVFxCCI1UmFyc4GRkrEUFhcyMzRTVJOhstHhI0JidIKzwUOEwvAkJWRj/8QAGgEBAAIDAQAAAAAAAAAAAAAAAAECAwQFBv/EACwRAQACAQIFAwEJAQAAAAAAAAABAgMEEQUSITFRIkGRExUyNEJhYnGBoRT/2gAMAwEAAhEDEQA/ALiiIgIi4QcouF8552saXPcGtHEk2CImYju+q/OcXtff0c1oukGspjLspRnd9KfiDqHNaLJjtS6bbGZ+076/DwAcLLHOSIcrPxXFjnavX+F2RT7R/WWNzKsW5bZo3f1Dkt7pqtkrA+Nwe08HA3CtFons3cGpx543pL7IuLrlWbIiIgIiICIiAiIgIiICIiAiIgIiICIiAiIgIiICIiAiIgIiICIiAiIgIiICIiAiFcIOVwSsTjWk1PRtvK8ZuUY3vPmU4x/TuoqrtYdjF3oPbEfxFUteIaOp12LB3nefDdtINPKeluxh20vetPajxnKb41pJUVjryv7W+6Nu5g83NYtFgteZeZ1Ovy5+k9I8QIiLG0BZDCMeqKR+aF5A5sO9h6wseUU77L0vak71naVW0e1gwVFmTfsZfD8QnwFbY1wO8G4Xn1bBgOmtRSENvtYvo3HeB/CeSzVy+Xe0vF/y5vlZEWDwLS2mrB2jssnON253m6Vm1mid3fpkrkjmrO8OURFK4iIgIiICIiAiIgIiICIiAiIgIiICIiAiIgIiICIiAiIgIiICIiAiIgFdHFKWWWPLFNsSeL8gcbeC53LvFdaqxGKG21kay/DM4C/pRW223VpU2q7O4ufVvc48XFgJ9q/PwUN+su+zH5rb/fDS/WIvXCe+Gl+sReuFTlq586PST1mI+WofBS36y77MfmnwUN+su+zH5rcocap3uDWTRuceDQ8EnqXdTkr4WjQaW3asJ/8ABQ36y77Mfmufgob9Zd9mPzW51GMU8bi180bHDi0vAPoXz98NL9Yi9cJy1VnRaSPaPlp7tVA5VLr+TH5rE4jq2q4gTGWzDoG5/oO5UhmPUzjYTxE9GcLuNcCLg3HSo+nWVbcO02SPT/koDNC5ji17S1w4tIsQvwq3pvowypgdIxoE7Gkh3fAcWlSRYL15XndZpJ01+We09nMby0gtJBHAg2IVJ1eaSz1D3wTOzhkYcHn43xrWPSpqt01WfO5fIt/Gpxz1ZeG5LVz1rE9JVBERbT2IuFypZrzxaenipjBNJEXSPuWOtfcOKCpovMeGVGN1TC+nkrJmA2LmuJAPQvrLi+P0XbSPrYwObw4s9iD0uiiWiWvOVr2x4g0PYTb3QwWc3wubzHUrPR1jJo2yxOD43NBa8G4IKD7IiICIiAiLq4hiUNNGZZ5GxRji9xs3qQdpFhNHtMKTEHSNpZNpsi0PdlIbd17WJ48Fm0BERAREQEREBERAREQEREBERAREQEREAqd61x8h/X/hUQrD49oxDW5dtm7S9sptxVbRvGzU1mK2XDNK95RKy5sqt8GVH0yet+ifBlR9MnrfosH07PPfZOo/T5aHoWP/AGUHj/8AEq0rW8N0CpaeZszC/Ow3F3blsizUryxtLt8P099Pjmt/KO6fd0pOpvsWvKw4toNTVUxmkL87rXs6w3LqfBjR9MnrfosdsczLlZ+GZ75LWjbaZ8pTZUfVbWyOZLG4lzGFpbffYniAu+NWVF/+h/qWw4XhENLHs4WBjb3PST0k81NKTE9WxoeH5sOXnvPR2njcQehQWvaBPIBwEr7esVW9LtKI6SFzQ4GZwIay+8XHxj0BR4m5JO8neT4Soyz7MPGMtbTWkd4cLdNVfzuXyLfxrS1umqv53L5Fv41TH95zuH/iKqgiItp7UUi7IL5Gl8o/2BV1SLsgvkaXyj/YEGR1C9y5P5l3sVJkjDhZwDgeRFx6FNtQ3cyT+Zd7FTEEc1s6somROr6NgZl3zQtHalvftHK3MLp6j9L3MmOHyOvG8F0Nz8Vw4sHgI3q0VtKJYnxuFw9jmkct4svLWEyGjxZmU2MNYG+YSZT9yJerF1q3EYoG5pZGRt6XODR967DTcX6QojjOrjEsUxapL5CymbO4MlkJIy7t0bOYRCmfCJhWbL7ugv4+70rN0dfFMzPFIyRp/ea4OH3KSu7HxuTdWnPbiYhlv1XWkufX6OYlkz2tZxaCdlLH1f8AbFB6VklDWlziA0Akk8ABzKmWt7SOkqMIdHDUxSv2sZyNeCbC/Jb3FO3EMPzMOVtRTmx45c7Lee11DdMdUbsLojUmqbMA5rcgiLePO9ygzGozGaemFXt5o4szosudwbezTe11YsOxqnqb7CaOXLbNkcHWv02XnXQLV47GBMW1Ah2RYN8ZfmzAnpFuCsOrnV67CNtmnE+1LeEeS1h1m6DcpZ2sbme4NaOLiQB6SsFPrBwyN2V1bAD0Z7+xaVrR0VxDEsSihpi73PsLvu4thac1rnpNl0qbsfBk/aVpzW/di7UHznegqmG47TVQvTzxzD+F4J9C7y826V6F1mAzRzRzksc7tKhl2kOG/K9v/bq1audLDieHNmeAJWuLJAOBc394DoKDaLr4VmIRQMzzSMjb3znBo+9YnTTSqPDKJ1Q8ZnfFjZ3zzwHV0qBUtNiWkNae2MjuLi4kQxN6AOSC8fCLhWbL7ugv4+70rNUWIxTszwyMlb3zXBw+5R9vY+Py765ofbhsSW9Xxlt+rDQifCmTsmcx4fI0sc0ne0DmDwQbysPiOmFBTOyzVcMbu9Lxf0BT7XFrDkp3e4KV+R5beaUHtmtPBjTyJ5rWdD9Tk9fAKmom2DH72jLmleO+NzuQWjDdL6GpdlgqoZHd6Hi/oKy68/aZaoKjDoTVQTbeNm91hllYO+3HeFt2p3WFJVXoap+eVjbxSn4z2ji13SR0oKfU1TImGSRwYxou55NgB0krqYfpBS1Li2CeOVwFy1rwSB0rH6fx5sHqx/8AO7/C866I45UUskjaVpM9RFsWEfGaXOG8eHcg9IYlplQUz8k9XDG/vS8ZvQF2cL0hpasf+PURzW714J9HFSKj1CVEse0qKxrJnby3IX2J751xcrR8YwmrwTEMucslZZ0crCcrm9P5hB6mRYfRDHRXYfDU8C9gzDkHjc4ekLMIBWOxXH6eky7eTJmvbcTe3UsiVPNa/GD+v/Crado3aurzThxTeveGxe/zD/rA9V35J7/MP+nHqu/JRxLrD9WXA+2c3iFpo9MKOaRsUcwc9xs0ZXbz6FmlFtDO6UHj/wDEq0rLS3NG7s6DU21GObWj3Yev0to6eQxSzBrxxbld+S6/v9w/6ceq78lPdPu6cnU32LXljnJMS5mfiuXHktWIjpKxjTygP+uPVd+SzNJWxzMD43te08wbqB3VE1VMflmO/Zktt0ZudlNMkzOzNouJZM2SKWr38MnppogypjdNGMs7W3v34HIqUH/oXoF/A9SgtfbbyW4bV/4ioyx7tfjGGtbReO893wW6arPncvkW/jWlrdNVnzuXyLfxqmP7zn8P/EVVBERbT2opF2QXyNL5R/sCrqkXZBfI0vlH+wIMjqF7mSfzLvYqYpnqG7mSfzLvYqYgLyliRz4tJbnXut9uvTGk+MMo6GaoebBkbreFxFgB515y0Dwx1bjEDSL3m2rz0BpzEnzol6egFmNH8I9i+NficNOzPPKyJvS5wb6L8V1NJscbQ0UtU8XEbCQOlx3NHpIXnvDqOu0jxEh8hJPbPcb7OJl+DW/cEQtNRrZwhht7rDiO9Y4/fZSjW9pTSYjUQSUr9oGROa45SLdtcDeqBQaisNYwCV00zubs+QegcFPNbOh9Lhk8LKUPa18bi7M8u3g23XRKu6qnE4FS3+jd/ccsbrt7iu8tH7Sslqo7hUviP/uOWO129xXeWj9pRDW+x74VnjQ/hcrCo92PfCs8aH8LlYJHhrS47gAST4AEH5nnZG0ue5rGji4kBo6yVrFdrPwmE5XVjCRyaHO+8CyjGlmlVXjeICnhLtkZckMANmnfbO/p6Vv+B6hqRkYNXLJLIRvDDkYD0DmUGL1p6fYfiGG7GnlL5ROxwbkI3AG5uetd/sfz/wCLUjltmfhKxus7VtQYfhu3pmyNk2rG3dIXCxvfcepZHsfvm1T5Zn4SiWG1+YoXVcFOD2rIi8j+Jx3H0BbvqawZtPhDJLdvO4vc7mRezR6FNtekZGMXPB1NHbzXuq7q0mDsFpLcoQ09Y3FBs64K5X5kG49R9iIeXMUkNdjb8xvta3KfF2mW3oC9Q08AYxrGiwa0ADwAWXlzCv2eNszcsQ3/AGy9Tol8aumbJE9jhdrmOaQeBBFl5h0anNFjcVjbZ1eQ+FuYtIK9RuO5eWJRtMbOXfmrzb7VB6M037lVX8u/2KH6laNsmNMLhfZwyPb1gWv96t+m/cmq/l3+xRfUX3Y/2sntaiHoSyivZBRDb0juezlF/BmBVrUX7IL5Sk8WX2hBtupU/wDoofKT/wB1y3taJqU7hReVn/uuW9oBWPxTAoKrLtow/Le1+V1kF08SxDYMzmN8gHEMbmI8NkUvFZr6uzGe8eh+gb6SnvHofoG+krHnWbRg2LZQejZ/quPhOo+iX1P1VN6tCcmj/b8MvSaJUkMjZI4Q17TcO37lmFqHwnUfRL6n6p8J1H0S+p+qnmrDJTVaanStohma7RWknkMksIc88XLr+8eh+gb6Ssd8J1H0S+p+qfCdR9Evqfqo3qpObRzO8zVk26E0IN/c7fPeyy9PTMjaGMaGNHBoFgtTfrQpANzZT4Mlv8rEYjrSe4WghDP4nG/nACjmrCv/AGaTF1rMf1DadMNIWUlM7eDK9paxvPeLX6go2T0712K6vknkMkry9x5n2AcguusN7c0vPa3Vzqb7+0dhbpqs+dy+Rb+NaWqDq0waeOR88jCyN0YDSdxJzXvboTH3Tw6szqKzEKGiItp7MUi7IL5Gl8o/2BV1aDrW0JqcUjgbTbO8b3F2d2XcRy3IMVqNxCKPDZBJKxh90ONnPANrdBW64rp1h9K0ulqot37rXBzz1AKM/AZinTT/AGp/JZHD9QFS4jbVUUY5hrS93mO5EsLrE1jSYtI2CFrmUzXdrH+/I7gHOA+4Kkao9AnUEBqahtqmYDteccfEN6zxKy2imrChw4h7GGaYf60liR4o4BbciGk644HPwObLvymNxHgDwtC1DYrFHVzwvcGvlY0sJNs2U72j2q3VdIyaN0cjQ5j2lrmnmCLEKJaQajquKYvoJGyR3u1rnZJWeAHmguEszWNLnODWgXLibAedectbOlUeIYj+xOaGFmRr+Tje7nDwXWaptV2O1No6mpLId1807n7vEHFZjSnUu40tPDQZC6NzzNJI7K55IFjw6eSDcNVHcKl8R39xyx+uwE4K/wAEsftKz2geCy0WGQ00+XaRhwOU3bveTx8672kWBx11JJTSfFkba44g8Q4dRQSjsfq1jZKqIuAe4RuaL7yG3Bt6VW8XbtKaZjCM5heAAd9y02UKqdTOLU816dzHgHtZWSlj7dJHEKi6rdEK6gE7614e+Ust+0MjgAOZKCP6t8RjpcagfMQ1ud7C48Gl1wCejevTgeCLggjpvu9Kk2nepd1RO6poXsa55LnwP3NzHi5juXUtepdW2kNtltnRx8PnTsoHgA9iJZXXjpfFI1lBC4PLZM8pBuGkCzW36d5Xe7H75tU+WZ+Eo7UrssLmjY9s1dLl/au7VjQHXLW8T51nNVGhlVhcU7KnZ/tHsLcjs3AEG+5EMNr10adLTx1sbbmG7ZABvyOPxvMVitTOn0UDDQVLxGC4uhkce1u7iwnlv4KzzQNe0se0OY4EOaRcEHiCFINKtRJdI6TD5WtaTf3PJew8V/R1oK8Kllr5226cwt6V8KPFoJ3vZFKyR0ds4a4HLfhe3UoI3VLjfye4N/mDkVK1WaBT4UyYzyMc6XJ2jbnLlvxceN7oJRrPwR9BjD3tFmSPE0TuV73I6wfarrobpVDiFHHLG8Z8oEkd+2a8CxBC50v0Op8Up9jOLEb2Sj47HdI8HgUgq9TOK00hNLK17eT2SmJ5HhCCt6b6Ww4dRSSPe3alhEcd+2c8iw3dHhUR1TYE+sxdkhBLIXGV7uV/3WnrJWUo9S+KVMgdVysjHN7pDLJbwBWHRPRKnwymEMA8L5D8d7uk/kg/Om/cqq/l3+xRfUX3Z/2sntarlpLh76ihngjtnkic1tzYXPSVOdWWrKtw3EPdFRstnsHs7V93XJHK3gQVlRfsgvlKTxZfaFaFOda+gdXij4DTbO0bXh2d+XiRa27wIO3qU7hReVn/ALpW9rWNXGjs2H4ZHTT5do18pOU3bZzy4b+orZ0BcWXJXCDXsf0Jp6u7rbKXlI0fiHNTbHNFKijPbtzR8pW72+foVrX4kjDhZwBB5EXCpakS5uq4diz9Y6T5efkVO0g1cRS3fTERP7z/AEz+SnuJYTNTPyTMLDyP7p8IPNa9qTDzWp0WXTz6o6eXTREVGmIi7FDh8s7wyJhe48gPaeSlNazadoddZTBdG6isdaJna85DuYPPzW6aP6tWNtJVHO76IfEHWea3eGBrGhrGhrRwAFgstcXl3NLwm1vVl6R4a5o/oHT0tnvG2l75w7UeK1bMAuUWeIiHocWGmKvLSNnKIillEREBERAREQEREBERAREQEREBERAREQEREBERAREQEREBERAREQEREBERAREQF1a7D4p2FkrGvaeRF12ksiJiLRtKa6QatXMu+kOZv0Tj2w8U81pT6SQSbMscJL2yZTmv1K/2XwdRRl+0LGl4Fg/KM3pWKcUS4+fhOO870nZNtH9XEstn1J2TPox8c9fQqHhmEw0zMkLAwdW8+Enmu7ZFetYr2b2n0eLBHpjr5ERFZtiIiAiIgIiICIiAiIgIiICIiAiIgIiICIiAiIgIiICIiAiIgIiICIiAiIgIiICIiAiIgIiICIiAiIgIiICIiAiIgIiICIiAiIgIiICIiAiIgIiICIiAiIgIiICIiAiIgIiICIiAiIgIiIP/2Q=="/>
          <p:cNvSpPr>
            <a:spLocks noChangeAspect="1" noChangeArrowheads="1"/>
          </p:cNvSpPr>
          <p:nvPr/>
        </p:nvSpPr>
        <p:spPr bwMode="auto">
          <a:xfrm>
            <a:off x="155575" y="-601663"/>
            <a:ext cx="3638550" cy="12573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prstClr val="black"/>
              </a:solidFill>
            </a:endParaRPr>
          </a:p>
        </p:txBody>
      </p:sp>
      <p:sp>
        <p:nvSpPr>
          <p:cNvPr id="17" name="Rectangle 1"/>
          <p:cNvSpPr>
            <a:spLocks noChangeArrowheads="1"/>
          </p:cNvSpPr>
          <p:nvPr/>
        </p:nvSpPr>
        <p:spPr bwMode="auto">
          <a:xfrm>
            <a:off x="2267744" y="437183"/>
            <a:ext cx="4243469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GB" sz="3600" b="1" spc="50" dirty="0" smtClean="0">
                <a:solidFill>
                  <a:prstClr val="white"/>
                </a:solidFill>
                <a:latin typeface="Arial" pitchFamily="34" charset="0"/>
                <a:ea typeface="Tahoma" pitchFamily="34" charset="0"/>
                <a:cs typeface="Arial" pitchFamily="34" charset="0"/>
              </a:rPr>
              <a:t>Projects Products</a:t>
            </a:r>
          </a:p>
        </p:txBody>
      </p:sp>
      <p:pic>
        <p:nvPicPr>
          <p:cNvPr id="1026" name="Picture 2" descr="P:\IMAGES\PROJETS\SUCCESS STORIES\Photos INTEX\CIDLO_bunda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60232" y="1268760"/>
            <a:ext cx="1953776" cy="22051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64870" y="3717032"/>
            <a:ext cx="2927610" cy="19572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8" name="Picture 4"/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0124"/>
          <a:stretch/>
        </p:blipFill>
        <p:spPr bwMode="auto">
          <a:xfrm>
            <a:off x="3565525" y="3501008"/>
            <a:ext cx="2011363" cy="20873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10" name="Groupe 9"/>
          <p:cNvGrpSpPr/>
          <p:nvPr/>
        </p:nvGrpSpPr>
        <p:grpSpPr>
          <a:xfrm>
            <a:off x="971600" y="5755600"/>
            <a:ext cx="7200800" cy="604570"/>
            <a:chOff x="971600" y="5755600"/>
            <a:chExt cx="7200800" cy="604570"/>
          </a:xfrm>
        </p:grpSpPr>
        <p:grpSp>
          <p:nvGrpSpPr>
            <p:cNvPr id="8" name="Groupe 7"/>
            <p:cNvGrpSpPr/>
            <p:nvPr/>
          </p:nvGrpSpPr>
          <p:grpSpPr>
            <a:xfrm>
              <a:off x="971600" y="5755600"/>
              <a:ext cx="6273155" cy="604570"/>
              <a:chOff x="971600" y="5755600"/>
              <a:chExt cx="6273155" cy="604570"/>
            </a:xfrm>
          </p:grpSpPr>
          <p:grpSp>
            <p:nvGrpSpPr>
              <p:cNvPr id="3" name="Groupe 2"/>
              <p:cNvGrpSpPr/>
              <p:nvPr/>
            </p:nvGrpSpPr>
            <p:grpSpPr>
              <a:xfrm>
                <a:off x="971600" y="5755600"/>
                <a:ext cx="2434218" cy="595002"/>
                <a:chOff x="467544" y="6216760"/>
                <a:chExt cx="2434218" cy="595002"/>
              </a:xfrm>
            </p:grpSpPr>
            <p:pic>
              <p:nvPicPr>
                <p:cNvPr id="24" name="Image 23" descr="Ceradrop.jpg"/>
                <p:cNvPicPr>
                  <a:picLocks noChangeAspect="1"/>
                </p:cNvPicPr>
                <p:nvPr/>
              </p:nvPicPr>
              <p:blipFill>
                <a:blip r:embed="rId8" cstate="print"/>
                <a:stretch>
                  <a:fillRect/>
                </a:stretch>
              </p:blipFill>
              <p:spPr>
                <a:xfrm>
                  <a:off x="2411759" y="6216760"/>
                  <a:ext cx="490003" cy="595002"/>
                </a:xfrm>
                <a:prstGeom prst="rect">
                  <a:avLst/>
                </a:prstGeom>
              </p:spPr>
            </p:pic>
            <p:pic>
              <p:nvPicPr>
                <p:cNvPr id="23" name="Image 22" descr="Eryma.gif"/>
                <p:cNvPicPr>
                  <a:picLocks noChangeAspect="1"/>
                </p:cNvPicPr>
                <p:nvPr/>
              </p:nvPicPr>
              <p:blipFill>
                <a:blip r:embed="rId9" cstate="print"/>
                <a:stretch>
                  <a:fillRect/>
                </a:stretch>
              </p:blipFill>
              <p:spPr>
                <a:xfrm>
                  <a:off x="1331640" y="6482448"/>
                  <a:ext cx="836913" cy="165908"/>
                </a:xfrm>
                <a:prstGeom prst="rect">
                  <a:avLst/>
                </a:prstGeom>
              </p:spPr>
            </p:pic>
            <p:sp>
              <p:nvSpPr>
                <p:cNvPr id="34" name="ZoneTexte 33"/>
                <p:cNvSpPr txBox="1"/>
                <p:nvPr/>
              </p:nvSpPr>
              <p:spPr>
                <a:xfrm>
                  <a:off x="467544" y="6413099"/>
                  <a:ext cx="864096" cy="307777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r>
                    <a:rPr lang="en-GB" sz="1400" b="1" dirty="0" smtClean="0">
                      <a:solidFill>
                        <a:prstClr val="white">
                          <a:lumMod val="50000"/>
                        </a:prstClr>
                      </a:solidFill>
                      <a:ea typeface="Tahoma" pitchFamily="34" charset="0"/>
                      <a:cs typeface="Tahoma" pitchFamily="34" charset="0"/>
                    </a:rPr>
                    <a:t>Credits:</a:t>
                  </a:r>
                  <a:endParaRPr lang="fr-FR" sz="1400" dirty="0">
                    <a:solidFill>
                      <a:prstClr val="white">
                        <a:lumMod val="50000"/>
                      </a:prstClr>
                    </a:solidFill>
                  </a:endParaRPr>
                </a:p>
              </p:txBody>
            </p:sp>
          </p:grpSp>
          <p:pic>
            <p:nvPicPr>
              <p:cNvPr id="6" name="Image 5"/>
              <p:cNvPicPr>
                <a:picLocks noChangeAspect="1"/>
              </p:cNvPicPr>
              <p:nvPr/>
            </p:nvPicPr>
            <p:blipFill rotWithShape="1">
              <a:blip r:embed="rId10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21476" t="21721" r="22369" b="19616"/>
              <a:stretch/>
            </p:blipFill>
            <p:spPr>
              <a:xfrm>
                <a:off x="3847919" y="5755600"/>
                <a:ext cx="578732" cy="604570"/>
              </a:xfrm>
              <a:prstGeom prst="rect">
                <a:avLst/>
              </a:prstGeom>
            </p:spPr>
          </p:pic>
          <p:pic>
            <p:nvPicPr>
              <p:cNvPr id="1029" name="Picture 5"/>
              <p:cNvPicPr>
                <a:picLocks noChangeAspect="1" noChangeArrowheads="1"/>
              </p:cNvPicPr>
              <p:nvPr/>
            </p:nvPicPr>
            <p:blipFill>
              <a:blip r:embed="rId11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300192" y="5908699"/>
                <a:ext cx="944563" cy="328613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</p:grpSp>
        <p:pic>
          <p:nvPicPr>
            <p:cNvPr id="9" name="Image 8"/>
            <p:cNvPicPr>
              <a:picLocks noChangeAspect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445279" y="5799726"/>
              <a:ext cx="727121" cy="514126"/>
            </a:xfrm>
            <a:prstGeom prst="rect">
              <a:avLst/>
            </a:prstGeom>
          </p:spPr>
        </p:pic>
      </p:grpSp>
      <p:sp>
        <p:nvSpPr>
          <p:cNvPr id="21" name="Slide Number Placeholder 5"/>
          <p:cNvSpPr txBox="1">
            <a:spLocks/>
          </p:cNvSpPr>
          <p:nvPr/>
        </p:nvSpPr>
        <p:spPr>
          <a:xfrm>
            <a:off x="8628418" y="6354457"/>
            <a:ext cx="343043" cy="36933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nl-NL"/>
            </a:defPPr>
            <a:lvl1pPr marL="0" algn="r" defTabSz="457200" rtl="0" eaLnBrk="1" latinLnBrk="0" hangingPunct="1">
              <a:defRPr sz="1800" b="0" i="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8C080AE-66C8-8249-B90B-B6D109566B0C}" type="slidenum">
              <a:rPr lang="en-US" sz="2400" b="1">
                <a:solidFill>
                  <a:srgbClr val="1F497D"/>
                </a:solidFill>
              </a:rPr>
              <a:pPr/>
              <a:t>24</a:t>
            </a:fld>
            <a:endParaRPr lang="en-US" sz="2400" b="1" dirty="0">
              <a:solidFill>
                <a:srgbClr val="1F497D"/>
              </a:solidFill>
            </a:endParaRPr>
          </a:p>
        </p:txBody>
      </p:sp>
      <p:pic>
        <p:nvPicPr>
          <p:cNvPr id="2" name="Image 1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6176" y="3870181"/>
            <a:ext cx="2710202" cy="1983207"/>
          </a:xfrm>
          <a:prstGeom prst="rect">
            <a:avLst/>
          </a:prstGeom>
        </p:spPr>
      </p:pic>
      <p:pic>
        <p:nvPicPr>
          <p:cNvPr id="4" name="Image 3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85544" y="5717284"/>
            <a:ext cx="1723018" cy="7232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7739519"/>
      </p:ext>
    </p:extLst>
  </p:cSld>
  <p:clrMapOvr>
    <a:masterClrMapping/>
  </p:clrMapOvr>
  <p:transition spd="slow">
    <p:pull/>
  </p:transition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oneTexte 3"/>
          <p:cNvSpPr txBox="1"/>
          <p:nvPr/>
        </p:nvSpPr>
        <p:spPr>
          <a:xfrm>
            <a:off x="2016224" y="4103967"/>
            <a:ext cx="7092280" cy="7694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457200">
              <a:defRPr/>
            </a:pPr>
            <a:r>
              <a:rPr lang="en-GB" sz="4400" b="1" spc="50" dirty="0" smtClean="0">
                <a:solidFill>
                  <a:prstClr val="white"/>
                </a:solidFill>
                <a:latin typeface="Arial" pitchFamily="34" charset="0"/>
                <a:ea typeface="Tahoma" pitchFamily="34" charset="0"/>
                <a:cs typeface="Arial" pitchFamily="34" charset="0"/>
              </a:rPr>
              <a:t>7. Calls</a:t>
            </a:r>
            <a:endParaRPr lang="en-GB" sz="3200" spc="50" dirty="0">
              <a:solidFill>
                <a:prstClr val="white"/>
              </a:solidFill>
              <a:latin typeface="Arial" pitchFamily="34" charset="0"/>
              <a:ea typeface="Tahoma" pitchFamily="34" charset="0"/>
              <a:cs typeface="Arial" pitchFamily="34" charset="0"/>
            </a:endParaRPr>
          </a:p>
        </p:txBody>
      </p:sp>
      <p:grpSp>
        <p:nvGrpSpPr>
          <p:cNvPr id="3" name="Groupe 2"/>
          <p:cNvGrpSpPr/>
          <p:nvPr/>
        </p:nvGrpSpPr>
        <p:grpSpPr>
          <a:xfrm>
            <a:off x="214541" y="101048"/>
            <a:ext cx="8742686" cy="6756952"/>
            <a:chOff x="214541" y="114300"/>
            <a:chExt cx="8742686" cy="6756952"/>
          </a:xfrm>
        </p:grpSpPr>
        <p:pic>
          <p:nvPicPr>
            <p:cNvPr id="2" name="Image 1"/>
            <p:cNvPicPr>
              <a:picLocks noChangeAspect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1062" r="2094" b="32348"/>
            <a:stretch/>
          </p:blipFill>
          <p:spPr>
            <a:xfrm>
              <a:off x="214541" y="114300"/>
              <a:ext cx="8742686" cy="4002919"/>
            </a:xfrm>
            <a:prstGeom prst="rect">
              <a:avLst/>
            </a:prstGeom>
          </p:spPr>
        </p:pic>
        <p:pic>
          <p:nvPicPr>
            <p:cNvPr id="6" name="Image 5"/>
            <p:cNvPicPr>
              <a:picLocks noChangeAspect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66906" r="2094" b="16231"/>
            <a:stretch/>
          </p:blipFill>
          <p:spPr>
            <a:xfrm>
              <a:off x="214541" y="4886660"/>
              <a:ext cx="8742686" cy="198459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011879318"/>
      </p:ext>
    </p:extLst>
  </p:cSld>
  <p:clrMapOvr>
    <a:masterClrMapping/>
  </p:clrMapOvr>
  <p:transition spd="slow">
    <p:pull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" presetClass="entr" presetSubtype="3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out)">
                                      <p:cBhvr>
                                        <p:cTn id="7" dur="2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971" name="Titr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eaLnBrk="1" hangingPunct="1"/>
            <a:r>
              <a:rPr lang="en-GB" sz="3600" dirty="0" smtClean="0">
                <a:latin typeface="Arial" charset="0"/>
                <a:cs typeface="Arial" charset="0"/>
              </a:rPr>
              <a:t>Call 2018</a:t>
            </a:r>
          </a:p>
        </p:txBody>
      </p:sp>
      <p:sp>
        <p:nvSpPr>
          <p:cNvPr id="3" name="Rectangle 2"/>
          <p:cNvSpPr>
            <a:spLocks noChangeArrowheads="1"/>
          </p:cNvSpPr>
          <p:nvPr/>
        </p:nvSpPr>
        <p:spPr bwMode="auto">
          <a:xfrm>
            <a:off x="121709" y="1175296"/>
            <a:ext cx="8785225" cy="34901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0" lvl="1"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800" b="1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Spring </a:t>
            </a:r>
            <a:r>
              <a:rPr lang="en-US" sz="2800" b="1" dirty="0">
                <a:solidFill>
                  <a:srgbClr val="000000"/>
                </a:solidFill>
                <a:latin typeface="Arial" charset="0"/>
                <a:cs typeface="Arial" charset="0"/>
              </a:rPr>
              <a:t>call</a:t>
            </a:r>
          </a:p>
          <a:p>
            <a:pPr marL="171450" lvl="1" indent="-171450">
              <a:spcBef>
                <a:spcPct val="20000"/>
              </a:spcBef>
              <a:buFontTx/>
              <a:buBlip>
                <a:blip r:embed="rId2"/>
              </a:buBlip>
              <a:defRPr/>
            </a:pPr>
            <a:r>
              <a:rPr lang="en-US" sz="2400" b="1" dirty="0">
                <a:solidFill>
                  <a:srgbClr val="000000"/>
                </a:solidFill>
                <a:latin typeface="Arial" charset="0"/>
                <a:cs typeface="Arial" charset="0"/>
              </a:rPr>
              <a:t>Project Outline (PO): </a:t>
            </a:r>
            <a:r>
              <a:rPr lang="en-US" sz="2400" b="1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12 March 2018</a:t>
            </a:r>
            <a:endParaRPr lang="en-US" sz="2400" b="1" dirty="0">
              <a:solidFill>
                <a:srgbClr val="000000"/>
              </a:solidFill>
              <a:latin typeface="Arial" charset="0"/>
              <a:cs typeface="Arial" charset="0"/>
            </a:endParaRPr>
          </a:p>
          <a:p>
            <a:pPr marL="171450" lvl="1" indent="-171450">
              <a:spcBef>
                <a:spcPct val="20000"/>
              </a:spcBef>
              <a:buFontTx/>
              <a:buBlip>
                <a:blip r:embed="rId2"/>
              </a:buBlip>
              <a:defRPr/>
            </a:pPr>
            <a:r>
              <a:rPr lang="en-US" sz="2400" b="1" dirty="0">
                <a:solidFill>
                  <a:srgbClr val="000000"/>
                </a:solidFill>
                <a:latin typeface="Arial" charset="0"/>
                <a:cs typeface="Arial" charset="0"/>
              </a:rPr>
              <a:t>Full Project Proposal (FPP) : </a:t>
            </a:r>
            <a:r>
              <a:rPr lang="en-US" sz="2400" b="1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07 June 2018</a:t>
            </a:r>
          </a:p>
          <a:p>
            <a:pPr marL="0" lvl="1"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800" b="1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Autumn </a:t>
            </a:r>
            <a:r>
              <a:rPr lang="en-US" sz="2800" b="1" dirty="0">
                <a:solidFill>
                  <a:srgbClr val="000000"/>
                </a:solidFill>
                <a:latin typeface="Arial" charset="0"/>
                <a:cs typeface="Arial" charset="0"/>
              </a:rPr>
              <a:t>call</a:t>
            </a:r>
          </a:p>
          <a:p>
            <a:pPr marL="171450" lvl="1" indent="-171450">
              <a:spcBef>
                <a:spcPct val="20000"/>
              </a:spcBef>
              <a:buFontTx/>
              <a:buBlip>
                <a:blip r:embed="rId2"/>
              </a:buBlip>
              <a:defRPr/>
            </a:pPr>
            <a:r>
              <a:rPr lang="en-US" sz="2400" b="1" dirty="0">
                <a:solidFill>
                  <a:srgbClr val="000000"/>
                </a:solidFill>
                <a:latin typeface="Arial" charset="0"/>
                <a:cs typeface="Arial" charset="0"/>
              </a:rPr>
              <a:t>Project Outline (PO): </a:t>
            </a:r>
            <a:r>
              <a:rPr lang="en-US" sz="2400" b="1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24 September 2018</a:t>
            </a:r>
            <a:endParaRPr lang="en-US" sz="2400" b="1" dirty="0">
              <a:solidFill>
                <a:srgbClr val="000000"/>
              </a:solidFill>
              <a:latin typeface="Arial" charset="0"/>
              <a:cs typeface="Arial" charset="0"/>
            </a:endParaRPr>
          </a:p>
          <a:p>
            <a:pPr marL="171450" lvl="1" indent="-171450">
              <a:spcBef>
                <a:spcPct val="20000"/>
              </a:spcBef>
              <a:buFontTx/>
              <a:buBlip>
                <a:blip r:embed="rId2"/>
              </a:buBlip>
              <a:defRPr/>
            </a:pPr>
            <a:r>
              <a:rPr lang="en-US" sz="2400" b="1" dirty="0">
                <a:solidFill>
                  <a:srgbClr val="000000"/>
                </a:solidFill>
                <a:latin typeface="Arial" charset="0"/>
                <a:cs typeface="Arial" charset="0"/>
              </a:rPr>
              <a:t>Full Project Proposal (FPP) : </a:t>
            </a:r>
            <a:r>
              <a:rPr lang="en-US" sz="2400" b="1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03 December 2018</a:t>
            </a:r>
            <a:endParaRPr lang="fr-FR" b="1" dirty="0" smtClean="0">
              <a:solidFill>
                <a:srgbClr val="000000"/>
              </a:solidFill>
              <a:latin typeface="Arial" charset="0"/>
              <a:cs typeface="Arial" charset="0"/>
            </a:endParaRPr>
          </a:p>
          <a:p>
            <a:pPr marL="0" lvl="1">
              <a:spcBef>
                <a:spcPct val="20000"/>
              </a:spcBef>
              <a:defRPr/>
            </a:pPr>
            <a:endParaRPr lang="en-GB" b="1" dirty="0">
              <a:solidFill>
                <a:srgbClr val="000000"/>
              </a:solidFill>
              <a:latin typeface="Arial" charset="0"/>
              <a:cs typeface="Arial" charset="0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2800" b="1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The EURIPIDES² </a:t>
            </a:r>
            <a:r>
              <a:rPr lang="en-GB" sz="2800" b="1" dirty="0">
                <a:solidFill>
                  <a:srgbClr val="000000"/>
                </a:solidFill>
                <a:latin typeface="Arial" charset="0"/>
                <a:cs typeface="Arial" charset="0"/>
              </a:rPr>
              <a:t>Office is your </a:t>
            </a:r>
            <a:r>
              <a:rPr lang="en-GB" sz="2800" b="1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partner!</a:t>
            </a:r>
            <a:endParaRPr lang="en-GB" b="1" dirty="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grpSp>
        <p:nvGrpSpPr>
          <p:cNvPr id="14" name="Groupe 13"/>
          <p:cNvGrpSpPr>
            <a:grpSpLocks/>
          </p:cNvGrpSpPr>
          <p:nvPr/>
        </p:nvGrpSpPr>
        <p:grpSpPr bwMode="auto">
          <a:xfrm>
            <a:off x="3501665" y="4757546"/>
            <a:ext cx="2057400" cy="1623782"/>
            <a:chOff x="4089610" y="4662319"/>
            <a:chExt cx="2362130" cy="2000076"/>
          </a:xfrm>
        </p:grpSpPr>
        <p:pic>
          <p:nvPicPr>
            <p:cNvPr id="83975" name="Image 3"/>
            <p:cNvPicPr>
              <a:picLocks noChangeAspect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4820184" y="4662319"/>
              <a:ext cx="900981" cy="12039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83977" name="ZoneTexte 12"/>
            <p:cNvSpPr txBox="1">
              <a:spLocks noChangeArrowheads="1"/>
            </p:cNvSpPr>
            <p:nvPr/>
          </p:nvSpPr>
          <p:spPr bwMode="auto">
            <a:xfrm>
              <a:off x="4089610" y="5866284"/>
              <a:ext cx="2362130" cy="79611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GB" b="1" dirty="0" smtClean="0">
                  <a:solidFill>
                    <a:srgbClr val="000000"/>
                  </a:solidFill>
                  <a:latin typeface="Arial" charset="0"/>
                  <a:cs typeface="Arial" charset="0"/>
                </a:rPr>
                <a:t>Rémy Renaudin</a:t>
              </a:r>
            </a:p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GB" b="1" dirty="0" smtClean="0">
                  <a:solidFill>
                    <a:srgbClr val="000000"/>
                  </a:solidFill>
                  <a:latin typeface="Arial" charset="0"/>
                  <a:cs typeface="Arial" charset="0"/>
                </a:rPr>
                <a:t>Office </a:t>
              </a:r>
              <a:r>
                <a:rPr lang="en-GB" b="1" dirty="0">
                  <a:solidFill>
                    <a:srgbClr val="000000"/>
                  </a:solidFill>
                  <a:latin typeface="Arial" charset="0"/>
                  <a:cs typeface="Arial" charset="0"/>
                </a:rPr>
                <a:t>Director</a:t>
              </a:r>
              <a:endParaRPr lang="fr-FR" dirty="0">
                <a:solidFill>
                  <a:srgbClr val="000000"/>
                </a:solidFill>
              </a:endParaRPr>
            </a:p>
          </p:txBody>
        </p:sp>
      </p:grpSp>
      <p:sp>
        <p:nvSpPr>
          <p:cNvPr id="11" name="Slide Number Placeholder 5"/>
          <p:cNvSpPr txBox="1">
            <a:spLocks/>
          </p:cNvSpPr>
          <p:nvPr/>
        </p:nvSpPr>
        <p:spPr>
          <a:xfrm>
            <a:off x="8628418" y="6354457"/>
            <a:ext cx="343043" cy="36933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nl-NL"/>
            </a:defPPr>
            <a:lvl1pPr marL="0" algn="r" defTabSz="457200" rtl="0" eaLnBrk="1" latinLnBrk="0" hangingPunct="1">
              <a:defRPr sz="1800" b="0" i="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8C080AE-66C8-8249-B90B-B6D109566B0C}" type="slidenum">
              <a:rPr lang="en-US" sz="2400" b="1">
                <a:solidFill>
                  <a:srgbClr val="1F497D"/>
                </a:solidFill>
              </a:rPr>
              <a:pPr/>
              <a:t>26</a:t>
            </a:fld>
            <a:endParaRPr lang="en-US" sz="2400" b="1" dirty="0">
              <a:solidFill>
                <a:srgbClr val="1F497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602001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34" name="Text Placeholder 1">
            <a:extLst>
              <a:ext uri="{FF2B5EF4-FFF2-40B4-BE49-F238E27FC236}">
                <a16:creationId xmlns="" xmlns:a16="http://schemas.microsoft.com/office/drawing/2014/main" id="{CB90E76B-75F0-CF47-8936-8B8DAEBE5E9E}"/>
              </a:ext>
            </a:extLst>
          </p:cNvPr>
          <p:cNvSpPr>
            <a:spLocks noGrp="1" noChangeArrowheads="1"/>
          </p:cNvSpPr>
          <p:nvPr>
            <p:ph type="body" sz="quarter" idx="10"/>
          </p:nvPr>
        </p:nvSpPr>
        <p:spPr bwMode="auto">
          <a:xfrm>
            <a:off x="1823597" y="916514"/>
            <a:ext cx="6065925" cy="638175"/>
          </a:xfrm>
          <a:noFill/>
          <a:ln w="9525"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vert="horz" numCol="1" compatLnSpc="1">
            <a:prstTxWarp prst="textNoShape">
              <a:avLst/>
            </a:prstTxWarp>
            <a:normAutofit fontScale="70000" lnSpcReduction="20000"/>
          </a:bodyPr>
          <a:lstStyle/>
          <a:p>
            <a:pPr eaLnBrk="1" hangingPunct="1">
              <a:lnSpc>
                <a:spcPts val="2579"/>
              </a:lnSpc>
              <a:spcBef>
                <a:spcPct val="0"/>
              </a:spcBef>
            </a:pPr>
            <a:r>
              <a:rPr lang="en-GB" altLang="en-US" dirty="0"/>
              <a:t>PENTA &amp; Euripides</a:t>
            </a:r>
            <a:r>
              <a:rPr lang="en-GB" altLang="en-US" baseline="30000" dirty="0"/>
              <a:t>2</a:t>
            </a:r>
            <a:r>
              <a:rPr lang="en-GB" altLang="en-US" dirty="0"/>
              <a:t> Synchronised 2018/2019 Call Timing</a:t>
            </a:r>
            <a:endParaRPr lang="en-US" altLang="en-US" dirty="0"/>
          </a:p>
        </p:txBody>
      </p:sp>
      <p:sp>
        <p:nvSpPr>
          <p:cNvPr id="14" name="Rectangle 5">
            <a:extLst>
              <a:ext uri="{FF2B5EF4-FFF2-40B4-BE49-F238E27FC236}">
                <a16:creationId xmlns="" xmlns:a16="http://schemas.microsoft.com/office/drawing/2014/main" id="{A7461C08-E431-634C-BA08-3AE424C562DD}"/>
              </a:ext>
            </a:extLst>
          </p:cNvPr>
          <p:cNvSpPr>
            <a:spLocks noChangeArrowheads="1"/>
          </p:cNvSpPr>
          <p:nvPr/>
        </p:nvSpPr>
        <p:spPr bwMode="auto">
          <a:xfrm>
            <a:off x="2016919" y="3686175"/>
            <a:ext cx="5532835" cy="141685"/>
          </a:xfrm>
          <a:prstGeom prst="rect">
            <a:avLst/>
          </a:prstGeom>
          <a:solidFill>
            <a:srgbClr val="0076BB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en-US" sz="1350">
              <a:solidFill>
                <a:srgbClr val="494949"/>
              </a:solidFill>
            </a:endParaRPr>
          </a:p>
        </p:txBody>
      </p:sp>
      <p:sp>
        <p:nvSpPr>
          <p:cNvPr id="15" name="Oval 6">
            <a:extLst>
              <a:ext uri="{FF2B5EF4-FFF2-40B4-BE49-F238E27FC236}">
                <a16:creationId xmlns="" xmlns:a16="http://schemas.microsoft.com/office/drawing/2014/main" id="{C5FBE2A6-DA7A-DD4A-B4DA-8365668DC8F1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99748" y="3489723"/>
            <a:ext cx="525065" cy="526256"/>
          </a:xfrm>
          <a:prstGeom prst="ellipse">
            <a:avLst/>
          </a:prstGeom>
          <a:solidFill>
            <a:schemeClr val="bg2"/>
          </a:solidFill>
          <a:ln w="50800">
            <a:solidFill>
              <a:srgbClr val="0076BB"/>
            </a:solidFill>
            <a:round/>
            <a:headEnd/>
            <a:tailEnd/>
          </a:ln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en-US" sz="1350">
              <a:solidFill>
                <a:srgbClr val="494949"/>
              </a:solidFill>
            </a:endParaRPr>
          </a:p>
        </p:txBody>
      </p:sp>
      <p:grpSp>
        <p:nvGrpSpPr>
          <p:cNvPr id="16" name="Group 15">
            <a:extLst>
              <a:ext uri="{FF2B5EF4-FFF2-40B4-BE49-F238E27FC236}">
                <a16:creationId xmlns="" xmlns:a16="http://schemas.microsoft.com/office/drawing/2014/main" id="{C58EF0C3-1C37-554A-A50F-83BF1E338391}"/>
              </a:ext>
            </a:extLst>
          </p:cNvPr>
          <p:cNvGrpSpPr>
            <a:grpSpLocks/>
          </p:cNvGrpSpPr>
          <p:nvPr/>
        </p:nvGrpSpPr>
        <p:grpSpPr bwMode="auto">
          <a:xfrm>
            <a:off x="2016919" y="3686175"/>
            <a:ext cx="4179094" cy="960835"/>
            <a:chOff x="2970288" y="3655390"/>
            <a:chExt cx="5605702" cy="1050214"/>
          </a:xfrm>
        </p:grpSpPr>
        <p:sp>
          <p:nvSpPr>
            <p:cNvPr id="17" name="Rectangle 25">
              <a:extLst>
                <a:ext uri="{FF2B5EF4-FFF2-40B4-BE49-F238E27FC236}">
                  <a16:creationId xmlns="" xmlns:a16="http://schemas.microsoft.com/office/drawing/2014/main" id="{0DD3E645-85C1-BD4C-B167-10157042FB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70288" y="3655390"/>
              <a:ext cx="5286289" cy="188700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350">
                <a:solidFill>
                  <a:srgbClr val="494949"/>
                </a:solidFill>
                <a:ea typeface="MS PGothic" charset="0"/>
                <a:cs typeface="MS PGothic" charset="0"/>
              </a:endParaRPr>
            </a:p>
          </p:txBody>
        </p:sp>
        <p:sp>
          <p:nvSpPr>
            <p:cNvPr id="18" name="Freeform 24">
              <a:extLst>
                <a:ext uri="{FF2B5EF4-FFF2-40B4-BE49-F238E27FC236}">
                  <a16:creationId xmlns="" xmlns:a16="http://schemas.microsoft.com/office/drawing/2014/main" id="{47C3B111-6436-DC4B-8046-734112C56A33}"/>
                </a:ext>
              </a:extLst>
            </p:cNvPr>
            <p:cNvSpPr>
              <a:spLocks/>
            </p:cNvSpPr>
            <p:nvPr/>
          </p:nvSpPr>
          <p:spPr bwMode="auto">
            <a:xfrm>
              <a:off x="8256577" y="3655390"/>
              <a:ext cx="319413" cy="318838"/>
            </a:xfrm>
            <a:custGeom>
              <a:avLst/>
              <a:gdLst>
                <a:gd name="T0" fmla="*/ 135 w 135"/>
                <a:gd name="T1" fmla="*/ 135 h 135"/>
                <a:gd name="T2" fmla="*/ 55 w 135"/>
                <a:gd name="T3" fmla="*/ 135 h 135"/>
                <a:gd name="T4" fmla="*/ 0 w 135"/>
                <a:gd name="T5" fmla="*/ 80 h 135"/>
                <a:gd name="T6" fmla="*/ 0 w 135"/>
                <a:gd name="T7" fmla="*/ 0 h 135"/>
                <a:gd name="T8" fmla="*/ 135 w 135"/>
                <a:gd name="T9" fmla="*/ 135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5" h="135">
                  <a:moveTo>
                    <a:pt x="135" y="135"/>
                  </a:moveTo>
                  <a:cubicBezTo>
                    <a:pt x="55" y="135"/>
                    <a:pt x="55" y="135"/>
                    <a:pt x="55" y="135"/>
                  </a:cubicBezTo>
                  <a:cubicBezTo>
                    <a:pt x="55" y="105"/>
                    <a:pt x="31" y="80"/>
                    <a:pt x="0" y="8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5" y="0"/>
                    <a:pt x="135" y="61"/>
                    <a:pt x="135" y="135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 sz="1350">
                <a:solidFill>
                  <a:srgbClr val="494949"/>
                </a:solidFill>
                <a:ea typeface="MS PGothic" panose="020B0600070205080204" pitchFamily="34" charset="-128"/>
              </a:endParaRPr>
            </a:p>
          </p:txBody>
        </p:sp>
        <p:sp>
          <p:nvSpPr>
            <p:cNvPr id="19" name="Rectangle 26">
              <a:extLst>
                <a:ext uri="{FF2B5EF4-FFF2-40B4-BE49-F238E27FC236}">
                  <a16:creationId xmlns="" xmlns:a16="http://schemas.microsoft.com/office/drawing/2014/main" id="{5FC30E20-CA9A-5040-99C3-120325D0A3D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387536" y="3974228"/>
              <a:ext cx="188454" cy="731376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350">
                <a:solidFill>
                  <a:srgbClr val="494949"/>
                </a:solidFill>
                <a:ea typeface="MS PGothic" charset="0"/>
                <a:cs typeface="MS PGothic" charset="0"/>
              </a:endParaRPr>
            </a:p>
          </p:txBody>
        </p:sp>
      </p:grpSp>
      <p:sp>
        <p:nvSpPr>
          <p:cNvPr id="20" name="Oval 28">
            <a:extLst>
              <a:ext uri="{FF2B5EF4-FFF2-40B4-BE49-F238E27FC236}">
                <a16:creationId xmlns="" xmlns:a16="http://schemas.microsoft.com/office/drawing/2014/main" id="{861B5602-3065-C340-874A-8C24CE30342C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69781" y="4476750"/>
            <a:ext cx="523875" cy="523875"/>
          </a:xfrm>
          <a:prstGeom prst="ellipse">
            <a:avLst/>
          </a:prstGeom>
          <a:solidFill>
            <a:schemeClr val="bg2"/>
          </a:solidFill>
          <a:ln w="50800">
            <a:solidFill>
              <a:schemeClr val="accent5"/>
            </a:solidFill>
            <a:round/>
            <a:headEnd/>
            <a:tailEnd/>
          </a:ln>
          <a:ex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350">
              <a:solidFill>
                <a:srgbClr val="494949"/>
              </a:solidFill>
              <a:ea typeface="MS PGothic" charset="0"/>
              <a:cs typeface="MS PGothic" charset="0"/>
            </a:endParaRPr>
          </a:p>
        </p:txBody>
      </p:sp>
      <p:grpSp>
        <p:nvGrpSpPr>
          <p:cNvPr id="21" name="Group 20">
            <a:extLst>
              <a:ext uri="{FF2B5EF4-FFF2-40B4-BE49-F238E27FC236}">
                <a16:creationId xmlns="" xmlns:a16="http://schemas.microsoft.com/office/drawing/2014/main" id="{EB9E0CBA-42D9-6949-A752-9590765B24F6}"/>
              </a:ext>
            </a:extLst>
          </p:cNvPr>
          <p:cNvGrpSpPr>
            <a:grpSpLocks/>
          </p:cNvGrpSpPr>
          <p:nvPr/>
        </p:nvGrpSpPr>
        <p:grpSpPr bwMode="auto">
          <a:xfrm>
            <a:off x="2016919" y="3238500"/>
            <a:ext cx="3306366" cy="589360"/>
            <a:chOff x="2970286" y="3058762"/>
            <a:chExt cx="4409421" cy="785511"/>
          </a:xfrm>
        </p:grpSpPr>
        <p:sp>
          <p:nvSpPr>
            <p:cNvPr id="22" name="Rectangle 9">
              <a:extLst>
                <a:ext uri="{FF2B5EF4-FFF2-40B4-BE49-F238E27FC236}">
                  <a16:creationId xmlns="" xmlns:a16="http://schemas.microsoft.com/office/drawing/2014/main" id="{1CE50D14-4340-C444-8D2C-F18CB13C428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70286" y="3655433"/>
              <a:ext cx="4090265" cy="18884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350">
                <a:solidFill>
                  <a:srgbClr val="494949"/>
                </a:solidFill>
                <a:ea typeface="MS PGothic" charset="0"/>
                <a:cs typeface="MS PGothic" charset="0"/>
              </a:endParaRPr>
            </a:p>
          </p:txBody>
        </p:sp>
        <p:sp>
          <p:nvSpPr>
            <p:cNvPr id="23" name="Freeform 8">
              <a:extLst>
                <a:ext uri="{FF2B5EF4-FFF2-40B4-BE49-F238E27FC236}">
                  <a16:creationId xmlns="" xmlns:a16="http://schemas.microsoft.com/office/drawing/2014/main" id="{0FE9FD6E-98D2-0D4F-AAB9-807FDB252203}"/>
                </a:ext>
              </a:extLst>
            </p:cNvPr>
            <p:cNvSpPr>
              <a:spLocks/>
            </p:cNvSpPr>
            <p:nvPr/>
          </p:nvSpPr>
          <p:spPr bwMode="auto">
            <a:xfrm>
              <a:off x="7060551" y="3525308"/>
              <a:ext cx="319156" cy="318965"/>
            </a:xfrm>
            <a:custGeom>
              <a:avLst/>
              <a:gdLst>
                <a:gd name="T0" fmla="*/ 0 w 135"/>
                <a:gd name="T1" fmla="*/ 135 h 135"/>
                <a:gd name="T2" fmla="*/ 0 w 135"/>
                <a:gd name="T3" fmla="*/ 55 h 135"/>
                <a:gd name="T4" fmla="*/ 55 w 135"/>
                <a:gd name="T5" fmla="*/ 0 h 135"/>
                <a:gd name="T6" fmla="*/ 135 w 135"/>
                <a:gd name="T7" fmla="*/ 0 h 135"/>
                <a:gd name="T8" fmla="*/ 0 w 135"/>
                <a:gd name="T9" fmla="*/ 135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5" h="135">
                  <a:moveTo>
                    <a:pt x="0" y="135"/>
                  </a:moveTo>
                  <a:cubicBezTo>
                    <a:pt x="0" y="55"/>
                    <a:pt x="0" y="55"/>
                    <a:pt x="0" y="55"/>
                  </a:cubicBezTo>
                  <a:cubicBezTo>
                    <a:pt x="30" y="55"/>
                    <a:pt x="55" y="30"/>
                    <a:pt x="55" y="0"/>
                  </a:cubicBezTo>
                  <a:cubicBezTo>
                    <a:pt x="135" y="0"/>
                    <a:pt x="135" y="0"/>
                    <a:pt x="135" y="0"/>
                  </a:cubicBezTo>
                  <a:cubicBezTo>
                    <a:pt x="135" y="74"/>
                    <a:pt x="74" y="135"/>
                    <a:pt x="0" y="135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 sz="1350">
                <a:solidFill>
                  <a:srgbClr val="494949"/>
                </a:solidFill>
                <a:ea typeface="MS PGothic" panose="020B0600070205080204" pitchFamily="34" charset="-128"/>
              </a:endParaRPr>
            </a:p>
          </p:txBody>
        </p:sp>
        <p:sp>
          <p:nvSpPr>
            <p:cNvPr id="24" name="Rectangle 10">
              <a:extLst>
                <a:ext uri="{FF2B5EF4-FFF2-40B4-BE49-F238E27FC236}">
                  <a16:creationId xmlns="" xmlns:a16="http://schemas.microsoft.com/office/drawing/2014/main" id="{B2520DD0-1259-5044-B8E6-3EE11D0AFF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90754" y="3058762"/>
              <a:ext cx="188953" cy="471307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350">
                <a:solidFill>
                  <a:srgbClr val="494949"/>
                </a:solidFill>
                <a:ea typeface="MS PGothic" charset="0"/>
                <a:cs typeface="MS PGothic" charset="0"/>
              </a:endParaRPr>
            </a:p>
          </p:txBody>
        </p:sp>
      </p:grpSp>
      <p:sp>
        <p:nvSpPr>
          <p:cNvPr id="25" name="Oval 11">
            <a:extLst>
              <a:ext uri="{FF2B5EF4-FFF2-40B4-BE49-F238E27FC236}">
                <a16:creationId xmlns="" xmlns:a16="http://schemas.microsoft.com/office/drawing/2014/main" id="{75B79D04-C5C6-BE48-9D66-0EE3F3CCBCDF}"/>
              </a:ext>
            </a:extLst>
          </p:cNvPr>
          <p:cNvSpPr>
            <a:spLocks noChangeArrowheads="1"/>
          </p:cNvSpPr>
          <p:nvPr/>
        </p:nvSpPr>
        <p:spPr bwMode="auto">
          <a:xfrm>
            <a:off x="4989910" y="2759869"/>
            <a:ext cx="525065" cy="525066"/>
          </a:xfrm>
          <a:prstGeom prst="ellipse">
            <a:avLst/>
          </a:prstGeom>
          <a:solidFill>
            <a:schemeClr val="bg2"/>
          </a:solidFill>
          <a:ln w="50800">
            <a:solidFill>
              <a:schemeClr val="accent4"/>
            </a:solidFill>
            <a:round/>
            <a:headEnd/>
            <a:tailEnd/>
          </a:ln>
          <a:ex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350">
              <a:solidFill>
                <a:srgbClr val="494949"/>
              </a:solidFill>
              <a:ea typeface="MS PGothic" charset="0"/>
              <a:cs typeface="MS PGothic" charset="0"/>
            </a:endParaRPr>
          </a:p>
        </p:txBody>
      </p:sp>
      <p:grpSp>
        <p:nvGrpSpPr>
          <p:cNvPr id="26" name="Group 25">
            <a:extLst>
              <a:ext uri="{FF2B5EF4-FFF2-40B4-BE49-F238E27FC236}">
                <a16:creationId xmlns="" xmlns:a16="http://schemas.microsoft.com/office/drawing/2014/main" id="{D6220CB0-2C9C-F644-86EE-DEF89142FA95}"/>
              </a:ext>
            </a:extLst>
          </p:cNvPr>
          <p:cNvGrpSpPr>
            <a:grpSpLocks/>
          </p:cNvGrpSpPr>
          <p:nvPr/>
        </p:nvGrpSpPr>
        <p:grpSpPr bwMode="auto">
          <a:xfrm>
            <a:off x="2016919" y="3686175"/>
            <a:ext cx="1962150" cy="862013"/>
            <a:chOff x="2970288" y="3655390"/>
            <a:chExt cx="2617017" cy="1149284"/>
          </a:xfrm>
        </p:grpSpPr>
        <p:sp>
          <p:nvSpPr>
            <p:cNvPr id="27" name="Rectangle 25">
              <a:extLst>
                <a:ext uri="{FF2B5EF4-FFF2-40B4-BE49-F238E27FC236}">
                  <a16:creationId xmlns="" xmlns:a16="http://schemas.microsoft.com/office/drawing/2014/main" id="{03B041B8-80BB-2541-9269-0E4230DA0B0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70288" y="3655390"/>
              <a:ext cx="1846840" cy="188902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350">
                <a:solidFill>
                  <a:srgbClr val="494949"/>
                </a:solidFill>
                <a:ea typeface="MS PGothic" charset="0"/>
                <a:cs typeface="MS PGothic" charset="0"/>
              </a:endParaRPr>
            </a:p>
          </p:txBody>
        </p:sp>
        <p:sp>
          <p:nvSpPr>
            <p:cNvPr id="28" name="Freeform 24">
              <a:extLst>
                <a:ext uri="{FF2B5EF4-FFF2-40B4-BE49-F238E27FC236}">
                  <a16:creationId xmlns="" xmlns:a16="http://schemas.microsoft.com/office/drawing/2014/main" id="{EF7C4B45-D1F0-D34B-84AA-9F60F59D1AC2}"/>
                </a:ext>
              </a:extLst>
            </p:cNvPr>
            <p:cNvSpPr>
              <a:spLocks/>
            </p:cNvSpPr>
            <p:nvPr/>
          </p:nvSpPr>
          <p:spPr bwMode="auto">
            <a:xfrm>
              <a:off x="4817128" y="3655390"/>
              <a:ext cx="319187" cy="319070"/>
            </a:xfrm>
            <a:custGeom>
              <a:avLst/>
              <a:gdLst>
                <a:gd name="T0" fmla="*/ 135 w 135"/>
                <a:gd name="T1" fmla="*/ 135 h 135"/>
                <a:gd name="T2" fmla="*/ 55 w 135"/>
                <a:gd name="T3" fmla="*/ 135 h 135"/>
                <a:gd name="T4" fmla="*/ 0 w 135"/>
                <a:gd name="T5" fmla="*/ 80 h 135"/>
                <a:gd name="T6" fmla="*/ 0 w 135"/>
                <a:gd name="T7" fmla="*/ 0 h 135"/>
                <a:gd name="T8" fmla="*/ 135 w 135"/>
                <a:gd name="T9" fmla="*/ 135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5" h="135">
                  <a:moveTo>
                    <a:pt x="135" y="135"/>
                  </a:moveTo>
                  <a:cubicBezTo>
                    <a:pt x="55" y="135"/>
                    <a:pt x="55" y="135"/>
                    <a:pt x="55" y="135"/>
                  </a:cubicBezTo>
                  <a:cubicBezTo>
                    <a:pt x="55" y="105"/>
                    <a:pt x="31" y="80"/>
                    <a:pt x="0" y="8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5" y="0"/>
                    <a:pt x="135" y="61"/>
                    <a:pt x="135" y="135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 sz="1350">
                <a:solidFill>
                  <a:srgbClr val="494949"/>
                </a:solidFill>
                <a:ea typeface="MS PGothic" panose="020B0600070205080204" pitchFamily="34" charset="-128"/>
              </a:endParaRPr>
            </a:p>
          </p:txBody>
        </p:sp>
        <p:sp>
          <p:nvSpPr>
            <p:cNvPr id="29" name="Rectangle 26">
              <a:extLst>
                <a:ext uri="{FF2B5EF4-FFF2-40B4-BE49-F238E27FC236}">
                  <a16:creationId xmlns="" xmlns:a16="http://schemas.microsoft.com/office/drawing/2014/main" id="{B2606891-01B6-6A4E-A3E0-831006784B9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47343" y="3974460"/>
              <a:ext cx="188971" cy="507971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350">
                <a:solidFill>
                  <a:srgbClr val="494949"/>
                </a:solidFill>
                <a:ea typeface="MS PGothic" charset="0"/>
                <a:cs typeface="MS PGothic" charset="0"/>
              </a:endParaRPr>
            </a:p>
          </p:txBody>
        </p:sp>
        <p:sp>
          <p:nvSpPr>
            <p:cNvPr id="30" name="Freeform 23">
              <a:extLst>
                <a:ext uri="{FF2B5EF4-FFF2-40B4-BE49-F238E27FC236}">
                  <a16:creationId xmlns="" xmlns:a16="http://schemas.microsoft.com/office/drawing/2014/main" id="{34FFC049-167E-9D4E-8C4B-3859D2064F74}"/>
                </a:ext>
              </a:extLst>
            </p:cNvPr>
            <p:cNvSpPr>
              <a:spLocks/>
            </p:cNvSpPr>
            <p:nvPr/>
          </p:nvSpPr>
          <p:spPr bwMode="auto">
            <a:xfrm>
              <a:off x="4947343" y="4482431"/>
              <a:ext cx="320775" cy="322243"/>
            </a:xfrm>
            <a:custGeom>
              <a:avLst/>
              <a:gdLst>
                <a:gd name="T0" fmla="*/ 136 w 136"/>
                <a:gd name="T1" fmla="*/ 136 h 136"/>
                <a:gd name="T2" fmla="*/ 0 w 136"/>
                <a:gd name="T3" fmla="*/ 0 h 136"/>
                <a:gd name="T4" fmla="*/ 80 w 136"/>
                <a:gd name="T5" fmla="*/ 0 h 136"/>
                <a:gd name="T6" fmla="*/ 136 w 136"/>
                <a:gd name="T7" fmla="*/ 56 h 136"/>
                <a:gd name="T8" fmla="*/ 136 w 136"/>
                <a:gd name="T9" fmla="*/ 136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6" h="136">
                  <a:moveTo>
                    <a:pt x="136" y="136"/>
                  </a:moveTo>
                  <a:cubicBezTo>
                    <a:pt x="61" y="136"/>
                    <a:pt x="0" y="75"/>
                    <a:pt x="0" y="0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80" y="31"/>
                    <a:pt x="105" y="56"/>
                    <a:pt x="136" y="56"/>
                  </a:cubicBezTo>
                  <a:lnTo>
                    <a:pt x="136" y="136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 sz="1350">
                <a:solidFill>
                  <a:srgbClr val="494949"/>
                </a:solidFill>
                <a:ea typeface="MS PGothic" panose="020B0600070205080204" pitchFamily="34" charset="-128"/>
              </a:endParaRPr>
            </a:p>
          </p:txBody>
        </p:sp>
        <p:sp>
          <p:nvSpPr>
            <p:cNvPr id="31" name="Rectangle 27">
              <a:extLst>
                <a:ext uri="{FF2B5EF4-FFF2-40B4-BE49-F238E27FC236}">
                  <a16:creationId xmlns="" xmlns:a16="http://schemas.microsoft.com/office/drawing/2014/main" id="{8304B3ED-E9B3-7E48-A0D1-B6A34917C85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68118" y="4614185"/>
              <a:ext cx="319187" cy="190489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350">
                <a:solidFill>
                  <a:srgbClr val="494949"/>
                </a:solidFill>
                <a:ea typeface="MS PGothic" charset="0"/>
                <a:cs typeface="MS PGothic" charset="0"/>
              </a:endParaRPr>
            </a:p>
          </p:txBody>
        </p:sp>
      </p:grpSp>
      <p:sp>
        <p:nvSpPr>
          <p:cNvPr id="32" name="Oval 28">
            <a:extLst>
              <a:ext uri="{FF2B5EF4-FFF2-40B4-BE49-F238E27FC236}">
                <a16:creationId xmlns="" xmlns:a16="http://schemas.microsoft.com/office/drawing/2014/main" id="{3C6A3A92-433C-6643-A60C-57A06D132DBD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42160" y="4214813"/>
            <a:ext cx="525065" cy="523875"/>
          </a:xfrm>
          <a:prstGeom prst="ellipse">
            <a:avLst/>
          </a:prstGeom>
          <a:solidFill>
            <a:schemeClr val="bg2"/>
          </a:solidFill>
          <a:ln w="50800">
            <a:solidFill>
              <a:schemeClr val="accent3"/>
            </a:solidFill>
            <a:round/>
            <a:headEnd/>
            <a:tailEnd/>
          </a:ln>
          <a:ex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350">
              <a:solidFill>
                <a:srgbClr val="494949"/>
              </a:solidFill>
              <a:ea typeface="MS PGothic" charset="0"/>
              <a:cs typeface="MS PGothic" charset="0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="" xmlns:a16="http://schemas.microsoft.com/office/drawing/2014/main" id="{45437AF7-A9B4-5641-A0B1-CE5D6BC444ED}"/>
              </a:ext>
            </a:extLst>
          </p:cNvPr>
          <p:cNvGrpSpPr>
            <a:grpSpLocks/>
          </p:cNvGrpSpPr>
          <p:nvPr/>
        </p:nvGrpSpPr>
        <p:grpSpPr bwMode="auto">
          <a:xfrm>
            <a:off x="1796654" y="3181350"/>
            <a:ext cx="1277540" cy="647700"/>
            <a:chOff x="2970288" y="2650635"/>
            <a:chExt cx="1703938" cy="862844"/>
          </a:xfrm>
        </p:grpSpPr>
        <p:sp>
          <p:nvSpPr>
            <p:cNvPr id="44096" name="Rectangle 14">
              <a:extLst>
                <a:ext uri="{FF2B5EF4-FFF2-40B4-BE49-F238E27FC236}">
                  <a16:creationId xmlns="" xmlns:a16="http://schemas.microsoft.com/office/drawing/2014/main" id="{C1EA10C3-B2BB-DA4C-99EB-F64B584E81C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70288" y="3323597"/>
              <a:ext cx="1385137" cy="189881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350">
                <a:solidFill>
                  <a:srgbClr val="494949"/>
                </a:solidFill>
              </a:endParaRPr>
            </a:p>
          </p:txBody>
        </p:sp>
        <p:sp>
          <p:nvSpPr>
            <p:cNvPr id="44097" name="Freeform 13">
              <a:extLst>
                <a:ext uri="{FF2B5EF4-FFF2-40B4-BE49-F238E27FC236}">
                  <a16:creationId xmlns="" xmlns:a16="http://schemas.microsoft.com/office/drawing/2014/main" id="{69D3D1E6-33B2-E84E-BBE9-EE83F79B82F3}"/>
                </a:ext>
              </a:extLst>
            </p:cNvPr>
            <p:cNvSpPr>
              <a:spLocks/>
            </p:cNvSpPr>
            <p:nvPr/>
          </p:nvSpPr>
          <p:spPr bwMode="auto">
            <a:xfrm>
              <a:off x="4355425" y="3191679"/>
              <a:ext cx="318801" cy="321800"/>
            </a:xfrm>
            <a:custGeom>
              <a:avLst/>
              <a:gdLst>
                <a:gd name="T0" fmla="*/ 0 w 135"/>
                <a:gd name="T1" fmla="*/ 2147483646 h 136"/>
                <a:gd name="T2" fmla="*/ 0 w 135"/>
                <a:gd name="T3" fmla="*/ 2147483646 h 136"/>
                <a:gd name="T4" fmla="*/ 2147483646 w 135"/>
                <a:gd name="T5" fmla="*/ 0 h 136"/>
                <a:gd name="T6" fmla="*/ 2147483646 w 135"/>
                <a:gd name="T7" fmla="*/ 0 h 136"/>
                <a:gd name="T8" fmla="*/ 0 w 135"/>
                <a:gd name="T9" fmla="*/ 2147483646 h 13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35" h="136">
                  <a:moveTo>
                    <a:pt x="0" y="136"/>
                  </a:moveTo>
                  <a:cubicBezTo>
                    <a:pt x="0" y="56"/>
                    <a:pt x="0" y="56"/>
                    <a:pt x="0" y="56"/>
                  </a:cubicBezTo>
                  <a:cubicBezTo>
                    <a:pt x="31" y="56"/>
                    <a:pt x="55" y="31"/>
                    <a:pt x="55" y="0"/>
                  </a:cubicBezTo>
                  <a:cubicBezTo>
                    <a:pt x="135" y="0"/>
                    <a:pt x="135" y="0"/>
                    <a:pt x="135" y="0"/>
                  </a:cubicBezTo>
                  <a:cubicBezTo>
                    <a:pt x="135" y="75"/>
                    <a:pt x="75" y="136"/>
                    <a:pt x="0" y="136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1350">
                <a:solidFill>
                  <a:srgbClr val="494949"/>
                </a:solidFill>
                <a:ea typeface="MS PGothic" panose="020B0600070205080204" pitchFamily="34" charset="-128"/>
              </a:endParaRPr>
            </a:p>
          </p:txBody>
        </p:sp>
        <p:sp>
          <p:nvSpPr>
            <p:cNvPr id="44098" name="Rectangle 15">
              <a:extLst>
                <a:ext uri="{FF2B5EF4-FFF2-40B4-BE49-F238E27FC236}">
                  <a16:creationId xmlns="" xmlns:a16="http://schemas.microsoft.com/office/drawing/2014/main" id="{7F3A8747-A6C4-3D44-8A49-4F013955CBE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85344" y="2650635"/>
              <a:ext cx="188882" cy="54304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350">
                <a:solidFill>
                  <a:srgbClr val="494949"/>
                </a:solidFill>
              </a:endParaRPr>
            </a:p>
          </p:txBody>
        </p:sp>
      </p:grpSp>
      <p:sp>
        <p:nvSpPr>
          <p:cNvPr id="8" name="Oval 16">
            <a:extLst>
              <a:ext uri="{FF2B5EF4-FFF2-40B4-BE49-F238E27FC236}">
                <a16:creationId xmlns="" xmlns:a16="http://schemas.microsoft.com/office/drawing/2014/main" id="{81F65688-96ED-914A-8DE5-BE95CC3F6BC9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42010" y="2686050"/>
            <a:ext cx="523875" cy="525066"/>
          </a:xfrm>
          <a:prstGeom prst="ellipse">
            <a:avLst/>
          </a:prstGeom>
          <a:solidFill>
            <a:schemeClr val="bg2"/>
          </a:solidFill>
          <a:ln w="50800">
            <a:solidFill>
              <a:schemeClr val="accent2"/>
            </a:solidFill>
            <a:round/>
            <a:headEnd/>
            <a:tailEnd/>
          </a:ln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en-US" sz="1350">
              <a:solidFill>
                <a:srgbClr val="494949"/>
              </a:solidFill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="" xmlns:a16="http://schemas.microsoft.com/office/drawing/2014/main" id="{8FCDD8F1-BF2D-9E4E-A5D6-34E0DDD9E103}"/>
              </a:ext>
            </a:extLst>
          </p:cNvPr>
          <p:cNvGrpSpPr>
            <a:grpSpLocks/>
          </p:cNvGrpSpPr>
          <p:nvPr/>
        </p:nvGrpSpPr>
        <p:grpSpPr bwMode="auto">
          <a:xfrm>
            <a:off x="1227535" y="3686175"/>
            <a:ext cx="788194" cy="1115616"/>
            <a:chOff x="2970289" y="3988184"/>
            <a:chExt cx="1051904" cy="1488146"/>
          </a:xfrm>
        </p:grpSpPr>
        <p:sp>
          <p:nvSpPr>
            <p:cNvPr id="44093" name="Rectangle 19">
              <a:extLst>
                <a:ext uri="{FF2B5EF4-FFF2-40B4-BE49-F238E27FC236}">
                  <a16:creationId xmlns="" xmlns:a16="http://schemas.microsoft.com/office/drawing/2014/main" id="{C1292064-B3E2-AA4D-A7D2-6E534EB1A1E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70289" y="3988184"/>
              <a:ext cx="733104" cy="189881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350">
                <a:solidFill>
                  <a:srgbClr val="494949"/>
                </a:solidFill>
              </a:endParaRPr>
            </a:p>
          </p:txBody>
        </p:sp>
        <p:sp>
          <p:nvSpPr>
            <p:cNvPr id="44094" name="Freeform 18">
              <a:extLst>
                <a:ext uri="{FF2B5EF4-FFF2-40B4-BE49-F238E27FC236}">
                  <a16:creationId xmlns="" xmlns:a16="http://schemas.microsoft.com/office/drawing/2014/main" id="{C17F20F3-0CE9-3844-8BA6-AB9A400C6A01}"/>
                </a:ext>
              </a:extLst>
            </p:cNvPr>
            <p:cNvSpPr>
              <a:spLocks/>
            </p:cNvSpPr>
            <p:nvPr/>
          </p:nvSpPr>
          <p:spPr bwMode="auto">
            <a:xfrm>
              <a:off x="3703392" y="3988184"/>
              <a:ext cx="318801" cy="319800"/>
            </a:xfrm>
            <a:custGeom>
              <a:avLst/>
              <a:gdLst>
                <a:gd name="T0" fmla="*/ 2147483646 w 135"/>
                <a:gd name="T1" fmla="*/ 2147483646 h 135"/>
                <a:gd name="T2" fmla="*/ 2147483646 w 135"/>
                <a:gd name="T3" fmla="*/ 2147483646 h 135"/>
                <a:gd name="T4" fmla="*/ 0 w 135"/>
                <a:gd name="T5" fmla="*/ 2147483646 h 135"/>
                <a:gd name="T6" fmla="*/ 0 w 135"/>
                <a:gd name="T7" fmla="*/ 0 h 135"/>
                <a:gd name="T8" fmla="*/ 2147483646 w 135"/>
                <a:gd name="T9" fmla="*/ 2147483646 h 13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35" h="135">
                  <a:moveTo>
                    <a:pt x="135" y="135"/>
                  </a:moveTo>
                  <a:cubicBezTo>
                    <a:pt x="55" y="135"/>
                    <a:pt x="55" y="135"/>
                    <a:pt x="55" y="135"/>
                  </a:cubicBezTo>
                  <a:cubicBezTo>
                    <a:pt x="55" y="105"/>
                    <a:pt x="31" y="80"/>
                    <a:pt x="0" y="8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5" y="0"/>
                    <a:pt x="135" y="61"/>
                    <a:pt x="135" y="135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1350">
                <a:solidFill>
                  <a:srgbClr val="494949"/>
                </a:solidFill>
                <a:ea typeface="MS PGothic" panose="020B0600070205080204" pitchFamily="34" charset="-128"/>
              </a:endParaRPr>
            </a:p>
          </p:txBody>
        </p:sp>
        <p:sp>
          <p:nvSpPr>
            <p:cNvPr id="44095" name="Rectangle 20">
              <a:extLst>
                <a:ext uri="{FF2B5EF4-FFF2-40B4-BE49-F238E27FC236}">
                  <a16:creationId xmlns="" xmlns:a16="http://schemas.microsoft.com/office/drawing/2014/main" id="{43E4854B-B8C9-3341-B0C8-5768F13378D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33311" y="4307983"/>
              <a:ext cx="188882" cy="1168347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350">
                <a:solidFill>
                  <a:srgbClr val="494949"/>
                </a:solidFill>
              </a:endParaRPr>
            </a:p>
          </p:txBody>
        </p:sp>
      </p:grpSp>
      <p:sp>
        <p:nvSpPr>
          <p:cNvPr id="13" name="Oval 21">
            <a:extLst>
              <a:ext uri="{FF2B5EF4-FFF2-40B4-BE49-F238E27FC236}">
                <a16:creationId xmlns="" xmlns:a16="http://schemas.microsoft.com/office/drawing/2014/main" id="{9EE15E42-0689-AD47-A15B-62EAF8175C5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83544" y="4704160"/>
            <a:ext cx="525066" cy="525065"/>
          </a:xfrm>
          <a:prstGeom prst="ellipse">
            <a:avLst/>
          </a:prstGeom>
          <a:solidFill>
            <a:schemeClr val="bg2"/>
          </a:solidFill>
          <a:ln w="50800">
            <a:solidFill>
              <a:schemeClr val="accent1"/>
            </a:solidFill>
            <a:round/>
            <a:headEnd/>
            <a:tailEnd/>
          </a:ln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en-US" sz="1350">
              <a:solidFill>
                <a:srgbClr val="494949"/>
              </a:solidFill>
            </a:endParaRPr>
          </a:p>
        </p:txBody>
      </p:sp>
      <p:sp>
        <p:nvSpPr>
          <p:cNvPr id="96" name="TextBox 95">
            <a:extLst>
              <a:ext uri="{FF2B5EF4-FFF2-40B4-BE49-F238E27FC236}">
                <a16:creationId xmlns="" xmlns:a16="http://schemas.microsoft.com/office/drawing/2014/main" id="{A2F48157-BDD3-DE42-BF22-37FB7AAC216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698799" y="4780095"/>
            <a:ext cx="492173" cy="3776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54000" tIns="27000" rIns="54000" bIns="2700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1200" b="1">
                <a:solidFill>
                  <a:srgbClr val="73B632"/>
                </a:solidFill>
                <a:latin typeface="Dosis Bold" panose="02010503020202060003"/>
              </a:rPr>
              <a:t>20/05</a:t>
            </a:r>
            <a:br>
              <a:rPr lang="en-US" altLang="en-US" sz="1200" b="1">
                <a:solidFill>
                  <a:srgbClr val="73B632"/>
                </a:solidFill>
                <a:latin typeface="Dosis Bold" panose="02010503020202060003"/>
              </a:rPr>
            </a:br>
            <a:r>
              <a:rPr lang="en-US" altLang="en-US" sz="900">
                <a:solidFill>
                  <a:srgbClr val="73B632"/>
                </a:solidFill>
                <a:latin typeface="Dosis Bold" panose="02010503020202060003"/>
              </a:rPr>
              <a:t>2018</a:t>
            </a:r>
            <a:endParaRPr lang="id-ID" altLang="en-US" sz="900">
              <a:solidFill>
                <a:srgbClr val="73B632"/>
              </a:solidFill>
              <a:latin typeface="Dosis Bold" panose="02010503020202060003"/>
            </a:endParaRPr>
          </a:p>
        </p:txBody>
      </p:sp>
      <p:sp>
        <p:nvSpPr>
          <p:cNvPr id="97" name="TextBox 96">
            <a:extLst>
              <a:ext uri="{FF2B5EF4-FFF2-40B4-BE49-F238E27FC236}">
                <a16:creationId xmlns="" xmlns:a16="http://schemas.microsoft.com/office/drawing/2014/main" id="{31A3E5DF-4521-9B4A-8D7E-E2D1A76F84C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585222" y="2829049"/>
            <a:ext cx="1167037" cy="2391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54000" tIns="27000" rIns="54000" bIns="2700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1200" b="1">
                <a:solidFill>
                  <a:srgbClr val="494949"/>
                </a:solidFill>
                <a:latin typeface="Dosis Bold" panose="02010503020202060003"/>
              </a:rPr>
              <a:t>PO </a:t>
            </a:r>
            <a:r>
              <a:rPr lang="en-US" altLang="en-US" sz="1200">
                <a:solidFill>
                  <a:srgbClr val="494949"/>
                </a:solidFill>
                <a:latin typeface="Dosis Bold" panose="02010503020202060003"/>
              </a:rPr>
              <a:t>Submission</a:t>
            </a:r>
            <a:endParaRPr lang="id-ID" altLang="en-US" sz="1200">
              <a:solidFill>
                <a:srgbClr val="494949"/>
              </a:solidFill>
              <a:latin typeface="Dosis Bold" panose="02010503020202060003"/>
            </a:endParaRPr>
          </a:p>
        </p:txBody>
      </p:sp>
      <p:sp>
        <p:nvSpPr>
          <p:cNvPr id="98" name="TextBox 97">
            <a:extLst>
              <a:ext uri="{FF2B5EF4-FFF2-40B4-BE49-F238E27FC236}">
                <a16:creationId xmlns="" xmlns:a16="http://schemas.microsoft.com/office/drawing/2014/main" id="{DA452081-A8DA-A146-B1B6-176FBB57BC5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766260" y="2761986"/>
            <a:ext cx="483709" cy="3776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54000" tIns="27000" rIns="54000" bIns="2700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1200" b="1">
                <a:solidFill>
                  <a:srgbClr val="0076BB"/>
                </a:solidFill>
                <a:latin typeface="Dosis Bold" panose="02010503020202060003"/>
              </a:rPr>
              <a:t>20/11</a:t>
            </a:r>
            <a:br>
              <a:rPr lang="en-US" altLang="en-US" sz="1200" b="1">
                <a:solidFill>
                  <a:srgbClr val="0076BB"/>
                </a:solidFill>
                <a:latin typeface="Dosis Bold" panose="02010503020202060003"/>
              </a:rPr>
            </a:br>
            <a:r>
              <a:rPr lang="en-US" altLang="en-US" sz="900">
                <a:solidFill>
                  <a:srgbClr val="0076BB"/>
                </a:solidFill>
                <a:latin typeface="Dosis Bold" panose="02010503020202060003"/>
              </a:rPr>
              <a:t>2018</a:t>
            </a:r>
            <a:endParaRPr lang="id-ID" altLang="en-US" sz="900">
              <a:solidFill>
                <a:srgbClr val="0076BB"/>
              </a:solidFill>
              <a:latin typeface="Dosis Bold" panose="02010503020202060003"/>
            </a:endParaRPr>
          </a:p>
        </p:txBody>
      </p:sp>
      <p:sp>
        <p:nvSpPr>
          <p:cNvPr id="99" name="TextBox 98">
            <a:extLst>
              <a:ext uri="{FF2B5EF4-FFF2-40B4-BE49-F238E27FC236}">
                <a16:creationId xmlns="" xmlns:a16="http://schemas.microsoft.com/office/drawing/2014/main" id="{579AB9CB-DD43-8248-8FDC-1D04A531D7D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498182" y="4407817"/>
            <a:ext cx="1635113" cy="2391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54000" tIns="27000" rIns="54000" bIns="2700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1200" b="1">
                <a:solidFill>
                  <a:srgbClr val="494949"/>
                </a:solidFill>
                <a:latin typeface="Dosis Bold" panose="02010503020202060003"/>
              </a:rPr>
              <a:t>Consortium Building</a:t>
            </a:r>
            <a:endParaRPr lang="id-ID" altLang="en-US" sz="1200">
              <a:solidFill>
                <a:srgbClr val="494949"/>
              </a:solidFill>
              <a:latin typeface="Dosis Bold" panose="02010503020202060003"/>
            </a:endParaRPr>
          </a:p>
        </p:txBody>
      </p:sp>
      <p:sp>
        <p:nvSpPr>
          <p:cNvPr id="100" name="TextBox 99">
            <a:extLst>
              <a:ext uri="{FF2B5EF4-FFF2-40B4-BE49-F238E27FC236}">
                <a16:creationId xmlns="" xmlns:a16="http://schemas.microsoft.com/office/drawing/2014/main" id="{2B175255-6E38-5B4A-B59F-0BF4846BBC7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957416" y="4299083"/>
            <a:ext cx="492173" cy="3776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54000" tIns="27000" rIns="54000" bIns="2700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1200" b="1">
                <a:solidFill>
                  <a:srgbClr val="005796"/>
                </a:solidFill>
                <a:latin typeface="Dosis Bold" panose="02010503020202060003"/>
              </a:rPr>
              <a:t>15/01</a:t>
            </a:r>
            <a:br>
              <a:rPr lang="en-US" altLang="en-US" sz="1200" b="1">
                <a:solidFill>
                  <a:srgbClr val="005796"/>
                </a:solidFill>
                <a:latin typeface="Dosis Bold" panose="02010503020202060003"/>
              </a:rPr>
            </a:br>
            <a:r>
              <a:rPr lang="en-US" altLang="en-US" sz="900">
                <a:solidFill>
                  <a:srgbClr val="005796"/>
                </a:solidFill>
                <a:latin typeface="Dosis Bold" panose="02010503020202060003"/>
              </a:rPr>
              <a:t>2019</a:t>
            </a:r>
            <a:endParaRPr lang="id-ID" altLang="en-US" sz="900">
              <a:solidFill>
                <a:srgbClr val="005796"/>
              </a:solidFill>
              <a:latin typeface="Dosis Bold" panose="02010503020202060003"/>
            </a:endParaRPr>
          </a:p>
        </p:txBody>
      </p:sp>
      <p:sp>
        <p:nvSpPr>
          <p:cNvPr id="101" name="TextBox 100">
            <a:extLst>
              <a:ext uri="{FF2B5EF4-FFF2-40B4-BE49-F238E27FC236}">
                <a16:creationId xmlns="" xmlns:a16="http://schemas.microsoft.com/office/drawing/2014/main" id="{479A3B6E-5DBD-6345-BA5D-B515B184416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468666" y="4435082"/>
            <a:ext cx="900938" cy="4238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54000" tIns="27000" rIns="54000" bIns="2700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1200" b="1">
                <a:solidFill>
                  <a:srgbClr val="494949"/>
                </a:solidFill>
                <a:latin typeface="Dosis Bold" panose="02010503020202060003"/>
              </a:rPr>
              <a:t>FPP</a:t>
            </a:r>
            <a:br>
              <a:rPr lang="en-US" altLang="en-US" sz="1200" b="1">
                <a:solidFill>
                  <a:srgbClr val="494949"/>
                </a:solidFill>
                <a:latin typeface="Dosis Bold" panose="02010503020202060003"/>
              </a:rPr>
            </a:br>
            <a:r>
              <a:rPr lang="en-US" altLang="en-US" sz="1200">
                <a:solidFill>
                  <a:srgbClr val="494949"/>
                </a:solidFill>
                <a:latin typeface="Dosis Bold" panose="02010503020202060003"/>
              </a:rPr>
              <a:t>Submission</a:t>
            </a:r>
            <a:endParaRPr lang="id-ID" altLang="en-US" sz="1200">
              <a:solidFill>
                <a:srgbClr val="494949"/>
              </a:solidFill>
              <a:latin typeface="Dosis Bold" panose="02010503020202060003"/>
            </a:endParaRPr>
          </a:p>
        </p:txBody>
      </p:sp>
      <p:sp>
        <p:nvSpPr>
          <p:cNvPr id="102" name="TextBox 101">
            <a:extLst>
              <a:ext uri="{FF2B5EF4-FFF2-40B4-BE49-F238E27FC236}">
                <a16:creationId xmlns="" xmlns:a16="http://schemas.microsoft.com/office/drawing/2014/main" id="{B32BDC72-F176-214F-B3C5-87444EEF7E5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006356" y="2835805"/>
            <a:ext cx="492173" cy="3776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54000" tIns="27000" rIns="54000" bIns="2700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1200" b="1">
                <a:solidFill>
                  <a:srgbClr val="73B632"/>
                </a:solidFill>
                <a:latin typeface="Dosis Bold" panose="02010503020202060003"/>
              </a:rPr>
              <a:t>01/03</a:t>
            </a:r>
            <a:br>
              <a:rPr lang="en-US" altLang="en-US" sz="1200" b="1">
                <a:solidFill>
                  <a:srgbClr val="73B632"/>
                </a:solidFill>
                <a:latin typeface="Dosis Bold" panose="02010503020202060003"/>
              </a:rPr>
            </a:br>
            <a:r>
              <a:rPr lang="en-US" altLang="en-US" sz="900">
                <a:solidFill>
                  <a:srgbClr val="73B632"/>
                </a:solidFill>
                <a:latin typeface="Dosis Bold" panose="02010503020202060003"/>
              </a:rPr>
              <a:t>2019</a:t>
            </a:r>
            <a:endParaRPr lang="id-ID" altLang="en-US" sz="900" b="1">
              <a:solidFill>
                <a:srgbClr val="73B632"/>
              </a:solidFill>
              <a:latin typeface="Dosis Bold" panose="02010503020202060003"/>
            </a:endParaRPr>
          </a:p>
        </p:txBody>
      </p:sp>
      <p:sp>
        <p:nvSpPr>
          <p:cNvPr id="104" name="TextBox 103">
            <a:extLst>
              <a:ext uri="{FF2B5EF4-FFF2-40B4-BE49-F238E27FC236}">
                <a16:creationId xmlns="" xmlns:a16="http://schemas.microsoft.com/office/drawing/2014/main" id="{26093871-FB5A-4743-BE28-B1509BEF196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895158" y="4536017"/>
            <a:ext cx="492173" cy="3776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54000" tIns="27000" rIns="54000" bIns="2700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1200" b="1">
                <a:solidFill>
                  <a:srgbClr val="4174A9"/>
                </a:solidFill>
                <a:latin typeface="Dosis Bold" panose="02010503020202060003"/>
              </a:rPr>
              <a:t>28/05</a:t>
            </a:r>
            <a:br>
              <a:rPr lang="en-US" altLang="en-US" sz="1200" b="1">
                <a:solidFill>
                  <a:srgbClr val="4174A9"/>
                </a:solidFill>
                <a:latin typeface="Dosis Bold" panose="02010503020202060003"/>
              </a:rPr>
            </a:br>
            <a:r>
              <a:rPr lang="en-US" altLang="en-US" sz="900">
                <a:solidFill>
                  <a:srgbClr val="4174A9"/>
                </a:solidFill>
                <a:latin typeface="Dosis Bold" panose="02010503020202060003"/>
              </a:rPr>
              <a:t>2019</a:t>
            </a:r>
            <a:endParaRPr lang="id-ID" altLang="en-US" sz="900" b="1">
              <a:solidFill>
                <a:srgbClr val="4174A9"/>
              </a:solidFill>
              <a:latin typeface="Dosis Bold" panose="02010503020202060003"/>
            </a:endParaRPr>
          </a:p>
        </p:txBody>
      </p:sp>
      <p:sp>
        <p:nvSpPr>
          <p:cNvPr id="105" name="TextBox 104">
            <a:extLst>
              <a:ext uri="{FF2B5EF4-FFF2-40B4-BE49-F238E27FC236}">
                <a16:creationId xmlns="" xmlns:a16="http://schemas.microsoft.com/office/drawing/2014/main" id="{909D8C8E-7BF7-9747-A677-86AA7D36869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098631" y="3513419"/>
            <a:ext cx="1006736" cy="608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54000" tIns="27000" rIns="54000" bIns="2700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1200" b="1">
                <a:solidFill>
                  <a:srgbClr val="494949"/>
                </a:solidFill>
                <a:latin typeface="Dosis Bold" panose="02010503020202060003"/>
              </a:rPr>
              <a:t>FUNDING &amp; </a:t>
            </a:r>
            <a:br>
              <a:rPr lang="en-US" altLang="en-US" sz="1200" b="1">
                <a:solidFill>
                  <a:srgbClr val="494949"/>
                </a:solidFill>
                <a:latin typeface="Dosis Bold" panose="02010503020202060003"/>
              </a:rPr>
            </a:br>
            <a:r>
              <a:rPr lang="en-US" altLang="en-US" sz="1200" b="1">
                <a:solidFill>
                  <a:srgbClr val="494949"/>
                </a:solidFill>
                <a:latin typeface="Dosis Bold" panose="02010503020202060003"/>
              </a:rPr>
              <a:t>LABELLING</a:t>
            </a:r>
            <a:br>
              <a:rPr lang="en-US" altLang="en-US" sz="1200" b="1">
                <a:solidFill>
                  <a:srgbClr val="494949"/>
                </a:solidFill>
                <a:latin typeface="Dosis Bold" panose="02010503020202060003"/>
              </a:rPr>
            </a:br>
            <a:endParaRPr lang="id-ID" altLang="en-US" sz="1200">
              <a:solidFill>
                <a:srgbClr val="494949"/>
              </a:solidFill>
              <a:latin typeface="Dosis Bold" panose="02010503020202060003"/>
            </a:endParaRPr>
          </a:p>
        </p:txBody>
      </p:sp>
      <p:sp>
        <p:nvSpPr>
          <p:cNvPr id="106" name="TextBox 105">
            <a:extLst>
              <a:ext uri="{FF2B5EF4-FFF2-40B4-BE49-F238E27FC236}">
                <a16:creationId xmlns="" xmlns:a16="http://schemas.microsoft.com/office/drawing/2014/main" id="{7DAC2865-E97E-4B43-9047-1420C22669D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517979" y="3556133"/>
            <a:ext cx="492173" cy="3776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54000" tIns="27000" rIns="54000" bIns="2700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1200" b="1">
                <a:solidFill>
                  <a:srgbClr val="0076BB"/>
                </a:solidFill>
                <a:latin typeface="Dosis Bold" panose="02010503020202060003"/>
              </a:rPr>
              <a:t>18/09</a:t>
            </a:r>
            <a:br>
              <a:rPr lang="en-US" altLang="en-US" sz="1200" b="1">
                <a:solidFill>
                  <a:srgbClr val="0076BB"/>
                </a:solidFill>
                <a:latin typeface="Dosis Bold" panose="02010503020202060003"/>
              </a:rPr>
            </a:br>
            <a:r>
              <a:rPr lang="en-US" altLang="en-US" sz="900">
                <a:solidFill>
                  <a:srgbClr val="0076BB"/>
                </a:solidFill>
                <a:latin typeface="Dosis Bold" panose="02010503020202060003"/>
              </a:rPr>
              <a:t>2019</a:t>
            </a:r>
            <a:endParaRPr lang="id-ID" altLang="en-US" sz="900" b="1">
              <a:solidFill>
                <a:srgbClr val="0076BB"/>
              </a:solidFill>
              <a:latin typeface="Dosis Bold" panose="02010503020202060003"/>
            </a:endParaRPr>
          </a:p>
        </p:txBody>
      </p:sp>
      <p:grpSp>
        <p:nvGrpSpPr>
          <p:cNvPr id="107" name="Group 106">
            <a:extLst>
              <a:ext uri="{FF2B5EF4-FFF2-40B4-BE49-F238E27FC236}">
                <a16:creationId xmlns="" xmlns:a16="http://schemas.microsoft.com/office/drawing/2014/main" id="{38171FDB-8EAD-C148-BF62-F78096A7DEDA}"/>
              </a:ext>
            </a:extLst>
          </p:cNvPr>
          <p:cNvGrpSpPr>
            <a:grpSpLocks/>
          </p:cNvGrpSpPr>
          <p:nvPr/>
        </p:nvGrpSpPr>
        <p:grpSpPr bwMode="auto">
          <a:xfrm>
            <a:off x="317898" y="3362325"/>
            <a:ext cx="945356" cy="789385"/>
            <a:chOff x="3779839" y="2466976"/>
            <a:chExt cx="2305050" cy="1924049"/>
          </a:xfrm>
        </p:grpSpPr>
        <p:sp>
          <p:nvSpPr>
            <p:cNvPr id="108" name="Freeform 7">
              <a:extLst>
                <a:ext uri="{FF2B5EF4-FFF2-40B4-BE49-F238E27FC236}">
                  <a16:creationId xmlns="" xmlns:a16="http://schemas.microsoft.com/office/drawing/2014/main" id="{3374F658-65A3-F342-B46A-9DB0332A0B26}"/>
                </a:ext>
              </a:extLst>
            </p:cNvPr>
            <p:cNvSpPr>
              <a:spLocks/>
            </p:cNvSpPr>
            <p:nvPr/>
          </p:nvSpPr>
          <p:spPr bwMode="auto">
            <a:xfrm>
              <a:off x="3788547" y="2548233"/>
              <a:ext cx="2287631" cy="1842792"/>
            </a:xfrm>
            <a:custGeom>
              <a:avLst/>
              <a:gdLst>
                <a:gd name="T0" fmla="*/ 610 w 610"/>
                <a:gd name="T1" fmla="*/ 216 h 488"/>
                <a:gd name="T2" fmla="*/ 592 w 610"/>
                <a:gd name="T3" fmla="*/ 216 h 488"/>
                <a:gd name="T4" fmla="*/ 441 w 610"/>
                <a:gd name="T5" fmla="*/ 36 h 488"/>
                <a:gd name="T6" fmla="*/ 389 w 610"/>
                <a:gd name="T7" fmla="*/ 12 h 488"/>
                <a:gd name="T8" fmla="*/ 42 w 610"/>
                <a:gd name="T9" fmla="*/ 12 h 488"/>
                <a:gd name="T10" fmla="*/ 42 w 610"/>
                <a:gd name="T11" fmla="*/ 0 h 488"/>
                <a:gd name="T12" fmla="*/ 0 w 610"/>
                <a:gd name="T13" fmla="*/ 0 h 488"/>
                <a:gd name="T14" fmla="*/ 0 w 610"/>
                <a:gd name="T15" fmla="*/ 34 h 488"/>
                <a:gd name="T16" fmla="*/ 0 w 610"/>
                <a:gd name="T17" fmla="*/ 34 h 488"/>
                <a:gd name="T18" fmla="*/ 5 w 610"/>
                <a:gd name="T19" fmla="*/ 49 h 488"/>
                <a:gd name="T20" fmla="*/ 155 w 610"/>
                <a:gd name="T21" fmla="*/ 228 h 488"/>
                <a:gd name="T22" fmla="*/ 155 w 610"/>
                <a:gd name="T23" fmla="*/ 272 h 488"/>
                <a:gd name="T24" fmla="*/ 21 w 610"/>
                <a:gd name="T25" fmla="*/ 431 h 488"/>
                <a:gd name="T26" fmla="*/ 0 w 610"/>
                <a:gd name="T27" fmla="*/ 431 h 488"/>
                <a:gd name="T28" fmla="*/ 0 w 610"/>
                <a:gd name="T29" fmla="*/ 465 h 488"/>
                <a:gd name="T30" fmla="*/ 0 w 610"/>
                <a:gd name="T31" fmla="*/ 465 h 488"/>
                <a:gd name="T32" fmla="*/ 2 w 610"/>
                <a:gd name="T33" fmla="*/ 475 h 488"/>
                <a:gd name="T34" fmla="*/ 22 w 610"/>
                <a:gd name="T35" fmla="*/ 488 h 488"/>
                <a:gd name="T36" fmla="*/ 389 w 610"/>
                <a:gd name="T37" fmla="*/ 488 h 488"/>
                <a:gd name="T38" fmla="*/ 441 w 610"/>
                <a:gd name="T39" fmla="*/ 464 h 488"/>
                <a:gd name="T40" fmla="*/ 602 w 610"/>
                <a:gd name="T41" fmla="*/ 272 h 488"/>
                <a:gd name="T42" fmla="*/ 610 w 610"/>
                <a:gd name="T43" fmla="*/ 250 h 488"/>
                <a:gd name="T44" fmla="*/ 610 w 610"/>
                <a:gd name="T45" fmla="*/ 250 h 488"/>
                <a:gd name="T46" fmla="*/ 610 w 610"/>
                <a:gd name="T47" fmla="*/ 216 h 4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10" h="488">
                  <a:moveTo>
                    <a:pt x="610" y="216"/>
                  </a:moveTo>
                  <a:cubicBezTo>
                    <a:pt x="592" y="216"/>
                    <a:pt x="592" y="216"/>
                    <a:pt x="592" y="216"/>
                  </a:cubicBezTo>
                  <a:cubicBezTo>
                    <a:pt x="441" y="36"/>
                    <a:pt x="441" y="36"/>
                    <a:pt x="441" y="36"/>
                  </a:cubicBezTo>
                  <a:cubicBezTo>
                    <a:pt x="428" y="21"/>
                    <a:pt x="409" y="12"/>
                    <a:pt x="389" y="12"/>
                  </a:cubicBezTo>
                  <a:cubicBezTo>
                    <a:pt x="42" y="12"/>
                    <a:pt x="42" y="12"/>
                    <a:pt x="42" y="12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40"/>
                    <a:pt x="2" y="45"/>
                    <a:pt x="5" y="49"/>
                  </a:cubicBezTo>
                  <a:cubicBezTo>
                    <a:pt x="155" y="228"/>
                    <a:pt x="155" y="228"/>
                    <a:pt x="155" y="228"/>
                  </a:cubicBezTo>
                  <a:cubicBezTo>
                    <a:pt x="166" y="241"/>
                    <a:pt x="166" y="259"/>
                    <a:pt x="155" y="272"/>
                  </a:cubicBezTo>
                  <a:cubicBezTo>
                    <a:pt x="21" y="431"/>
                    <a:pt x="21" y="431"/>
                    <a:pt x="21" y="431"/>
                  </a:cubicBezTo>
                  <a:cubicBezTo>
                    <a:pt x="0" y="431"/>
                    <a:pt x="0" y="431"/>
                    <a:pt x="0" y="431"/>
                  </a:cubicBezTo>
                  <a:cubicBezTo>
                    <a:pt x="0" y="465"/>
                    <a:pt x="0" y="465"/>
                    <a:pt x="0" y="465"/>
                  </a:cubicBezTo>
                  <a:cubicBezTo>
                    <a:pt x="0" y="465"/>
                    <a:pt x="0" y="465"/>
                    <a:pt x="0" y="465"/>
                  </a:cubicBezTo>
                  <a:cubicBezTo>
                    <a:pt x="0" y="469"/>
                    <a:pt x="0" y="472"/>
                    <a:pt x="2" y="475"/>
                  </a:cubicBezTo>
                  <a:cubicBezTo>
                    <a:pt x="6" y="483"/>
                    <a:pt x="14" y="488"/>
                    <a:pt x="22" y="488"/>
                  </a:cubicBezTo>
                  <a:cubicBezTo>
                    <a:pt x="389" y="488"/>
                    <a:pt x="389" y="488"/>
                    <a:pt x="389" y="488"/>
                  </a:cubicBezTo>
                  <a:cubicBezTo>
                    <a:pt x="409" y="488"/>
                    <a:pt x="428" y="479"/>
                    <a:pt x="441" y="464"/>
                  </a:cubicBezTo>
                  <a:cubicBezTo>
                    <a:pt x="602" y="272"/>
                    <a:pt x="602" y="272"/>
                    <a:pt x="602" y="272"/>
                  </a:cubicBezTo>
                  <a:cubicBezTo>
                    <a:pt x="607" y="265"/>
                    <a:pt x="610" y="258"/>
                    <a:pt x="610" y="250"/>
                  </a:cubicBezTo>
                  <a:cubicBezTo>
                    <a:pt x="610" y="250"/>
                    <a:pt x="610" y="250"/>
                    <a:pt x="610" y="250"/>
                  </a:cubicBezTo>
                  <a:lnTo>
                    <a:pt x="610" y="216"/>
                  </a:lnTo>
                  <a:close/>
                </a:path>
              </a:pathLst>
            </a:custGeom>
            <a:solidFill>
              <a:schemeClr val="accent2">
                <a:lumMod val="75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 sz="1350">
                <a:solidFill>
                  <a:srgbClr val="494949"/>
                </a:solidFill>
                <a:ea typeface="MS PGothic" panose="020B0600070205080204" pitchFamily="34" charset="-128"/>
              </a:endParaRPr>
            </a:p>
          </p:txBody>
        </p:sp>
        <p:sp>
          <p:nvSpPr>
            <p:cNvPr id="44092" name="Freeform 8">
              <a:extLst>
                <a:ext uri="{FF2B5EF4-FFF2-40B4-BE49-F238E27FC236}">
                  <a16:creationId xmlns="" xmlns:a16="http://schemas.microsoft.com/office/drawing/2014/main" id="{58B3E5F1-E1C9-6347-9040-072E9D1A00EF}"/>
                </a:ext>
              </a:extLst>
            </p:cNvPr>
            <p:cNvSpPr>
              <a:spLocks/>
            </p:cNvSpPr>
            <p:nvPr/>
          </p:nvSpPr>
          <p:spPr bwMode="auto">
            <a:xfrm>
              <a:off x="3779839" y="2466976"/>
              <a:ext cx="2305050" cy="1795463"/>
            </a:xfrm>
            <a:custGeom>
              <a:avLst/>
              <a:gdLst>
                <a:gd name="T0" fmla="*/ 2147483646 w 614"/>
                <a:gd name="T1" fmla="*/ 2147483646 h 476"/>
                <a:gd name="T2" fmla="*/ 2147483646 w 614"/>
                <a:gd name="T3" fmla="*/ 2147483646 h 476"/>
                <a:gd name="T4" fmla="*/ 2147483646 w 614"/>
                <a:gd name="T5" fmla="*/ 2147483646 h 476"/>
                <a:gd name="T6" fmla="*/ 2147483646 w 614"/>
                <a:gd name="T7" fmla="*/ 2147483646 h 476"/>
                <a:gd name="T8" fmla="*/ 2147483646 w 614"/>
                <a:gd name="T9" fmla="*/ 2147483646 h 476"/>
                <a:gd name="T10" fmla="*/ 2147483646 w 614"/>
                <a:gd name="T11" fmla="*/ 2147483646 h 476"/>
                <a:gd name="T12" fmla="*/ 2147483646 w 614"/>
                <a:gd name="T13" fmla="*/ 2147483646 h 476"/>
                <a:gd name="T14" fmla="*/ 2147483646 w 614"/>
                <a:gd name="T15" fmla="*/ 2147483646 h 476"/>
                <a:gd name="T16" fmla="*/ 2147483646 w 614"/>
                <a:gd name="T17" fmla="*/ 2147483646 h 476"/>
                <a:gd name="T18" fmla="*/ 2147483646 w 614"/>
                <a:gd name="T19" fmla="*/ 2147483646 h 476"/>
                <a:gd name="T20" fmla="*/ 2147483646 w 614"/>
                <a:gd name="T21" fmla="*/ 2147483646 h 476"/>
                <a:gd name="T22" fmla="*/ 2147483646 w 614"/>
                <a:gd name="T23" fmla="*/ 0 h 476"/>
                <a:gd name="T24" fmla="*/ 2147483646 w 614"/>
                <a:gd name="T25" fmla="*/ 0 h 476"/>
                <a:gd name="T26" fmla="*/ 2147483646 w 614"/>
                <a:gd name="T27" fmla="*/ 2147483646 h 476"/>
                <a:gd name="T28" fmla="*/ 2147483646 w 614"/>
                <a:gd name="T29" fmla="*/ 2147483646 h 47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614" h="476">
                  <a:moveTo>
                    <a:pt x="604" y="216"/>
                  </a:moveTo>
                  <a:cubicBezTo>
                    <a:pt x="614" y="229"/>
                    <a:pt x="614" y="247"/>
                    <a:pt x="604" y="260"/>
                  </a:cubicBezTo>
                  <a:cubicBezTo>
                    <a:pt x="443" y="452"/>
                    <a:pt x="443" y="452"/>
                    <a:pt x="443" y="452"/>
                  </a:cubicBezTo>
                  <a:cubicBezTo>
                    <a:pt x="430" y="467"/>
                    <a:pt x="411" y="476"/>
                    <a:pt x="391" y="476"/>
                  </a:cubicBezTo>
                  <a:cubicBezTo>
                    <a:pt x="24" y="476"/>
                    <a:pt x="24" y="476"/>
                    <a:pt x="24" y="476"/>
                  </a:cubicBezTo>
                  <a:cubicBezTo>
                    <a:pt x="16" y="476"/>
                    <a:pt x="8" y="471"/>
                    <a:pt x="4" y="463"/>
                  </a:cubicBezTo>
                  <a:cubicBezTo>
                    <a:pt x="0" y="455"/>
                    <a:pt x="1" y="445"/>
                    <a:pt x="7" y="439"/>
                  </a:cubicBezTo>
                  <a:cubicBezTo>
                    <a:pt x="157" y="260"/>
                    <a:pt x="157" y="260"/>
                    <a:pt x="157" y="260"/>
                  </a:cubicBezTo>
                  <a:cubicBezTo>
                    <a:pt x="168" y="247"/>
                    <a:pt x="168" y="229"/>
                    <a:pt x="157" y="216"/>
                  </a:cubicBezTo>
                  <a:cubicBezTo>
                    <a:pt x="7" y="37"/>
                    <a:pt x="7" y="37"/>
                    <a:pt x="7" y="37"/>
                  </a:cubicBezTo>
                  <a:cubicBezTo>
                    <a:pt x="1" y="30"/>
                    <a:pt x="0" y="21"/>
                    <a:pt x="4" y="13"/>
                  </a:cubicBezTo>
                  <a:cubicBezTo>
                    <a:pt x="8" y="5"/>
                    <a:pt x="16" y="0"/>
                    <a:pt x="24" y="0"/>
                  </a:cubicBezTo>
                  <a:cubicBezTo>
                    <a:pt x="391" y="0"/>
                    <a:pt x="391" y="0"/>
                    <a:pt x="391" y="0"/>
                  </a:cubicBezTo>
                  <a:cubicBezTo>
                    <a:pt x="411" y="0"/>
                    <a:pt x="430" y="9"/>
                    <a:pt x="443" y="24"/>
                  </a:cubicBezTo>
                  <a:lnTo>
                    <a:pt x="604" y="21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1350">
                <a:solidFill>
                  <a:srgbClr val="494949"/>
                </a:solidFill>
                <a:ea typeface="MS PGothic" panose="020B0600070205080204" pitchFamily="34" charset="-128"/>
              </a:endParaRPr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="" xmlns:a16="http://schemas.microsoft.com/office/drawing/2014/main" id="{A143E8ED-51E5-0F46-A1E9-9C56F62D68C8}"/>
              </a:ext>
            </a:extLst>
          </p:cNvPr>
          <p:cNvGrpSpPr>
            <a:grpSpLocks/>
          </p:cNvGrpSpPr>
          <p:nvPr/>
        </p:nvGrpSpPr>
        <p:grpSpPr bwMode="auto">
          <a:xfrm>
            <a:off x="664369" y="3565923"/>
            <a:ext cx="307181" cy="307181"/>
            <a:chOff x="1520701" y="3514986"/>
            <a:chExt cx="409582" cy="409582"/>
          </a:xfrm>
        </p:grpSpPr>
        <p:sp>
          <p:nvSpPr>
            <p:cNvPr id="44081" name="Freeform 19">
              <a:extLst>
                <a:ext uri="{FF2B5EF4-FFF2-40B4-BE49-F238E27FC236}">
                  <a16:creationId xmlns="" xmlns:a16="http://schemas.microsoft.com/office/drawing/2014/main" id="{8DB23E06-45BE-A648-8F9F-FF129DDA605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20701" y="3514986"/>
              <a:ext cx="409582" cy="409582"/>
            </a:xfrm>
            <a:custGeom>
              <a:avLst/>
              <a:gdLst>
                <a:gd name="T0" fmla="*/ 2147483646 w 128"/>
                <a:gd name="T1" fmla="*/ 2147483646 h 128"/>
                <a:gd name="T2" fmla="*/ 2147483646 w 128"/>
                <a:gd name="T3" fmla="*/ 2147483646 h 128"/>
                <a:gd name="T4" fmla="*/ 2147483646 w 128"/>
                <a:gd name="T5" fmla="*/ 2147483646 h 128"/>
                <a:gd name="T6" fmla="*/ 2147483646 w 128"/>
                <a:gd name="T7" fmla="*/ 0 h 128"/>
                <a:gd name="T8" fmla="*/ 2147483646 w 128"/>
                <a:gd name="T9" fmla="*/ 2147483646 h 128"/>
                <a:gd name="T10" fmla="*/ 2147483646 w 128"/>
                <a:gd name="T11" fmla="*/ 2147483646 h 128"/>
                <a:gd name="T12" fmla="*/ 2147483646 w 128"/>
                <a:gd name="T13" fmla="*/ 2147483646 h 128"/>
                <a:gd name="T14" fmla="*/ 2147483646 w 128"/>
                <a:gd name="T15" fmla="*/ 2147483646 h 128"/>
                <a:gd name="T16" fmla="*/ 2147483646 w 128"/>
                <a:gd name="T17" fmla="*/ 0 h 128"/>
                <a:gd name="T18" fmla="*/ 2147483646 w 128"/>
                <a:gd name="T19" fmla="*/ 2147483646 h 128"/>
                <a:gd name="T20" fmla="*/ 2147483646 w 128"/>
                <a:gd name="T21" fmla="*/ 2147483646 h 128"/>
                <a:gd name="T22" fmla="*/ 2147483646 w 128"/>
                <a:gd name="T23" fmla="*/ 2147483646 h 128"/>
                <a:gd name="T24" fmla="*/ 2147483646 w 128"/>
                <a:gd name="T25" fmla="*/ 2147483646 h 128"/>
                <a:gd name="T26" fmla="*/ 2147483646 w 128"/>
                <a:gd name="T27" fmla="*/ 0 h 128"/>
                <a:gd name="T28" fmla="*/ 2147483646 w 128"/>
                <a:gd name="T29" fmla="*/ 2147483646 h 128"/>
                <a:gd name="T30" fmla="*/ 2147483646 w 128"/>
                <a:gd name="T31" fmla="*/ 2147483646 h 128"/>
                <a:gd name="T32" fmla="*/ 2147483646 w 128"/>
                <a:gd name="T33" fmla="*/ 2147483646 h 128"/>
                <a:gd name="T34" fmla="*/ 0 w 128"/>
                <a:gd name="T35" fmla="*/ 2147483646 h 128"/>
                <a:gd name="T36" fmla="*/ 0 w 128"/>
                <a:gd name="T37" fmla="*/ 2147483646 h 128"/>
                <a:gd name="T38" fmla="*/ 2147483646 w 128"/>
                <a:gd name="T39" fmla="*/ 2147483646 h 128"/>
                <a:gd name="T40" fmla="*/ 2147483646 w 128"/>
                <a:gd name="T41" fmla="*/ 2147483646 h 128"/>
                <a:gd name="T42" fmla="*/ 2147483646 w 128"/>
                <a:gd name="T43" fmla="*/ 2147483646 h 128"/>
                <a:gd name="T44" fmla="*/ 2147483646 w 128"/>
                <a:gd name="T45" fmla="*/ 2147483646 h 128"/>
                <a:gd name="T46" fmla="*/ 2147483646 w 128"/>
                <a:gd name="T47" fmla="*/ 2147483646 h 128"/>
                <a:gd name="T48" fmla="*/ 2147483646 w 128"/>
                <a:gd name="T49" fmla="*/ 2147483646 h 128"/>
                <a:gd name="T50" fmla="*/ 2147483646 w 128"/>
                <a:gd name="T51" fmla="*/ 2147483646 h 128"/>
                <a:gd name="T52" fmla="*/ 2147483646 w 128"/>
                <a:gd name="T53" fmla="*/ 2147483646 h 128"/>
                <a:gd name="T54" fmla="*/ 2147483646 w 128"/>
                <a:gd name="T55" fmla="*/ 2147483646 h 128"/>
                <a:gd name="T56" fmla="*/ 2147483646 w 128"/>
                <a:gd name="T57" fmla="*/ 2147483646 h 128"/>
                <a:gd name="T58" fmla="*/ 2147483646 w 128"/>
                <a:gd name="T59" fmla="*/ 2147483646 h 128"/>
                <a:gd name="T60" fmla="*/ 2147483646 w 128"/>
                <a:gd name="T61" fmla="*/ 2147483646 h 128"/>
                <a:gd name="T62" fmla="*/ 2147483646 w 128"/>
                <a:gd name="T63" fmla="*/ 2147483646 h 128"/>
                <a:gd name="T64" fmla="*/ 2147483646 w 128"/>
                <a:gd name="T65" fmla="*/ 2147483646 h 128"/>
                <a:gd name="T66" fmla="*/ 2147483646 w 128"/>
                <a:gd name="T67" fmla="*/ 2147483646 h 128"/>
                <a:gd name="T68" fmla="*/ 2147483646 w 128"/>
                <a:gd name="T69" fmla="*/ 2147483646 h 128"/>
                <a:gd name="T70" fmla="*/ 2147483646 w 128"/>
                <a:gd name="T71" fmla="*/ 2147483646 h 128"/>
                <a:gd name="T72" fmla="*/ 2147483646 w 128"/>
                <a:gd name="T73" fmla="*/ 2147483646 h 128"/>
                <a:gd name="T74" fmla="*/ 2147483646 w 128"/>
                <a:gd name="T75" fmla="*/ 2147483646 h 128"/>
                <a:gd name="T76" fmla="*/ 2147483646 w 128"/>
                <a:gd name="T77" fmla="*/ 2147483646 h 128"/>
                <a:gd name="T78" fmla="*/ 2147483646 w 128"/>
                <a:gd name="T79" fmla="*/ 2147483646 h 128"/>
                <a:gd name="T80" fmla="*/ 2147483646 w 128"/>
                <a:gd name="T81" fmla="*/ 2147483646 h 128"/>
                <a:gd name="T82" fmla="*/ 2147483646 w 128"/>
                <a:gd name="T83" fmla="*/ 2147483646 h 128"/>
                <a:gd name="T84" fmla="*/ 2147483646 w 128"/>
                <a:gd name="T85" fmla="*/ 2147483646 h 128"/>
                <a:gd name="T86" fmla="*/ 2147483646 w 128"/>
                <a:gd name="T87" fmla="*/ 2147483646 h 128"/>
                <a:gd name="T88" fmla="*/ 2147483646 w 128"/>
                <a:gd name="T89" fmla="*/ 2147483646 h 128"/>
                <a:gd name="T90" fmla="*/ 2147483646 w 128"/>
                <a:gd name="T91" fmla="*/ 2147483646 h 128"/>
                <a:gd name="T92" fmla="*/ 2147483646 w 128"/>
                <a:gd name="T93" fmla="*/ 2147483646 h 128"/>
                <a:gd name="T94" fmla="*/ 2147483646 w 128"/>
                <a:gd name="T95" fmla="*/ 2147483646 h 128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0" t="0" r="r" b="b"/>
              <a:pathLst>
                <a:path w="128" h="128">
                  <a:moveTo>
                    <a:pt x="117" y="12"/>
                  </a:moveTo>
                  <a:cubicBezTo>
                    <a:pt x="100" y="12"/>
                    <a:pt x="100" y="12"/>
                    <a:pt x="100" y="12"/>
                  </a:cubicBezTo>
                  <a:cubicBezTo>
                    <a:pt x="100" y="4"/>
                    <a:pt x="100" y="4"/>
                    <a:pt x="100" y="4"/>
                  </a:cubicBezTo>
                  <a:cubicBezTo>
                    <a:pt x="100" y="2"/>
                    <a:pt x="98" y="0"/>
                    <a:pt x="96" y="0"/>
                  </a:cubicBezTo>
                  <a:cubicBezTo>
                    <a:pt x="94" y="0"/>
                    <a:pt x="92" y="2"/>
                    <a:pt x="92" y="4"/>
                  </a:cubicBezTo>
                  <a:cubicBezTo>
                    <a:pt x="92" y="12"/>
                    <a:pt x="92" y="12"/>
                    <a:pt x="92" y="12"/>
                  </a:cubicBezTo>
                  <a:cubicBezTo>
                    <a:pt x="68" y="12"/>
                    <a:pt x="68" y="12"/>
                    <a:pt x="68" y="12"/>
                  </a:cubicBezTo>
                  <a:cubicBezTo>
                    <a:pt x="68" y="4"/>
                    <a:pt x="68" y="4"/>
                    <a:pt x="68" y="4"/>
                  </a:cubicBezTo>
                  <a:cubicBezTo>
                    <a:pt x="68" y="2"/>
                    <a:pt x="66" y="0"/>
                    <a:pt x="64" y="0"/>
                  </a:cubicBezTo>
                  <a:cubicBezTo>
                    <a:pt x="62" y="0"/>
                    <a:pt x="60" y="2"/>
                    <a:pt x="60" y="4"/>
                  </a:cubicBezTo>
                  <a:cubicBezTo>
                    <a:pt x="60" y="12"/>
                    <a:pt x="60" y="12"/>
                    <a:pt x="60" y="12"/>
                  </a:cubicBezTo>
                  <a:cubicBezTo>
                    <a:pt x="36" y="12"/>
                    <a:pt x="36" y="12"/>
                    <a:pt x="36" y="12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6" y="2"/>
                    <a:pt x="34" y="0"/>
                    <a:pt x="32" y="0"/>
                  </a:cubicBezTo>
                  <a:cubicBezTo>
                    <a:pt x="30" y="0"/>
                    <a:pt x="28" y="2"/>
                    <a:pt x="28" y="4"/>
                  </a:cubicBezTo>
                  <a:cubicBezTo>
                    <a:pt x="28" y="12"/>
                    <a:pt x="28" y="12"/>
                    <a:pt x="28" y="12"/>
                  </a:cubicBezTo>
                  <a:cubicBezTo>
                    <a:pt x="11" y="12"/>
                    <a:pt x="11" y="12"/>
                    <a:pt x="11" y="12"/>
                  </a:cubicBezTo>
                  <a:cubicBezTo>
                    <a:pt x="5" y="12"/>
                    <a:pt x="0" y="17"/>
                    <a:pt x="0" y="23"/>
                  </a:cubicBezTo>
                  <a:cubicBezTo>
                    <a:pt x="0" y="117"/>
                    <a:pt x="0" y="117"/>
                    <a:pt x="0" y="117"/>
                  </a:cubicBezTo>
                  <a:cubicBezTo>
                    <a:pt x="0" y="123"/>
                    <a:pt x="5" y="128"/>
                    <a:pt x="11" y="128"/>
                  </a:cubicBezTo>
                  <a:cubicBezTo>
                    <a:pt x="117" y="128"/>
                    <a:pt x="117" y="128"/>
                    <a:pt x="117" y="128"/>
                  </a:cubicBezTo>
                  <a:cubicBezTo>
                    <a:pt x="123" y="128"/>
                    <a:pt x="128" y="123"/>
                    <a:pt x="128" y="117"/>
                  </a:cubicBezTo>
                  <a:cubicBezTo>
                    <a:pt x="128" y="23"/>
                    <a:pt x="128" y="23"/>
                    <a:pt x="128" y="23"/>
                  </a:cubicBezTo>
                  <a:cubicBezTo>
                    <a:pt x="128" y="17"/>
                    <a:pt x="123" y="12"/>
                    <a:pt x="117" y="12"/>
                  </a:cubicBezTo>
                  <a:close/>
                  <a:moveTo>
                    <a:pt x="120" y="117"/>
                  </a:moveTo>
                  <a:cubicBezTo>
                    <a:pt x="120" y="119"/>
                    <a:pt x="119" y="120"/>
                    <a:pt x="117" y="120"/>
                  </a:cubicBezTo>
                  <a:cubicBezTo>
                    <a:pt x="11" y="120"/>
                    <a:pt x="11" y="120"/>
                    <a:pt x="11" y="120"/>
                  </a:cubicBezTo>
                  <a:cubicBezTo>
                    <a:pt x="9" y="120"/>
                    <a:pt x="8" y="119"/>
                    <a:pt x="8" y="117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8" y="21"/>
                    <a:pt x="9" y="20"/>
                    <a:pt x="11" y="20"/>
                  </a:cubicBezTo>
                  <a:cubicBezTo>
                    <a:pt x="28" y="20"/>
                    <a:pt x="28" y="20"/>
                    <a:pt x="28" y="20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30"/>
                    <a:pt x="30" y="32"/>
                    <a:pt x="32" y="32"/>
                  </a:cubicBezTo>
                  <a:cubicBezTo>
                    <a:pt x="34" y="32"/>
                    <a:pt x="36" y="30"/>
                    <a:pt x="36" y="28"/>
                  </a:cubicBezTo>
                  <a:cubicBezTo>
                    <a:pt x="36" y="20"/>
                    <a:pt x="36" y="20"/>
                    <a:pt x="36" y="20"/>
                  </a:cubicBezTo>
                  <a:cubicBezTo>
                    <a:pt x="60" y="20"/>
                    <a:pt x="60" y="20"/>
                    <a:pt x="60" y="20"/>
                  </a:cubicBezTo>
                  <a:cubicBezTo>
                    <a:pt x="60" y="28"/>
                    <a:pt x="60" y="28"/>
                    <a:pt x="60" y="28"/>
                  </a:cubicBezTo>
                  <a:cubicBezTo>
                    <a:pt x="60" y="30"/>
                    <a:pt x="62" y="32"/>
                    <a:pt x="64" y="32"/>
                  </a:cubicBezTo>
                  <a:cubicBezTo>
                    <a:pt x="66" y="32"/>
                    <a:pt x="68" y="30"/>
                    <a:pt x="68" y="28"/>
                  </a:cubicBezTo>
                  <a:cubicBezTo>
                    <a:pt x="68" y="20"/>
                    <a:pt x="68" y="20"/>
                    <a:pt x="68" y="20"/>
                  </a:cubicBezTo>
                  <a:cubicBezTo>
                    <a:pt x="92" y="20"/>
                    <a:pt x="92" y="20"/>
                    <a:pt x="92" y="20"/>
                  </a:cubicBezTo>
                  <a:cubicBezTo>
                    <a:pt x="92" y="28"/>
                    <a:pt x="92" y="28"/>
                    <a:pt x="92" y="28"/>
                  </a:cubicBezTo>
                  <a:cubicBezTo>
                    <a:pt x="92" y="30"/>
                    <a:pt x="94" y="32"/>
                    <a:pt x="96" y="32"/>
                  </a:cubicBezTo>
                  <a:cubicBezTo>
                    <a:pt x="98" y="32"/>
                    <a:pt x="100" y="30"/>
                    <a:pt x="100" y="28"/>
                  </a:cubicBezTo>
                  <a:cubicBezTo>
                    <a:pt x="100" y="20"/>
                    <a:pt x="100" y="20"/>
                    <a:pt x="100" y="20"/>
                  </a:cubicBezTo>
                  <a:cubicBezTo>
                    <a:pt x="117" y="20"/>
                    <a:pt x="117" y="20"/>
                    <a:pt x="117" y="20"/>
                  </a:cubicBezTo>
                  <a:cubicBezTo>
                    <a:pt x="119" y="20"/>
                    <a:pt x="120" y="21"/>
                    <a:pt x="120" y="23"/>
                  </a:cubicBezTo>
                  <a:lnTo>
                    <a:pt x="120" y="1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1350">
                <a:solidFill>
                  <a:srgbClr val="494949"/>
                </a:solidFill>
                <a:ea typeface="MS PGothic" panose="020B0600070205080204" pitchFamily="34" charset="-128"/>
              </a:endParaRPr>
            </a:p>
          </p:txBody>
        </p:sp>
        <p:sp>
          <p:nvSpPr>
            <p:cNvPr id="44082" name="Rectangle 20">
              <a:extLst>
                <a:ext uri="{FF2B5EF4-FFF2-40B4-BE49-F238E27FC236}">
                  <a16:creationId xmlns="" xmlns:a16="http://schemas.microsoft.com/office/drawing/2014/main" id="{42036E5F-7C26-A84E-9723-09A0EECA1A9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89969" y="3658816"/>
              <a:ext cx="59910" cy="457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id-ID" altLang="en-US" sz="1350">
                <a:solidFill>
                  <a:srgbClr val="494949"/>
                </a:solidFill>
              </a:endParaRPr>
            </a:p>
          </p:txBody>
        </p:sp>
        <p:sp>
          <p:nvSpPr>
            <p:cNvPr id="44083" name="Rectangle 21">
              <a:extLst>
                <a:ext uri="{FF2B5EF4-FFF2-40B4-BE49-F238E27FC236}">
                  <a16:creationId xmlns="" xmlns:a16="http://schemas.microsoft.com/office/drawing/2014/main" id="{76F2E784-92B8-CC4B-B381-FC97D3DEA4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88899" y="3734222"/>
              <a:ext cx="62050" cy="457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id-ID" altLang="en-US" sz="1350">
                <a:solidFill>
                  <a:srgbClr val="494949"/>
                </a:solidFill>
              </a:endParaRPr>
            </a:p>
          </p:txBody>
        </p:sp>
        <p:sp>
          <p:nvSpPr>
            <p:cNvPr id="44084" name="Rectangle 22">
              <a:extLst>
                <a:ext uri="{FF2B5EF4-FFF2-40B4-BE49-F238E27FC236}">
                  <a16:creationId xmlns="" xmlns:a16="http://schemas.microsoft.com/office/drawing/2014/main" id="{1C3E9186-A1F6-3F48-95D8-57A6770C2D4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89969" y="3809629"/>
              <a:ext cx="59910" cy="457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id-ID" altLang="en-US" sz="1350">
                <a:solidFill>
                  <a:srgbClr val="494949"/>
                </a:solidFill>
              </a:endParaRPr>
            </a:p>
          </p:txBody>
        </p:sp>
        <p:sp>
          <p:nvSpPr>
            <p:cNvPr id="44085" name="Rectangle 23">
              <a:extLst>
                <a:ext uri="{FF2B5EF4-FFF2-40B4-BE49-F238E27FC236}">
                  <a16:creationId xmlns="" xmlns:a16="http://schemas.microsoft.com/office/drawing/2014/main" id="{3D3C7931-6091-D044-992B-77755DB5219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96331" y="3809629"/>
              <a:ext cx="59910" cy="457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id-ID" altLang="en-US" sz="1350">
                <a:solidFill>
                  <a:srgbClr val="494949"/>
                </a:solidFill>
              </a:endParaRPr>
            </a:p>
          </p:txBody>
        </p:sp>
        <p:sp>
          <p:nvSpPr>
            <p:cNvPr id="44086" name="Rectangle 24">
              <a:extLst>
                <a:ext uri="{FF2B5EF4-FFF2-40B4-BE49-F238E27FC236}">
                  <a16:creationId xmlns="" xmlns:a16="http://schemas.microsoft.com/office/drawing/2014/main" id="{66BCB4F2-F9AB-484C-AE75-9166DACD556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95261" y="3734222"/>
              <a:ext cx="62050" cy="457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id-ID" altLang="en-US" sz="1350">
                <a:solidFill>
                  <a:srgbClr val="494949"/>
                </a:solidFill>
              </a:endParaRPr>
            </a:p>
          </p:txBody>
        </p:sp>
        <p:sp>
          <p:nvSpPr>
            <p:cNvPr id="44087" name="Rectangle 25">
              <a:extLst>
                <a:ext uri="{FF2B5EF4-FFF2-40B4-BE49-F238E27FC236}">
                  <a16:creationId xmlns="" xmlns:a16="http://schemas.microsoft.com/office/drawing/2014/main" id="{9E38BBAD-B101-5D47-BD83-B362ADD7052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96331" y="3658816"/>
              <a:ext cx="59910" cy="457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id-ID" altLang="en-US" sz="1350">
                <a:solidFill>
                  <a:srgbClr val="494949"/>
                </a:solidFill>
              </a:endParaRPr>
            </a:p>
          </p:txBody>
        </p:sp>
        <p:sp>
          <p:nvSpPr>
            <p:cNvPr id="44088" name="Rectangle 26">
              <a:extLst>
                <a:ext uri="{FF2B5EF4-FFF2-40B4-BE49-F238E27FC236}">
                  <a16:creationId xmlns="" xmlns:a16="http://schemas.microsoft.com/office/drawing/2014/main" id="{84E6E5B5-848C-CD43-AF42-068C747FCFA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1106" y="3809629"/>
              <a:ext cx="59910" cy="457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id-ID" altLang="en-US" sz="1350">
                <a:solidFill>
                  <a:srgbClr val="494949"/>
                </a:solidFill>
              </a:endParaRPr>
            </a:p>
          </p:txBody>
        </p:sp>
        <p:sp>
          <p:nvSpPr>
            <p:cNvPr id="44089" name="Rectangle 27">
              <a:extLst>
                <a:ext uri="{FF2B5EF4-FFF2-40B4-BE49-F238E27FC236}">
                  <a16:creationId xmlns="" xmlns:a16="http://schemas.microsoft.com/office/drawing/2014/main" id="{93221E0A-986F-7F48-A54A-65C7CD89FD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0036" y="3734222"/>
              <a:ext cx="62050" cy="457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id-ID" altLang="en-US" sz="1350">
                <a:solidFill>
                  <a:srgbClr val="494949"/>
                </a:solidFill>
              </a:endParaRPr>
            </a:p>
          </p:txBody>
        </p:sp>
        <p:sp>
          <p:nvSpPr>
            <p:cNvPr id="44090" name="Rectangle 28">
              <a:extLst>
                <a:ext uri="{FF2B5EF4-FFF2-40B4-BE49-F238E27FC236}">
                  <a16:creationId xmlns="" xmlns:a16="http://schemas.microsoft.com/office/drawing/2014/main" id="{5C70FC41-9406-C541-B7E1-709C71E096F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1106" y="3658816"/>
              <a:ext cx="59910" cy="457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id-ID" altLang="en-US" sz="1350">
                <a:solidFill>
                  <a:srgbClr val="494949"/>
                </a:solidFill>
              </a:endParaRPr>
            </a:p>
          </p:txBody>
        </p:sp>
      </p:grpSp>
      <p:sp>
        <p:nvSpPr>
          <p:cNvPr id="41" name="Round Diagonal Corner Rectangle 40">
            <a:extLst>
              <a:ext uri="{FF2B5EF4-FFF2-40B4-BE49-F238E27FC236}">
                <a16:creationId xmlns="" xmlns:a16="http://schemas.microsoft.com/office/drawing/2014/main" id="{F932AE0C-F890-634B-83EC-30F4B021A80D}"/>
              </a:ext>
            </a:extLst>
          </p:cNvPr>
          <p:cNvSpPr>
            <a:spLocks/>
          </p:cNvSpPr>
          <p:nvPr/>
        </p:nvSpPr>
        <p:spPr bwMode="auto">
          <a:xfrm>
            <a:off x="3393282" y="2956323"/>
            <a:ext cx="1012031" cy="602456"/>
          </a:xfrm>
          <a:custGeom>
            <a:avLst/>
            <a:gdLst>
              <a:gd name="T0" fmla="*/ 133882 w 1349375"/>
              <a:gd name="T1" fmla="*/ 0 h 803275"/>
              <a:gd name="T2" fmla="*/ 1349375 w 1349375"/>
              <a:gd name="T3" fmla="*/ 0 h 803275"/>
              <a:gd name="T4" fmla="*/ 1349375 w 1349375"/>
              <a:gd name="T5" fmla="*/ 0 h 803275"/>
              <a:gd name="T6" fmla="*/ 1349375 w 1349375"/>
              <a:gd name="T7" fmla="*/ 669393 h 803275"/>
              <a:gd name="T8" fmla="*/ 1215493 w 1349375"/>
              <a:gd name="T9" fmla="*/ 803275 h 803275"/>
              <a:gd name="T10" fmla="*/ 0 w 1349375"/>
              <a:gd name="T11" fmla="*/ 803275 h 803275"/>
              <a:gd name="T12" fmla="*/ 0 w 1349375"/>
              <a:gd name="T13" fmla="*/ 803275 h 803275"/>
              <a:gd name="T14" fmla="*/ 0 w 1349375"/>
              <a:gd name="T15" fmla="*/ 133882 h 803275"/>
              <a:gd name="T16" fmla="*/ 133882 w 1349375"/>
              <a:gd name="T17" fmla="*/ 0 h 803275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1349375" h="803275">
                <a:moveTo>
                  <a:pt x="133882" y="0"/>
                </a:moveTo>
                <a:lnTo>
                  <a:pt x="1349375" y="0"/>
                </a:lnTo>
                <a:lnTo>
                  <a:pt x="1349375" y="669393"/>
                </a:lnTo>
                <a:cubicBezTo>
                  <a:pt x="1349375" y="743334"/>
                  <a:pt x="1289434" y="803275"/>
                  <a:pt x="1215493" y="803275"/>
                </a:cubicBezTo>
                <a:lnTo>
                  <a:pt x="0" y="803275"/>
                </a:lnTo>
                <a:lnTo>
                  <a:pt x="0" y="133882"/>
                </a:lnTo>
                <a:cubicBezTo>
                  <a:pt x="0" y="59941"/>
                  <a:pt x="59941" y="0"/>
                  <a:pt x="133882" y="0"/>
                </a:cubicBezTo>
                <a:close/>
              </a:path>
            </a:pathLst>
          </a:custGeom>
          <a:blipFill dpi="0" rotWithShape="1">
            <a:blip r:embed="rId2"/>
            <a:srcRect/>
            <a:stretch>
              <a:fillRect/>
            </a:stretch>
          </a:blipFill>
          <a:ln w="38100" cap="flat" cmpd="sng" algn="ctr">
            <a:solidFill>
              <a:srgbClr val="0070C0"/>
            </a:solidFill>
            <a:prstDash val="solid"/>
            <a:miter lim="800000"/>
            <a:headEnd/>
            <a:tailEnd/>
          </a:ln>
        </p:spPr>
        <p:txBody>
          <a:bodyPr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GB" sz="1350">
              <a:solidFill>
                <a:srgbClr val="494949"/>
              </a:solidFill>
              <a:ea typeface="MS PGothic" panose="020B0600070205080204" pitchFamily="34" charset="-128"/>
            </a:endParaRPr>
          </a:p>
        </p:txBody>
      </p:sp>
      <p:grpSp>
        <p:nvGrpSpPr>
          <p:cNvPr id="80" name="Round Diagonal Corner Rectangle 79">
            <a:extLst>
              <a:ext uri="{FF2B5EF4-FFF2-40B4-BE49-F238E27FC236}">
                <a16:creationId xmlns="" xmlns:a16="http://schemas.microsoft.com/office/drawing/2014/main" id="{105DE163-9C3F-0A44-85DE-D2864BD847A4}"/>
              </a:ext>
            </a:extLst>
          </p:cNvPr>
          <p:cNvGrpSpPr>
            <a:grpSpLocks/>
          </p:cNvGrpSpPr>
          <p:nvPr/>
        </p:nvGrpSpPr>
        <p:grpSpPr bwMode="auto">
          <a:xfrm>
            <a:off x="2295525" y="5019675"/>
            <a:ext cx="1047750" cy="647700"/>
            <a:chOff x="1928" y="3496"/>
            <a:chExt cx="880" cy="544"/>
          </a:xfrm>
        </p:grpSpPr>
        <p:pic>
          <p:nvPicPr>
            <p:cNvPr id="44079" name="Round Diagonal Corner Rectangle 79">
              <a:extLst>
                <a:ext uri="{FF2B5EF4-FFF2-40B4-BE49-F238E27FC236}">
                  <a16:creationId xmlns="" xmlns:a16="http://schemas.microsoft.com/office/drawing/2014/main" id="{DF127646-12A6-5C46-87C9-407CD1A16E2D}"/>
                </a:ext>
              </a:extLst>
            </p:cNvPr>
            <p:cNvPicPr>
              <a:picLocks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928" y="3496"/>
              <a:ext cx="880" cy="5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4080" name="Text Box 28">
              <a:extLst>
                <a:ext uri="{FF2B5EF4-FFF2-40B4-BE49-F238E27FC236}">
                  <a16:creationId xmlns="" xmlns:a16="http://schemas.microsoft.com/office/drawing/2014/main" id="{D36E7A27-B4D6-C443-B448-12615A87718E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965" y="3539"/>
              <a:ext cx="801" cy="45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fr-FR" altLang="fr-FR" sz="1350">
                <a:solidFill>
                  <a:srgbClr val="FFFFFF"/>
                </a:solidFill>
                <a:ea typeface="MS PGothic" panose="020B0600070205080204" pitchFamily="34" charset="-128"/>
              </a:endParaRPr>
            </a:p>
          </p:txBody>
        </p:sp>
      </p:grpSp>
      <p:sp>
        <p:nvSpPr>
          <p:cNvPr id="82" name="Round Diagonal Corner Rectangle 81">
            <a:extLst>
              <a:ext uri="{FF2B5EF4-FFF2-40B4-BE49-F238E27FC236}">
                <a16:creationId xmlns="" xmlns:a16="http://schemas.microsoft.com/office/drawing/2014/main" id="{85B2A224-4658-2341-B9BC-6CAF073DC68A}"/>
              </a:ext>
            </a:extLst>
          </p:cNvPr>
          <p:cNvSpPr/>
          <p:nvPr/>
        </p:nvSpPr>
        <p:spPr>
          <a:xfrm>
            <a:off x="4467225" y="4761846"/>
            <a:ext cx="1013114" cy="602456"/>
          </a:xfrm>
          <a:prstGeom prst="round2DiagRect">
            <a:avLst/>
          </a:prstGeom>
          <a:blipFill dpi="0" rotWithShape="1">
            <a:blip r:embed="rId4"/>
            <a:srcRect/>
            <a:stretch>
              <a:fillRect t="14000"/>
            </a:stretch>
          </a:blipFill>
          <a:ln w="38100">
            <a:solidFill>
              <a:srgbClr val="0057A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1350">
              <a:solidFill>
                <a:srgbClr val="FFFFFF"/>
              </a:solidFill>
            </a:endParaRPr>
          </a:p>
        </p:txBody>
      </p:sp>
      <p:grpSp>
        <p:nvGrpSpPr>
          <p:cNvPr id="47" name="Group 46">
            <a:extLst>
              <a:ext uri="{FF2B5EF4-FFF2-40B4-BE49-F238E27FC236}">
                <a16:creationId xmlns="" xmlns:a16="http://schemas.microsoft.com/office/drawing/2014/main" id="{09E25BC6-4518-4341-9B4A-EC9E4EBFE81D}"/>
              </a:ext>
            </a:extLst>
          </p:cNvPr>
          <p:cNvGrpSpPr>
            <a:grpSpLocks/>
          </p:cNvGrpSpPr>
          <p:nvPr/>
        </p:nvGrpSpPr>
        <p:grpSpPr bwMode="auto">
          <a:xfrm>
            <a:off x="1419225" y="1719263"/>
            <a:ext cx="2382441" cy="303610"/>
            <a:chOff x="1892088" y="1257597"/>
            <a:chExt cx="3177309" cy="404101"/>
          </a:xfrm>
        </p:grpSpPr>
        <p:sp>
          <p:nvSpPr>
            <p:cNvPr id="45" name="Chevron 44">
              <a:extLst>
                <a:ext uri="{FF2B5EF4-FFF2-40B4-BE49-F238E27FC236}">
                  <a16:creationId xmlns="" xmlns:a16="http://schemas.microsoft.com/office/drawing/2014/main" id="{E8E97FFB-6EF7-D748-8512-51ECD2749FFF}"/>
                </a:ext>
              </a:extLst>
            </p:cNvPr>
            <p:cNvSpPr/>
            <p:nvPr/>
          </p:nvSpPr>
          <p:spPr>
            <a:xfrm>
              <a:off x="1892088" y="1257597"/>
              <a:ext cx="3177309" cy="347052"/>
            </a:xfrm>
            <a:prstGeom prst="chevron">
              <a:avLst/>
            </a:prstGeom>
            <a:solidFill>
              <a:srgbClr val="0057A5">
                <a:alpha val="39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350">
                <a:solidFill>
                  <a:srgbClr val="494949"/>
                </a:solidFill>
              </a:endParaRPr>
            </a:p>
          </p:txBody>
        </p:sp>
        <p:sp>
          <p:nvSpPr>
            <p:cNvPr id="44078" name="TextBox 45">
              <a:extLst>
                <a:ext uri="{FF2B5EF4-FFF2-40B4-BE49-F238E27FC236}">
                  <a16:creationId xmlns="" xmlns:a16="http://schemas.microsoft.com/office/drawing/2014/main" id="{A1E65A1A-3F60-B345-BA63-A792EDF81A8A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996216" y="1270744"/>
              <a:ext cx="3023611" cy="3909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54000" tIns="27000" rIns="54000" bIns="27000"/>
            <a:lstStyle/>
            <a:p>
              <a:pPr algn="ctr" eaLnBrk="0" fontAlgn="base" hangingPunct="0">
                <a:spcBef>
                  <a:spcPct val="0"/>
                </a:spcBef>
                <a:spcAft>
                  <a:spcPts val="450"/>
                </a:spcAft>
                <a:buSzPct val="100000"/>
                <a:defRPr/>
              </a:pPr>
              <a:r>
                <a:rPr lang="en-US" altLang="en-US" sz="1200" b="1">
                  <a:solidFill>
                    <a:srgbClr val="FFFFFF"/>
                  </a:solidFill>
                  <a:latin typeface="Dosis SemiBold" pitchFamily="2" charset="0"/>
                  <a:ea typeface="MS PGothic" panose="020B0600070205080204" pitchFamily="34" charset="-128"/>
                </a:rPr>
                <a:t>PROJECT IDEAS GENERATION</a:t>
              </a:r>
            </a:p>
          </p:txBody>
        </p:sp>
      </p:grpSp>
      <p:grpSp>
        <p:nvGrpSpPr>
          <p:cNvPr id="48" name="Group 47">
            <a:extLst>
              <a:ext uri="{FF2B5EF4-FFF2-40B4-BE49-F238E27FC236}">
                <a16:creationId xmlns="" xmlns:a16="http://schemas.microsoft.com/office/drawing/2014/main" id="{DF952DFD-5A47-3942-8CBD-95A962D59004}"/>
              </a:ext>
            </a:extLst>
          </p:cNvPr>
          <p:cNvGrpSpPr>
            <a:grpSpLocks/>
          </p:cNvGrpSpPr>
          <p:nvPr/>
        </p:nvGrpSpPr>
        <p:grpSpPr bwMode="auto">
          <a:xfrm>
            <a:off x="2690813" y="2006204"/>
            <a:ext cx="2268141" cy="302419"/>
            <a:chOff x="3588094" y="1640615"/>
            <a:chExt cx="3023611" cy="402930"/>
          </a:xfrm>
        </p:grpSpPr>
        <p:sp>
          <p:nvSpPr>
            <p:cNvPr id="87" name="Chevron 86">
              <a:extLst>
                <a:ext uri="{FF2B5EF4-FFF2-40B4-BE49-F238E27FC236}">
                  <a16:creationId xmlns="" xmlns:a16="http://schemas.microsoft.com/office/drawing/2014/main" id="{29664DF0-8CB6-014F-827D-2CB95653027B}"/>
                </a:ext>
              </a:extLst>
            </p:cNvPr>
            <p:cNvSpPr/>
            <p:nvPr/>
          </p:nvSpPr>
          <p:spPr>
            <a:xfrm>
              <a:off x="3656344" y="1640615"/>
              <a:ext cx="2818862" cy="347408"/>
            </a:xfrm>
            <a:prstGeom prst="chevron">
              <a:avLst/>
            </a:prstGeom>
            <a:solidFill>
              <a:srgbClr val="0057A5">
                <a:alpha val="71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350">
                <a:solidFill>
                  <a:srgbClr val="494949"/>
                </a:solidFill>
              </a:endParaRPr>
            </a:p>
          </p:txBody>
        </p:sp>
        <p:sp>
          <p:nvSpPr>
            <p:cNvPr id="44076" name="TextBox 89">
              <a:extLst>
                <a:ext uri="{FF2B5EF4-FFF2-40B4-BE49-F238E27FC236}">
                  <a16:creationId xmlns="" xmlns:a16="http://schemas.microsoft.com/office/drawing/2014/main" id="{3E9DD36D-8A49-F646-86CF-670FE6182C79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588094" y="1652591"/>
              <a:ext cx="3023611" cy="3909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54000" tIns="27000" rIns="54000" bIns="27000"/>
            <a:lstStyle/>
            <a:p>
              <a:pPr algn="ctr" eaLnBrk="0" fontAlgn="base" hangingPunct="0">
                <a:spcBef>
                  <a:spcPct val="0"/>
                </a:spcBef>
                <a:spcAft>
                  <a:spcPts val="450"/>
                </a:spcAft>
                <a:buSzPct val="100000"/>
                <a:defRPr/>
              </a:pPr>
              <a:r>
                <a:rPr lang="en-US" altLang="en-US" sz="1200" b="1">
                  <a:solidFill>
                    <a:srgbClr val="FFFFFF"/>
                  </a:solidFill>
                  <a:latin typeface="Dosis SemiBold" pitchFamily="2" charset="0"/>
                  <a:ea typeface="MS PGothic" panose="020B0600070205080204" pitchFamily="34" charset="-128"/>
                </a:rPr>
                <a:t>CONSORTIUM BUILDING</a:t>
              </a:r>
            </a:p>
          </p:txBody>
        </p:sp>
      </p:grpSp>
      <p:grpSp>
        <p:nvGrpSpPr>
          <p:cNvPr id="49" name="Group 48">
            <a:extLst>
              <a:ext uri="{FF2B5EF4-FFF2-40B4-BE49-F238E27FC236}">
                <a16:creationId xmlns="" xmlns:a16="http://schemas.microsoft.com/office/drawing/2014/main" id="{6DF9E298-569F-5344-8242-1A040B83B694}"/>
              </a:ext>
            </a:extLst>
          </p:cNvPr>
          <p:cNvGrpSpPr>
            <a:grpSpLocks/>
          </p:cNvGrpSpPr>
          <p:nvPr/>
        </p:nvGrpSpPr>
        <p:grpSpPr bwMode="auto">
          <a:xfrm>
            <a:off x="3245644" y="2295525"/>
            <a:ext cx="2268141" cy="300038"/>
            <a:chOff x="4327626" y="2025583"/>
            <a:chExt cx="3023611" cy="400511"/>
          </a:xfrm>
        </p:grpSpPr>
        <p:sp>
          <p:nvSpPr>
            <p:cNvPr id="88" name="Chevron 87">
              <a:extLst>
                <a:ext uri="{FF2B5EF4-FFF2-40B4-BE49-F238E27FC236}">
                  <a16:creationId xmlns="" xmlns:a16="http://schemas.microsoft.com/office/drawing/2014/main" id="{E3AD2211-F16C-EA4E-9EDF-B4E9500A8DFC}"/>
                </a:ext>
              </a:extLst>
            </p:cNvPr>
            <p:cNvSpPr/>
            <p:nvPr/>
          </p:nvSpPr>
          <p:spPr>
            <a:xfrm>
              <a:off x="4354609" y="2025583"/>
              <a:ext cx="2912506" cy="348064"/>
            </a:xfrm>
            <a:prstGeom prst="chevron">
              <a:avLst/>
            </a:prstGeom>
            <a:solidFill>
              <a:srgbClr val="0057A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350">
                <a:solidFill>
                  <a:srgbClr val="494949"/>
                </a:solidFill>
              </a:endParaRPr>
            </a:p>
          </p:txBody>
        </p:sp>
        <p:sp>
          <p:nvSpPr>
            <p:cNvPr id="44074" name="TextBox 90">
              <a:extLst>
                <a:ext uri="{FF2B5EF4-FFF2-40B4-BE49-F238E27FC236}">
                  <a16:creationId xmlns="" xmlns:a16="http://schemas.microsoft.com/office/drawing/2014/main" id="{06A543D1-7480-CB40-A659-18290F1B954F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327626" y="2035140"/>
              <a:ext cx="3023611" cy="3909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54000" tIns="27000" rIns="54000" bIns="27000"/>
            <a:lstStyle/>
            <a:p>
              <a:pPr algn="ctr" eaLnBrk="0" fontAlgn="base" hangingPunct="0">
                <a:spcBef>
                  <a:spcPct val="0"/>
                </a:spcBef>
                <a:spcAft>
                  <a:spcPts val="450"/>
                </a:spcAft>
                <a:buSzPct val="100000"/>
                <a:defRPr/>
              </a:pPr>
              <a:r>
                <a:rPr lang="en-US" altLang="en-US" sz="1200" b="1">
                  <a:solidFill>
                    <a:srgbClr val="FFFFFF"/>
                  </a:solidFill>
                  <a:latin typeface="Dosis SemiBold" pitchFamily="2" charset="0"/>
                  <a:ea typeface="MS PGothic" panose="020B0600070205080204" pitchFamily="34" charset="-128"/>
                </a:rPr>
                <a:t>PROJECT SUBMISSION</a:t>
              </a:r>
            </a:p>
          </p:txBody>
        </p:sp>
      </p:grpSp>
      <p:sp>
        <p:nvSpPr>
          <p:cNvPr id="50" name="Parallelogram 49">
            <a:extLst>
              <a:ext uri="{FF2B5EF4-FFF2-40B4-BE49-F238E27FC236}">
                <a16:creationId xmlns="" xmlns:a16="http://schemas.microsoft.com/office/drawing/2014/main" id="{4A0B9F99-1CDB-9749-A7BE-6B812E315566}"/>
              </a:ext>
            </a:extLst>
          </p:cNvPr>
          <p:cNvSpPr/>
          <p:nvPr/>
        </p:nvSpPr>
        <p:spPr>
          <a:xfrm>
            <a:off x="6475810" y="3659981"/>
            <a:ext cx="119063" cy="200025"/>
          </a:xfrm>
          <a:prstGeom prst="parallelogram">
            <a:avLst/>
          </a:prstGeom>
          <a:solidFill>
            <a:schemeClr val="bg1">
              <a:alpha val="6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1350">
              <a:solidFill>
                <a:srgbClr val="FFFFFF"/>
              </a:solidFill>
            </a:endParaRPr>
          </a:p>
        </p:txBody>
      </p:sp>
      <p:sp>
        <p:nvSpPr>
          <p:cNvPr id="109" name="Parallelogram 108">
            <a:extLst>
              <a:ext uri="{FF2B5EF4-FFF2-40B4-BE49-F238E27FC236}">
                <a16:creationId xmlns="" xmlns:a16="http://schemas.microsoft.com/office/drawing/2014/main" id="{F454CC8F-93FC-C241-8935-E005DFA56513}"/>
              </a:ext>
            </a:extLst>
          </p:cNvPr>
          <p:cNvSpPr/>
          <p:nvPr/>
        </p:nvSpPr>
        <p:spPr>
          <a:xfrm>
            <a:off x="6666310" y="3674269"/>
            <a:ext cx="108347" cy="178594"/>
          </a:xfrm>
          <a:custGeom>
            <a:avLst/>
            <a:gdLst>
              <a:gd name="connsiteX0" fmla="*/ 0 w 219363"/>
              <a:gd name="connsiteY0" fmla="*/ 265747 h 265747"/>
              <a:gd name="connsiteX1" fmla="*/ 54841 w 219363"/>
              <a:gd name="connsiteY1" fmla="*/ 0 h 265747"/>
              <a:gd name="connsiteX2" fmla="*/ 219363 w 219363"/>
              <a:gd name="connsiteY2" fmla="*/ 0 h 265747"/>
              <a:gd name="connsiteX3" fmla="*/ 164522 w 219363"/>
              <a:gd name="connsiteY3" fmla="*/ 265747 h 265747"/>
              <a:gd name="connsiteX4" fmla="*/ 0 w 219363"/>
              <a:gd name="connsiteY4" fmla="*/ 265747 h 265747"/>
              <a:gd name="connsiteX0" fmla="*/ 0 w 177030"/>
              <a:gd name="connsiteY0" fmla="*/ 265747 h 265747"/>
              <a:gd name="connsiteX1" fmla="*/ 54841 w 177030"/>
              <a:gd name="connsiteY1" fmla="*/ 0 h 265747"/>
              <a:gd name="connsiteX2" fmla="*/ 177030 w 177030"/>
              <a:gd name="connsiteY2" fmla="*/ 0 h 265747"/>
              <a:gd name="connsiteX3" fmla="*/ 164522 w 177030"/>
              <a:gd name="connsiteY3" fmla="*/ 265747 h 265747"/>
              <a:gd name="connsiteX4" fmla="*/ 0 w 177030"/>
              <a:gd name="connsiteY4" fmla="*/ 265747 h 265747"/>
              <a:gd name="connsiteX0" fmla="*/ 0 w 177030"/>
              <a:gd name="connsiteY0" fmla="*/ 265747 h 269980"/>
              <a:gd name="connsiteX1" fmla="*/ 54841 w 177030"/>
              <a:gd name="connsiteY1" fmla="*/ 0 h 269980"/>
              <a:gd name="connsiteX2" fmla="*/ 177030 w 177030"/>
              <a:gd name="connsiteY2" fmla="*/ 0 h 269980"/>
              <a:gd name="connsiteX3" fmla="*/ 117955 w 177030"/>
              <a:gd name="connsiteY3" fmla="*/ 269980 h 269980"/>
              <a:gd name="connsiteX4" fmla="*/ 0 w 177030"/>
              <a:gd name="connsiteY4" fmla="*/ 265747 h 269980"/>
              <a:gd name="connsiteX0" fmla="*/ 0 w 177030"/>
              <a:gd name="connsiteY0" fmla="*/ 265747 h 278446"/>
              <a:gd name="connsiteX1" fmla="*/ 54841 w 177030"/>
              <a:gd name="connsiteY1" fmla="*/ 0 h 278446"/>
              <a:gd name="connsiteX2" fmla="*/ 177030 w 177030"/>
              <a:gd name="connsiteY2" fmla="*/ 0 h 278446"/>
              <a:gd name="connsiteX3" fmla="*/ 139121 w 177030"/>
              <a:gd name="connsiteY3" fmla="*/ 278446 h 278446"/>
              <a:gd name="connsiteX4" fmla="*/ 0 w 177030"/>
              <a:gd name="connsiteY4" fmla="*/ 265747 h 278446"/>
              <a:gd name="connsiteX0" fmla="*/ 0 w 177030"/>
              <a:gd name="connsiteY0" fmla="*/ 265747 h 265747"/>
              <a:gd name="connsiteX1" fmla="*/ 54841 w 177030"/>
              <a:gd name="connsiteY1" fmla="*/ 0 h 265747"/>
              <a:gd name="connsiteX2" fmla="*/ 177030 w 177030"/>
              <a:gd name="connsiteY2" fmla="*/ 0 h 265747"/>
              <a:gd name="connsiteX3" fmla="*/ 135657 w 177030"/>
              <a:gd name="connsiteY3" fmla="*/ 254201 h 265747"/>
              <a:gd name="connsiteX4" fmla="*/ 0 w 177030"/>
              <a:gd name="connsiteY4" fmla="*/ 265747 h 265747"/>
              <a:gd name="connsiteX0" fmla="*/ 0 w 177030"/>
              <a:gd name="connsiteY0" fmla="*/ 265747 h 265747"/>
              <a:gd name="connsiteX1" fmla="*/ 54841 w 177030"/>
              <a:gd name="connsiteY1" fmla="*/ 0 h 265747"/>
              <a:gd name="connsiteX2" fmla="*/ 177030 w 177030"/>
              <a:gd name="connsiteY2" fmla="*/ 0 h 265747"/>
              <a:gd name="connsiteX3" fmla="*/ 109203 w 177030"/>
              <a:gd name="connsiteY3" fmla="*/ 254201 h 265747"/>
              <a:gd name="connsiteX4" fmla="*/ 0 w 177030"/>
              <a:gd name="connsiteY4" fmla="*/ 265747 h 265747"/>
              <a:gd name="connsiteX0" fmla="*/ 0 w 177030"/>
              <a:gd name="connsiteY0" fmla="*/ 265747 h 265747"/>
              <a:gd name="connsiteX1" fmla="*/ 54841 w 177030"/>
              <a:gd name="connsiteY1" fmla="*/ 0 h 265747"/>
              <a:gd name="connsiteX2" fmla="*/ 177030 w 177030"/>
              <a:gd name="connsiteY2" fmla="*/ 0 h 265747"/>
              <a:gd name="connsiteX3" fmla="*/ 135656 w 177030"/>
              <a:gd name="connsiteY3" fmla="*/ 235085 h 265747"/>
              <a:gd name="connsiteX4" fmla="*/ 0 w 177030"/>
              <a:gd name="connsiteY4" fmla="*/ 265747 h 265747"/>
              <a:gd name="connsiteX0" fmla="*/ 0 w 172621"/>
              <a:gd name="connsiteY0" fmla="*/ 237072 h 237072"/>
              <a:gd name="connsiteX1" fmla="*/ 50432 w 172621"/>
              <a:gd name="connsiteY1" fmla="*/ 0 h 237072"/>
              <a:gd name="connsiteX2" fmla="*/ 172621 w 172621"/>
              <a:gd name="connsiteY2" fmla="*/ 0 h 237072"/>
              <a:gd name="connsiteX3" fmla="*/ 131247 w 172621"/>
              <a:gd name="connsiteY3" fmla="*/ 235085 h 237072"/>
              <a:gd name="connsiteX4" fmla="*/ 0 w 172621"/>
              <a:gd name="connsiteY4" fmla="*/ 237072 h 237072"/>
              <a:gd name="connsiteX0" fmla="*/ 0 w 199076"/>
              <a:gd name="connsiteY0" fmla="*/ 237072 h 237072"/>
              <a:gd name="connsiteX1" fmla="*/ 50432 w 199076"/>
              <a:gd name="connsiteY1" fmla="*/ 0 h 237072"/>
              <a:gd name="connsiteX2" fmla="*/ 199076 w 199076"/>
              <a:gd name="connsiteY2" fmla="*/ 6373 h 237072"/>
              <a:gd name="connsiteX3" fmla="*/ 131247 w 199076"/>
              <a:gd name="connsiteY3" fmla="*/ 235085 h 237072"/>
              <a:gd name="connsiteX4" fmla="*/ 0 w 199076"/>
              <a:gd name="connsiteY4" fmla="*/ 237072 h 237072"/>
              <a:gd name="connsiteX0" fmla="*/ 0 w 199076"/>
              <a:gd name="connsiteY0" fmla="*/ 237072 h 238271"/>
              <a:gd name="connsiteX1" fmla="*/ 50432 w 199076"/>
              <a:gd name="connsiteY1" fmla="*/ 0 h 238271"/>
              <a:gd name="connsiteX2" fmla="*/ 199076 w 199076"/>
              <a:gd name="connsiteY2" fmla="*/ 6373 h 238271"/>
              <a:gd name="connsiteX3" fmla="*/ 140065 w 199076"/>
              <a:gd name="connsiteY3" fmla="*/ 238271 h 238271"/>
              <a:gd name="connsiteX4" fmla="*/ 0 w 199076"/>
              <a:gd name="connsiteY4" fmla="*/ 237072 h 2382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9076" h="238271">
                <a:moveTo>
                  <a:pt x="0" y="237072"/>
                </a:moveTo>
                <a:lnTo>
                  <a:pt x="50432" y="0"/>
                </a:lnTo>
                <a:lnTo>
                  <a:pt x="199076" y="6373"/>
                </a:lnTo>
                <a:lnTo>
                  <a:pt x="140065" y="238271"/>
                </a:lnTo>
                <a:lnTo>
                  <a:pt x="0" y="237072"/>
                </a:lnTo>
                <a:close/>
              </a:path>
            </a:pathLst>
          </a:custGeom>
          <a:solidFill>
            <a:schemeClr val="bg1">
              <a:alpha val="4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350" dirty="0">
                <a:solidFill>
                  <a:srgbClr val="FFFFFF"/>
                </a:solidFill>
              </a:rPr>
              <a:t> </a:t>
            </a:r>
          </a:p>
        </p:txBody>
      </p:sp>
      <p:sp>
        <p:nvSpPr>
          <p:cNvPr id="110" name="Parallelogram 108">
            <a:extLst>
              <a:ext uri="{FF2B5EF4-FFF2-40B4-BE49-F238E27FC236}">
                <a16:creationId xmlns="" xmlns:a16="http://schemas.microsoft.com/office/drawing/2014/main" id="{FB1AB3CC-36A5-DE41-8617-6CD7B9F610BC}"/>
              </a:ext>
            </a:extLst>
          </p:cNvPr>
          <p:cNvSpPr/>
          <p:nvPr/>
        </p:nvSpPr>
        <p:spPr>
          <a:xfrm>
            <a:off x="6893719" y="3645694"/>
            <a:ext cx="76200" cy="198835"/>
          </a:xfrm>
          <a:custGeom>
            <a:avLst/>
            <a:gdLst>
              <a:gd name="connsiteX0" fmla="*/ 0 w 219363"/>
              <a:gd name="connsiteY0" fmla="*/ 265747 h 265747"/>
              <a:gd name="connsiteX1" fmla="*/ 54841 w 219363"/>
              <a:gd name="connsiteY1" fmla="*/ 0 h 265747"/>
              <a:gd name="connsiteX2" fmla="*/ 219363 w 219363"/>
              <a:gd name="connsiteY2" fmla="*/ 0 h 265747"/>
              <a:gd name="connsiteX3" fmla="*/ 164522 w 219363"/>
              <a:gd name="connsiteY3" fmla="*/ 265747 h 265747"/>
              <a:gd name="connsiteX4" fmla="*/ 0 w 219363"/>
              <a:gd name="connsiteY4" fmla="*/ 265747 h 265747"/>
              <a:gd name="connsiteX0" fmla="*/ 0 w 177030"/>
              <a:gd name="connsiteY0" fmla="*/ 265747 h 265747"/>
              <a:gd name="connsiteX1" fmla="*/ 54841 w 177030"/>
              <a:gd name="connsiteY1" fmla="*/ 0 h 265747"/>
              <a:gd name="connsiteX2" fmla="*/ 177030 w 177030"/>
              <a:gd name="connsiteY2" fmla="*/ 0 h 265747"/>
              <a:gd name="connsiteX3" fmla="*/ 164522 w 177030"/>
              <a:gd name="connsiteY3" fmla="*/ 265747 h 265747"/>
              <a:gd name="connsiteX4" fmla="*/ 0 w 177030"/>
              <a:gd name="connsiteY4" fmla="*/ 265747 h 265747"/>
              <a:gd name="connsiteX0" fmla="*/ 0 w 177030"/>
              <a:gd name="connsiteY0" fmla="*/ 265747 h 269980"/>
              <a:gd name="connsiteX1" fmla="*/ 54841 w 177030"/>
              <a:gd name="connsiteY1" fmla="*/ 0 h 269980"/>
              <a:gd name="connsiteX2" fmla="*/ 177030 w 177030"/>
              <a:gd name="connsiteY2" fmla="*/ 0 h 269980"/>
              <a:gd name="connsiteX3" fmla="*/ 117955 w 177030"/>
              <a:gd name="connsiteY3" fmla="*/ 269980 h 269980"/>
              <a:gd name="connsiteX4" fmla="*/ 0 w 177030"/>
              <a:gd name="connsiteY4" fmla="*/ 265747 h 269980"/>
              <a:gd name="connsiteX0" fmla="*/ 0 w 177030"/>
              <a:gd name="connsiteY0" fmla="*/ 265747 h 278446"/>
              <a:gd name="connsiteX1" fmla="*/ 54841 w 177030"/>
              <a:gd name="connsiteY1" fmla="*/ 0 h 278446"/>
              <a:gd name="connsiteX2" fmla="*/ 177030 w 177030"/>
              <a:gd name="connsiteY2" fmla="*/ 0 h 278446"/>
              <a:gd name="connsiteX3" fmla="*/ 139121 w 177030"/>
              <a:gd name="connsiteY3" fmla="*/ 278446 h 278446"/>
              <a:gd name="connsiteX4" fmla="*/ 0 w 177030"/>
              <a:gd name="connsiteY4" fmla="*/ 265747 h 278446"/>
              <a:gd name="connsiteX0" fmla="*/ 0 w 177030"/>
              <a:gd name="connsiteY0" fmla="*/ 265747 h 265747"/>
              <a:gd name="connsiteX1" fmla="*/ 54841 w 177030"/>
              <a:gd name="connsiteY1" fmla="*/ 0 h 265747"/>
              <a:gd name="connsiteX2" fmla="*/ 177030 w 177030"/>
              <a:gd name="connsiteY2" fmla="*/ 0 h 265747"/>
              <a:gd name="connsiteX3" fmla="*/ 135657 w 177030"/>
              <a:gd name="connsiteY3" fmla="*/ 254201 h 265747"/>
              <a:gd name="connsiteX4" fmla="*/ 0 w 177030"/>
              <a:gd name="connsiteY4" fmla="*/ 265747 h 265747"/>
              <a:gd name="connsiteX0" fmla="*/ 0 w 177030"/>
              <a:gd name="connsiteY0" fmla="*/ 265747 h 265747"/>
              <a:gd name="connsiteX1" fmla="*/ 54841 w 177030"/>
              <a:gd name="connsiteY1" fmla="*/ 0 h 265747"/>
              <a:gd name="connsiteX2" fmla="*/ 177030 w 177030"/>
              <a:gd name="connsiteY2" fmla="*/ 0 h 265747"/>
              <a:gd name="connsiteX3" fmla="*/ 80239 w 177030"/>
              <a:gd name="connsiteY3" fmla="*/ 261129 h 265747"/>
              <a:gd name="connsiteX4" fmla="*/ 0 w 177030"/>
              <a:gd name="connsiteY4" fmla="*/ 265747 h 265747"/>
              <a:gd name="connsiteX0" fmla="*/ 0 w 138930"/>
              <a:gd name="connsiteY0" fmla="*/ 265747 h 265747"/>
              <a:gd name="connsiteX1" fmla="*/ 54841 w 138930"/>
              <a:gd name="connsiteY1" fmla="*/ 0 h 265747"/>
              <a:gd name="connsiteX2" fmla="*/ 138930 w 138930"/>
              <a:gd name="connsiteY2" fmla="*/ 3463 h 265747"/>
              <a:gd name="connsiteX3" fmla="*/ 80239 w 138930"/>
              <a:gd name="connsiteY3" fmla="*/ 261129 h 265747"/>
              <a:gd name="connsiteX4" fmla="*/ 0 w 138930"/>
              <a:gd name="connsiteY4" fmla="*/ 265747 h 2657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8930" h="265747">
                <a:moveTo>
                  <a:pt x="0" y="265747"/>
                </a:moveTo>
                <a:lnTo>
                  <a:pt x="54841" y="0"/>
                </a:lnTo>
                <a:lnTo>
                  <a:pt x="138930" y="3463"/>
                </a:lnTo>
                <a:lnTo>
                  <a:pt x="80239" y="261129"/>
                </a:lnTo>
                <a:lnTo>
                  <a:pt x="0" y="265747"/>
                </a:lnTo>
                <a:close/>
              </a:path>
            </a:pathLst>
          </a:custGeom>
          <a:solidFill>
            <a:schemeClr val="bg1">
              <a:alpha val="3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350" dirty="0">
                <a:solidFill>
                  <a:srgbClr val="FFFFFF"/>
                </a:solidFill>
              </a:rPr>
              <a:t> </a:t>
            </a:r>
          </a:p>
        </p:txBody>
      </p:sp>
      <p:sp>
        <p:nvSpPr>
          <p:cNvPr id="111" name="Parallelogram 108">
            <a:extLst>
              <a:ext uri="{FF2B5EF4-FFF2-40B4-BE49-F238E27FC236}">
                <a16:creationId xmlns="" xmlns:a16="http://schemas.microsoft.com/office/drawing/2014/main" id="{91AFA787-2251-F849-A945-0466CB19C938}"/>
              </a:ext>
            </a:extLst>
          </p:cNvPr>
          <p:cNvSpPr/>
          <p:nvPr/>
        </p:nvSpPr>
        <p:spPr>
          <a:xfrm>
            <a:off x="6980635" y="3652838"/>
            <a:ext cx="48815" cy="200025"/>
          </a:xfrm>
          <a:custGeom>
            <a:avLst/>
            <a:gdLst>
              <a:gd name="connsiteX0" fmla="*/ 0 w 219363"/>
              <a:gd name="connsiteY0" fmla="*/ 265747 h 265747"/>
              <a:gd name="connsiteX1" fmla="*/ 54841 w 219363"/>
              <a:gd name="connsiteY1" fmla="*/ 0 h 265747"/>
              <a:gd name="connsiteX2" fmla="*/ 219363 w 219363"/>
              <a:gd name="connsiteY2" fmla="*/ 0 h 265747"/>
              <a:gd name="connsiteX3" fmla="*/ 164522 w 219363"/>
              <a:gd name="connsiteY3" fmla="*/ 265747 h 265747"/>
              <a:gd name="connsiteX4" fmla="*/ 0 w 219363"/>
              <a:gd name="connsiteY4" fmla="*/ 265747 h 265747"/>
              <a:gd name="connsiteX0" fmla="*/ 0 w 177030"/>
              <a:gd name="connsiteY0" fmla="*/ 265747 h 265747"/>
              <a:gd name="connsiteX1" fmla="*/ 54841 w 177030"/>
              <a:gd name="connsiteY1" fmla="*/ 0 h 265747"/>
              <a:gd name="connsiteX2" fmla="*/ 177030 w 177030"/>
              <a:gd name="connsiteY2" fmla="*/ 0 h 265747"/>
              <a:gd name="connsiteX3" fmla="*/ 164522 w 177030"/>
              <a:gd name="connsiteY3" fmla="*/ 265747 h 265747"/>
              <a:gd name="connsiteX4" fmla="*/ 0 w 177030"/>
              <a:gd name="connsiteY4" fmla="*/ 265747 h 265747"/>
              <a:gd name="connsiteX0" fmla="*/ 0 w 177030"/>
              <a:gd name="connsiteY0" fmla="*/ 265747 h 269980"/>
              <a:gd name="connsiteX1" fmla="*/ 54841 w 177030"/>
              <a:gd name="connsiteY1" fmla="*/ 0 h 269980"/>
              <a:gd name="connsiteX2" fmla="*/ 177030 w 177030"/>
              <a:gd name="connsiteY2" fmla="*/ 0 h 269980"/>
              <a:gd name="connsiteX3" fmla="*/ 117955 w 177030"/>
              <a:gd name="connsiteY3" fmla="*/ 269980 h 269980"/>
              <a:gd name="connsiteX4" fmla="*/ 0 w 177030"/>
              <a:gd name="connsiteY4" fmla="*/ 265747 h 269980"/>
              <a:gd name="connsiteX0" fmla="*/ 0 w 177030"/>
              <a:gd name="connsiteY0" fmla="*/ 265747 h 278446"/>
              <a:gd name="connsiteX1" fmla="*/ 54841 w 177030"/>
              <a:gd name="connsiteY1" fmla="*/ 0 h 278446"/>
              <a:gd name="connsiteX2" fmla="*/ 177030 w 177030"/>
              <a:gd name="connsiteY2" fmla="*/ 0 h 278446"/>
              <a:gd name="connsiteX3" fmla="*/ 139121 w 177030"/>
              <a:gd name="connsiteY3" fmla="*/ 278446 h 278446"/>
              <a:gd name="connsiteX4" fmla="*/ 0 w 177030"/>
              <a:gd name="connsiteY4" fmla="*/ 265747 h 278446"/>
              <a:gd name="connsiteX0" fmla="*/ 0 w 177030"/>
              <a:gd name="connsiteY0" fmla="*/ 265747 h 265747"/>
              <a:gd name="connsiteX1" fmla="*/ 54841 w 177030"/>
              <a:gd name="connsiteY1" fmla="*/ 0 h 265747"/>
              <a:gd name="connsiteX2" fmla="*/ 177030 w 177030"/>
              <a:gd name="connsiteY2" fmla="*/ 0 h 265747"/>
              <a:gd name="connsiteX3" fmla="*/ 135657 w 177030"/>
              <a:gd name="connsiteY3" fmla="*/ 254201 h 265747"/>
              <a:gd name="connsiteX4" fmla="*/ 0 w 177030"/>
              <a:gd name="connsiteY4" fmla="*/ 265747 h 265747"/>
              <a:gd name="connsiteX0" fmla="*/ 0 w 177030"/>
              <a:gd name="connsiteY0" fmla="*/ 265747 h 265747"/>
              <a:gd name="connsiteX1" fmla="*/ 54841 w 177030"/>
              <a:gd name="connsiteY1" fmla="*/ 0 h 265747"/>
              <a:gd name="connsiteX2" fmla="*/ 177030 w 177030"/>
              <a:gd name="connsiteY2" fmla="*/ 0 h 265747"/>
              <a:gd name="connsiteX3" fmla="*/ 80239 w 177030"/>
              <a:gd name="connsiteY3" fmla="*/ 261129 h 265747"/>
              <a:gd name="connsiteX4" fmla="*/ 0 w 177030"/>
              <a:gd name="connsiteY4" fmla="*/ 265747 h 265747"/>
              <a:gd name="connsiteX0" fmla="*/ 0 w 138930"/>
              <a:gd name="connsiteY0" fmla="*/ 265747 h 265747"/>
              <a:gd name="connsiteX1" fmla="*/ 54841 w 138930"/>
              <a:gd name="connsiteY1" fmla="*/ 0 h 265747"/>
              <a:gd name="connsiteX2" fmla="*/ 138930 w 138930"/>
              <a:gd name="connsiteY2" fmla="*/ 3463 h 265747"/>
              <a:gd name="connsiteX3" fmla="*/ 80239 w 138930"/>
              <a:gd name="connsiteY3" fmla="*/ 261129 h 265747"/>
              <a:gd name="connsiteX4" fmla="*/ 0 w 138930"/>
              <a:gd name="connsiteY4" fmla="*/ 265747 h 265747"/>
              <a:gd name="connsiteX0" fmla="*/ 0 w 90432"/>
              <a:gd name="connsiteY0" fmla="*/ 265747 h 265747"/>
              <a:gd name="connsiteX1" fmla="*/ 54841 w 90432"/>
              <a:gd name="connsiteY1" fmla="*/ 0 h 265747"/>
              <a:gd name="connsiteX2" fmla="*/ 90432 w 90432"/>
              <a:gd name="connsiteY2" fmla="*/ 3463 h 265747"/>
              <a:gd name="connsiteX3" fmla="*/ 80239 w 90432"/>
              <a:gd name="connsiteY3" fmla="*/ 261129 h 265747"/>
              <a:gd name="connsiteX4" fmla="*/ 0 w 90432"/>
              <a:gd name="connsiteY4" fmla="*/ 265747 h 265747"/>
              <a:gd name="connsiteX0" fmla="*/ 0 w 90432"/>
              <a:gd name="connsiteY0" fmla="*/ 265747 h 265747"/>
              <a:gd name="connsiteX1" fmla="*/ 54841 w 90432"/>
              <a:gd name="connsiteY1" fmla="*/ 0 h 265747"/>
              <a:gd name="connsiteX2" fmla="*/ 90432 w 90432"/>
              <a:gd name="connsiteY2" fmla="*/ 3463 h 265747"/>
              <a:gd name="connsiteX3" fmla="*/ 40559 w 90432"/>
              <a:gd name="connsiteY3" fmla="*/ 261129 h 265747"/>
              <a:gd name="connsiteX4" fmla="*/ 0 w 90432"/>
              <a:gd name="connsiteY4" fmla="*/ 265747 h 2657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0432" h="265747">
                <a:moveTo>
                  <a:pt x="0" y="265747"/>
                </a:moveTo>
                <a:lnTo>
                  <a:pt x="54841" y="0"/>
                </a:lnTo>
                <a:lnTo>
                  <a:pt x="90432" y="3463"/>
                </a:lnTo>
                <a:lnTo>
                  <a:pt x="40559" y="261129"/>
                </a:lnTo>
                <a:lnTo>
                  <a:pt x="0" y="265747"/>
                </a:lnTo>
                <a:close/>
              </a:path>
            </a:pathLst>
          </a:custGeom>
          <a:solidFill>
            <a:schemeClr val="bg1">
              <a:alpha val="3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350" dirty="0">
                <a:solidFill>
                  <a:srgbClr val="FFFFFF"/>
                </a:solidFill>
              </a:rPr>
              <a:t> </a:t>
            </a:r>
          </a:p>
        </p:txBody>
      </p:sp>
      <p:sp>
        <p:nvSpPr>
          <p:cNvPr id="74" name="TextBox 98">
            <a:extLst>
              <a:ext uri="{FF2B5EF4-FFF2-40B4-BE49-F238E27FC236}">
                <a16:creationId xmlns="" xmlns:a16="http://schemas.microsoft.com/office/drawing/2014/main" id="{D2CA06E1-48E2-284F-A7F4-C32A90A58BF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375422" y="2700461"/>
            <a:ext cx="1311307" cy="2391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54000" tIns="27000" rIns="54000" bIns="2700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1200" b="1">
                <a:solidFill>
                  <a:srgbClr val="494949"/>
                </a:solidFill>
                <a:latin typeface="Dosis Bold" panose="02010503020202060003"/>
              </a:rPr>
              <a:t>Brokerage event</a:t>
            </a:r>
            <a:endParaRPr lang="id-ID" altLang="en-US" sz="1200">
              <a:solidFill>
                <a:srgbClr val="494949"/>
              </a:solidFill>
              <a:latin typeface="Dosis Bold" panose="02010503020202060003"/>
            </a:endParaRPr>
          </a:p>
        </p:txBody>
      </p:sp>
      <p:sp>
        <p:nvSpPr>
          <p:cNvPr id="75" name="Rectangle 74">
            <a:extLst>
              <a:ext uri="{FF2B5EF4-FFF2-40B4-BE49-F238E27FC236}">
                <a16:creationId xmlns="" xmlns:a16="http://schemas.microsoft.com/office/drawing/2014/main" id="{67BD66F0-D0B2-4C98-8E37-3114A04328D8}"/>
              </a:ext>
            </a:extLst>
          </p:cNvPr>
          <p:cNvSpPr/>
          <p:nvPr/>
        </p:nvSpPr>
        <p:spPr>
          <a:xfrm>
            <a:off x="5419725" y="5203031"/>
            <a:ext cx="1473994" cy="4000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fr-FR" sz="1350">
              <a:solidFill>
                <a:srgbClr val="FFFFFF"/>
              </a:solidFill>
            </a:endParaRPr>
          </a:p>
        </p:txBody>
      </p:sp>
      <p:pic>
        <p:nvPicPr>
          <p:cNvPr id="76" name="Picture 75">
            <a:extLst>
              <a:ext uri="{FF2B5EF4-FFF2-40B4-BE49-F238E27FC236}">
                <a16:creationId xmlns="" xmlns:a16="http://schemas.microsoft.com/office/drawing/2014/main" id="{42CAE508-DE40-D34B-81B8-4BF70EC20EF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025820" y="5024437"/>
            <a:ext cx="1899632" cy="5965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182850"/>
      </p:ext>
    </p:extLst>
  </p:cSld>
  <p:clrMapOvr>
    <a:masterClrMapping/>
  </p:clrMapOvr>
  <p:transition spd="slow" advClick="0" advTm="3000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500"/>
                            </p:stCondLst>
                            <p:childTnLst>
                              <p:par>
                                <p:cTn id="5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0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0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 nodeType="afterGroup">
                            <p:stCondLst>
                              <p:cond delay="1000"/>
                            </p:stCondLst>
                            <p:childTnLst>
                              <p:par>
                                <p:cTn id="10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 nodeType="afterGroup">
                            <p:stCondLst>
                              <p:cond delay="1500"/>
                            </p:stCondLst>
                            <p:childTnLst>
                              <p:par>
                                <p:cTn id="14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" dur="75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 nodeType="afterGroup">
                            <p:stCondLst>
                              <p:cond delay="2500"/>
                            </p:stCondLst>
                            <p:childTnLst>
                              <p:par>
                                <p:cTn id="2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9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 nodeType="afterGroup">
                            <p:stCondLst>
                              <p:cond delay="3000"/>
                            </p:stCondLst>
                            <p:childTnLst>
                              <p:par>
                                <p:cTn id="2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1" dur="75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4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5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 nodeType="afterGroup">
                            <p:stCondLst>
                              <p:cond delay="4000"/>
                            </p:stCondLst>
                            <p:childTnLst>
                              <p:par>
                                <p:cTn id="3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 nodeType="afterGroup">
                            <p:stCondLst>
                              <p:cond delay="4500"/>
                            </p:stCondLst>
                            <p:childTnLst>
                              <p:par>
                                <p:cTn id="4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7" fill="hold" nodeType="afterGroup">
                            <p:stCondLst>
                              <p:cond delay="5000"/>
                            </p:stCondLst>
                            <p:childTnLst>
                              <p:par>
                                <p:cTn id="48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0" dur="75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3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4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 nodeType="afterGroup">
                            <p:stCondLst>
                              <p:cond delay="6000"/>
                            </p:stCondLst>
                            <p:childTnLst>
                              <p:par>
                                <p:cTn id="5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500"/>
                                        <p:tgtEl>
                                          <p:spTgt spid="10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2" fill="hold" nodeType="afterGroup">
                            <p:stCondLst>
                              <p:cond delay="6500"/>
                            </p:stCondLst>
                            <p:childTnLst>
                              <p:par>
                                <p:cTn id="6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6" fill="hold" nodeType="afterGroup">
                            <p:stCondLst>
                              <p:cond delay="7000"/>
                            </p:stCondLst>
                            <p:childTnLst>
                              <p:par>
                                <p:cTn id="67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9" dur="75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0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2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3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4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5" fill="hold" nodeType="afterGroup">
                            <p:stCondLst>
                              <p:cond delay="8000"/>
                            </p:stCondLst>
                            <p:childTnLst>
                              <p:par>
                                <p:cTn id="7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8" dur="500"/>
                                        <p:tgtEl>
                                          <p:spTgt spid="10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9" fill="hold" nodeType="afterGroup">
                            <p:stCondLst>
                              <p:cond delay="8500"/>
                            </p:stCondLst>
                            <p:childTnLst>
                              <p:par>
                                <p:cTn id="8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2" dur="500"/>
                                        <p:tgtEl>
                                          <p:spTgt spid="9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3" fill="hold" nodeType="afterGroup">
                            <p:stCondLst>
                              <p:cond delay="9000"/>
                            </p:stCondLst>
                            <p:childTnLst>
                              <p:par>
                                <p:cTn id="84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86" dur="75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7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9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0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1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2" fill="hold" nodeType="afterGroup">
                            <p:stCondLst>
                              <p:cond delay="10000"/>
                            </p:stCondLst>
                            <p:childTnLst>
                              <p:par>
                                <p:cTn id="9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5" dur="500"/>
                                        <p:tgtEl>
                                          <p:spTgt spid="10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6" fill="hold" nodeType="afterGroup">
                            <p:stCondLst>
                              <p:cond delay="10500"/>
                            </p:stCondLst>
                            <p:childTnLst>
                              <p:par>
                                <p:cTn id="9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9" dur="500"/>
                                        <p:tgtEl>
                                          <p:spTgt spid="10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0" fill="hold" nodeType="afterGroup">
                            <p:stCondLst>
                              <p:cond delay="11000"/>
                            </p:stCondLst>
                            <p:childTnLst>
                              <p:par>
                                <p:cTn id="101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3" dur="75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4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0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6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7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8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9" fill="hold" nodeType="afterGroup">
                            <p:stCondLst>
                              <p:cond delay="12000"/>
                            </p:stCondLst>
                            <p:childTnLst>
                              <p:par>
                                <p:cTn id="11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2" dur="500"/>
                                        <p:tgtEl>
                                          <p:spTgt spid="10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3" fill="hold" nodeType="afterGroup">
                            <p:stCondLst>
                              <p:cond delay="12500"/>
                            </p:stCondLst>
                            <p:childTnLst>
                              <p:par>
                                <p:cTn id="11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6" dur="500"/>
                                        <p:tgtEl>
                                          <p:spTgt spid="10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7" fill="hold" nodeType="afterGroup">
                            <p:stCondLst>
                              <p:cond delay="13000"/>
                            </p:stCondLst>
                            <p:childTnLst>
                              <p:par>
                                <p:cTn id="118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0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1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2" fill="hold" nodeType="afterGroup">
                            <p:stCondLst>
                              <p:cond delay="13500"/>
                            </p:stCondLst>
                            <p:childTnLst>
                              <p:par>
                                <p:cTn id="123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5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6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7" fill="hold" nodeType="afterGroup">
                            <p:stCondLst>
                              <p:cond delay="14000"/>
                            </p:stCondLst>
                            <p:childTnLst>
                              <p:par>
                                <p:cTn id="128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0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1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2" fill="hold" nodeType="afterGroup">
                            <p:stCondLst>
                              <p:cond delay="14500"/>
                            </p:stCondLst>
                            <p:childTnLst>
                              <p:par>
                                <p:cTn id="133" presetID="10" presetClass="entr" presetSubtype="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33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5" dur="41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  <p:bldP spid="15" grpId="0" animBg="1"/>
      <p:bldP spid="20" grpId="0" animBg="1"/>
      <p:bldP spid="25" grpId="0" animBg="1"/>
      <p:bldP spid="32" grpId="0" animBg="1"/>
      <p:bldP spid="8" grpId="0" animBg="1"/>
      <p:bldP spid="13" grpId="0" animBg="1"/>
      <p:bldP spid="96" grpId="0"/>
      <p:bldP spid="97" grpId="0"/>
      <p:bldP spid="98" grpId="0"/>
      <p:bldP spid="99" grpId="0"/>
      <p:bldP spid="100" grpId="0"/>
      <p:bldP spid="101" grpId="0"/>
      <p:bldP spid="102" grpId="0"/>
      <p:bldP spid="104" grpId="0"/>
      <p:bldP spid="105" grpId="0"/>
      <p:bldP spid="106" grpId="0"/>
      <p:bldP spid="74" grpId="0"/>
      <p:bldP spid="75" grpId="0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="" xmlns:a16="http://schemas.microsoft.com/office/drawing/2014/main" id="{4DAFCF97-8D1D-F94E-BF98-8347B29C033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GB" dirty="0"/>
              <a:t>ECS Collaboration Tool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="" xmlns:a16="http://schemas.microsoft.com/office/drawing/2014/main" id="{4572B974-FCC7-4A4E-A8AE-FEF27D64C8C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>
            <a:normAutofit/>
          </a:bodyPr>
          <a:lstStyle/>
          <a:p>
            <a:r>
              <a:rPr lang="en-GB" sz="1350" dirty="0"/>
              <a:t>Main Feature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="" xmlns:a16="http://schemas.microsoft.com/office/drawing/2014/main" id="{CF236F25-C427-154E-9145-10FA85ECC55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295987" y="2426883"/>
            <a:ext cx="6552027" cy="3136681"/>
          </a:xfrm>
        </p:spPr>
        <p:txBody>
          <a:bodyPr>
            <a:normAutofit/>
          </a:bodyPr>
          <a:lstStyle/>
          <a:p>
            <a:pPr marL="257175" indent="-257175">
              <a:spcBef>
                <a:spcPct val="20000"/>
              </a:spcBef>
              <a:buSzPct val="120000"/>
            </a:pPr>
            <a:r>
              <a:rPr lang="en-GB" dirty="0">
                <a:cs typeface="Dosis"/>
              </a:rPr>
              <a:t>Online collaboration tool for open consortium building,</a:t>
            </a:r>
            <a:br>
              <a:rPr lang="en-GB" dirty="0">
                <a:cs typeface="Dosis"/>
              </a:rPr>
            </a:br>
            <a:r>
              <a:rPr lang="en-GB" dirty="0">
                <a:cs typeface="Dosis"/>
              </a:rPr>
              <a:t> independent of the funding instrument</a:t>
            </a:r>
          </a:p>
          <a:p>
            <a:pPr marL="257175" indent="-257175">
              <a:spcBef>
                <a:spcPct val="20000"/>
              </a:spcBef>
              <a:buSzPct val="120000"/>
            </a:pPr>
            <a:r>
              <a:rPr lang="en-GB" dirty="0">
                <a:cs typeface="Dosis"/>
              </a:rPr>
              <a:t>Set up project teams, invite partners, exchange messages and</a:t>
            </a:r>
            <a:br>
              <a:rPr lang="en-GB" dirty="0">
                <a:cs typeface="Dosis"/>
              </a:rPr>
            </a:br>
            <a:r>
              <a:rPr lang="en-GB" dirty="0">
                <a:cs typeface="Dosis"/>
              </a:rPr>
              <a:t> showcase capabilities</a:t>
            </a:r>
          </a:p>
          <a:p>
            <a:pPr marL="257175" indent="-257175">
              <a:spcBef>
                <a:spcPct val="20000"/>
              </a:spcBef>
              <a:buSzPct val="120000"/>
            </a:pPr>
            <a:r>
              <a:rPr lang="en-GB" dirty="0">
                <a:cs typeface="Dosis"/>
              </a:rPr>
              <a:t>Free-to-access and available 365 days/year</a:t>
            </a:r>
          </a:p>
          <a:p>
            <a:pPr marL="257175" indent="-257175">
              <a:spcBef>
                <a:spcPct val="20000"/>
              </a:spcBef>
              <a:buSzPct val="120000"/>
            </a:pPr>
            <a:r>
              <a:rPr lang="en-GB" dirty="0">
                <a:cs typeface="Dosis"/>
              </a:rPr>
              <a:t>Project ideas resulting from the ECS CT can flow into any funding</a:t>
            </a:r>
            <a:br>
              <a:rPr lang="en-GB" dirty="0">
                <a:cs typeface="Dosis"/>
              </a:rPr>
            </a:br>
            <a:r>
              <a:rPr lang="en-GB" dirty="0">
                <a:cs typeface="Dosis"/>
              </a:rPr>
              <a:t> </a:t>
            </a:r>
            <a:r>
              <a:rPr lang="en-GB" dirty="0" smtClean="0">
                <a:cs typeface="Dosis"/>
              </a:rPr>
              <a:t>instrument</a:t>
            </a:r>
            <a:endParaRPr lang="fr-FR" dirty="0">
              <a:cs typeface="Dosis"/>
            </a:endParaRPr>
          </a:p>
          <a:p>
            <a:pPr marL="257175" indent="-257175">
              <a:spcBef>
                <a:spcPct val="20000"/>
              </a:spcBef>
              <a:buSzPct val="120000"/>
            </a:pPr>
            <a:r>
              <a:rPr lang="en-GB" dirty="0">
                <a:cs typeface="Dosis"/>
                <a:hlinkClick r:id="rId2"/>
              </a:rPr>
              <a:t>https://ecscollaborationtool.eu</a:t>
            </a:r>
            <a:r>
              <a:rPr lang="en-GB" dirty="0" smtClean="0">
                <a:cs typeface="Dosis"/>
                <a:hlinkClick r:id="rId2"/>
              </a:rPr>
              <a:t>/</a:t>
            </a:r>
            <a:r>
              <a:rPr lang="en-GB" dirty="0" smtClean="0">
                <a:cs typeface="Dosis"/>
              </a:rPr>
              <a:t> </a:t>
            </a:r>
            <a:endParaRPr lang="en-GB" dirty="0">
              <a:cs typeface="Dosis"/>
            </a:endParaRPr>
          </a:p>
        </p:txBody>
      </p:sp>
    </p:spTree>
    <p:extLst>
      <p:ext uri="{BB962C8B-B14F-4D97-AF65-F5344CB8AC3E}">
        <p14:creationId xmlns:p14="http://schemas.microsoft.com/office/powerpoint/2010/main" val="16568997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971" name="Titr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eaLnBrk="1" hangingPunct="1"/>
            <a:r>
              <a:rPr lang="en-GB" sz="3600" dirty="0" smtClean="0">
                <a:latin typeface="Arial" charset="0"/>
                <a:cs typeface="Arial" charset="0"/>
              </a:rPr>
              <a:t>Looking for partners</a:t>
            </a:r>
          </a:p>
        </p:txBody>
      </p:sp>
      <p:sp>
        <p:nvSpPr>
          <p:cNvPr id="3" name="Rectangle 2"/>
          <p:cNvSpPr>
            <a:spLocks noChangeArrowheads="1"/>
          </p:cNvSpPr>
          <p:nvPr/>
        </p:nvSpPr>
        <p:spPr bwMode="auto">
          <a:xfrm>
            <a:off x="121709" y="1175296"/>
            <a:ext cx="8785225" cy="52506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0" lvl="1"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2800" b="1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We can help you finding partners</a:t>
            </a:r>
          </a:p>
          <a:p>
            <a:pPr marL="171450" lvl="1" indent="-171450" fontAlgn="base">
              <a:spcBef>
                <a:spcPct val="20000"/>
              </a:spcBef>
              <a:spcAft>
                <a:spcPct val="0"/>
              </a:spcAft>
              <a:buBlip>
                <a:blip r:embed="rId2"/>
              </a:buBlip>
              <a:defRPr/>
            </a:pPr>
            <a:r>
              <a:rPr lang="en-GB" sz="2400" b="1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Provide us with a few lines on the research topic and profile of partners</a:t>
            </a:r>
          </a:p>
          <a:p>
            <a:pPr marL="171450" lvl="1" indent="-171450" fontAlgn="base">
              <a:spcBef>
                <a:spcPct val="20000"/>
              </a:spcBef>
              <a:spcAft>
                <a:spcPct val="0"/>
              </a:spcAft>
              <a:buBlip>
                <a:blip r:embed="rId2"/>
              </a:buBlip>
              <a:defRPr/>
            </a:pPr>
            <a:r>
              <a:rPr lang="en-GB" sz="2400" b="1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Distribution to</a:t>
            </a:r>
          </a:p>
          <a:p>
            <a:pPr marL="538163" lvl="2" indent="-184150" fontAlgn="base">
              <a:spcBef>
                <a:spcPct val="20000"/>
              </a:spcBef>
              <a:spcAft>
                <a:spcPct val="0"/>
              </a:spcAft>
              <a:buBlip>
                <a:blip r:embed="rId2"/>
              </a:buBlip>
              <a:defRPr/>
            </a:pPr>
            <a:r>
              <a:rPr lang="en-GB" sz="2400" b="1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News letters: 8000 contacts</a:t>
            </a:r>
          </a:p>
          <a:p>
            <a:pPr marL="538163" lvl="2" indent="-184150" fontAlgn="base">
              <a:spcBef>
                <a:spcPct val="20000"/>
              </a:spcBef>
              <a:spcAft>
                <a:spcPct val="0"/>
              </a:spcAft>
              <a:buBlip>
                <a:blip r:embed="rId2"/>
              </a:buBlip>
              <a:defRPr/>
            </a:pPr>
            <a:r>
              <a:rPr lang="en-GB" sz="2400" b="1" dirty="0">
                <a:solidFill>
                  <a:srgbClr val="000000"/>
                </a:solidFill>
                <a:latin typeface="Arial" charset="0"/>
                <a:cs typeface="Arial" charset="0"/>
              </a:rPr>
              <a:t>Networks: public authorities, industry associations, regional networks and many more…</a:t>
            </a:r>
          </a:p>
          <a:p>
            <a:pPr marL="538163" lvl="2" indent="-184150" fontAlgn="base">
              <a:spcBef>
                <a:spcPct val="20000"/>
              </a:spcBef>
              <a:spcAft>
                <a:spcPct val="0"/>
              </a:spcAft>
              <a:buBlip>
                <a:blip r:embed="rId2"/>
              </a:buBlip>
              <a:defRPr/>
            </a:pPr>
            <a:r>
              <a:rPr lang="en-GB" sz="2400" b="1" dirty="0">
                <a:solidFill>
                  <a:srgbClr val="000000"/>
                </a:solidFill>
                <a:latin typeface="Arial" charset="0"/>
                <a:cs typeface="Arial" charset="0"/>
              </a:rPr>
              <a:t>We never disclose who you are, but…</a:t>
            </a:r>
          </a:p>
          <a:p>
            <a:pPr marL="538163" lvl="2" indent="-184150" fontAlgn="base">
              <a:spcBef>
                <a:spcPct val="20000"/>
              </a:spcBef>
              <a:spcAft>
                <a:spcPct val="0"/>
              </a:spcAft>
              <a:buBlip>
                <a:blip r:embed="rId2"/>
              </a:buBlip>
              <a:defRPr/>
            </a:pPr>
            <a:r>
              <a:rPr lang="en-GB" sz="2400" b="1" dirty="0">
                <a:solidFill>
                  <a:srgbClr val="000000"/>
                </a:solidFill>
                <a:latin typeface="Arial" charset="0"/>
                <a:cs typeface="Arial" charset="0"/>
              </a:rPr>
              <a:t>We forward you all requests…You have the choice!</a:t>
            </a:r>
          </a:p>
          <a:p>
            <a:pPr marL="538163" lvl="2" indent="-184150" fontAlgn="base">
              <a:spcBef>
                <a:spcPct val="20000"/>
              </a:spcBef>
              <a:spcAft>
                <a:spcPct val="0"/>
              </a:spcAft>
              <a:buBlip>
                <a:blip r:embed="rId2"/>
              </a:buBlip>
              <a:defRPr/>
            </a:pPr>
            <a:r>
              <a:rPr lang="en-GB" sz="2400" b="1" dirty="0">
                <a:solidFill>
                  <a:srgbClr val="000000"/>
                </a:solidFill>
                <a:latin typeface="Arial" charset="0"/>
                <a:cs typeface="Arial" charset="0"/>
              </a:rPr>
              <a:t>On average, each publication generates 10 </a:t>
            </a:r>
            <a:r>
              <a:rPr lang="en-GB" sz="2400" b="1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contacts</a:t>
            </a:r>
          </a:p>
          <a:p>
            <a:pPr marL="538163" lvl="2" indent="-184150" fontAlgn="base">
              <a:spcBef>
                <a:spcPct val="20000"/>
              </a:spcBef>
              <a:spcAft>
                <a:spcPct val="0"/>
              </a:spcAft>
              <a:buBlip>
                <a:blip r:embed="rId2"/>
              </a:buBlip>
              <a:defRPr/>
            </a:pPr>
            <a:endParaRPr lang="en-GB" sz="1600" b="1" dirty="0">
              <a:solidFill>
                <a:srgbClr val="000000"/>
              </a:solidFill>
              <a:latin typeface="Arial" charset="0"/>
              <a:cs typeface="Arial" charset="0"/>
            </a:endParaRPr>
          </a:p>
          <a:p>
            <a:pPr marL="354013" lvl="2" algn="ctr" fontAlgn="base">
              <a:spcBef>
                <a:spcPct val="20000"/>
              </a:spcBef>
              <a:spcAft>
                <a:spcPct val="0"/>
              </a:spcAft>
              <a:defRPr/>
            </a:pPr>
            <a:r>
              <a:rPr lang="en-GB" sz="2400" b="1" dirty="0">
                <a:solidFill>
                  <a:srgbClr val="000000"/>
                </a:solidFill>
                <a:latin typeface="Arial" charset="0"/>
                <a:cs typeface="Arial" charset="0"/>
              </a:rPr>
              <a:t>The EURIPIDES² Office is your partner</a:t>
            </a:r>
          </a:p>
        </p:txBody>
      </p:sp>
      <p:sp>
        <p:nvSpPr>
          <p:cNvPr id="11" name="Slide Number Placeholder 5"/>
          <p:cNvSpPr txBox="1">
            <a:spLocks/>
          </p:cNvSpPr>
          <p:nvPr/>
        </p:nvSpPr>
        <p:spPr>
          <a:xfrm>
            <a:off x="8628418" y="6354457"/>
            <a:ext cx="343043" cy="36933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nl-NL"/>
            </a:defPPr>
            <a:lvl1pPr marL="0" algn="r" defTabSz="457200" rtl="0" eaLnBrk="1" latinLnBrk="0" hangingPunct="1">
              <a:defRPr sz="1800" b="0" i="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8C080AE-66C8-8249-B90B-B6D109566B0C}" type="slidenum">
              <a:rPr lang="en-US" sz="2400" b="1">
                <a:solidFill>
                  <a:srgbClr val="1F497D"/>
                </a:solidFill>
              </a:rPr>
              <a:pPr/>
              <a:t>29</a:t>
            </a:fld>
            <a:endParaRPr lang="en-US" sz="2400" b="1" dirty="0">
              <a:solidFill>
                <a:srgbClr val="1F497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305895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oneTexte 2"/>
          <p:cNvSpPr txBox="1"/>
          <p:nvPr/>
        </p:nvSpPr>
        <p:spPr>
          <a:xfrm>
            <a:off x="1835984" y="4068107"/>
            <a:ext cx="7092280" cy="7694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en-GB" sz="4400" b="1" spc="50" dirty="0" smtClean="0">
                <a:solidFill>
                  <a:prstClr val="white"/>
                </a:solidFill>
                <a:latin typeface="Arial" pitchFamily="34" charset="0"/>
                <a:ea typeface="Tahoma" pitchFamily="34" charset="0"/>
                <a:cs typeface="Arial" pitchFamily="34" charset="0"/>
              </a:rPr>
              <a:t>1. </a:t>
            </a:r>
            <a:r>
              <a:rPr lang="en-GB" sz="4400" b="1" spc="50" dirty="0" smtClean="0">
                <a:solidFill>
                  <a:prstClr val="white"/>
                </a:solidFill>
                <a:latin typeface="Arial" pitchFamily="34" charset="0"/>
                <a:ea typeface="Tahoma" pitchFamily="34" charset="0"/>
                <a:cs typeface="Arial" pitchFamily="34" charset="0"/>
              </a:rPr>
              <a:t>EURIPIDES² scope</a:t>
            </a:r>
            <a:endParaRPr lang="en-GB" sz="4400" b="1" spc="50" dirty="0">
              <a:solidFill>
                <a:prstClr val="white"/>
              </a:solidFill>
              <a:latin typeface="Arial" pitchFamily="34" charset="0"/>
              <a:ea typeface="Tahoma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 spd="slow">
    <p:pull dir="r"/>
  </p:transition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993" name="Titre 1"/>
          <p:cNvSpPr>
            <a:spLocks noGrp="1"/>
          </p:cNvSpPr>
          <p:nvPr>
            <p:ph type="title"/>
          </p:nvPr>
        </p:nvSpPr>
        <p:spPr bwMode="auto">
          <a:xfrm>
            <a:off x="1071744" y="1268760"/>
            <a:ext cx="7056784" cy="4320480"/>
          </a:xfr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 fontScale="90000"/>
          </a:bodyPr>
          <a:lstStyle/>
          <a:p>
            <a:pPr eaLnBrk="1" hangingPunct="1"/>
            <a:r>
              <a:rPr lang="en-GB" b="1" dirty="0" smtClean="0"/>
              <a:t>Contact</a:t>
            </a:r>
            <a:br>
              <a:rPr lang="en-GB" b="1" dirty="0" smtClean="0"/>
            </a:br>
            <a:r>
              <a:rPr lang="en-GB" sz="1800" b="1" dirty="0" smtClean="0"/>
              <a:t/>
            </a:r>
            <a:br>
              <a:rPr lang="en-GB" sz="1800" b="1" dirty="0" smtClean="0"/>
            </a:br>
            <a:r>
              <a:rPr lang="en-GB" b="1" dirty="0" smtClean="0"/>
              <a:t>remy.renaudin@euripides-eureka.eu</a:t>
            </a:r>
            <a:br>
              <a:rPr lang="en-GB" b="1" dirty="0" smtClean="0"/>
            </a:br>
            <a:r>
              <a:rPr lang="en-GB" sz="1800" b="1" dirty="0" smtClean="0"/>
              <a:t/>
            </a:r>
            <a:br>
              <a:rPr lang="en-GB" sz="1800" b="1" dirty="0" smtClean="0"/>
            </a:br>
            <a:r>
              <a:rPr lang="en-GB" b="1" dirty="0" smtClean="0"/>
              <a:t>www.euripides-eureka.eu</a:t>
            </a:r>
            <a:r>
              <a:rPr lang="en-GB" b="1" dirty="0"/>
              <a:t/>
            </a:r>
            <a:br>
              <a:rPr lang="en-GB" b="1" dirty="0"/>
            </a:br>
            <a:r>
              <a:rPr lang="en-GB" sz="1800" b="1" dirty="0" smtClean="0"/>
              <a:t/>
            </a:r>
            <a:br>
              <a:rPr lang="en-GB" sz="1800" b="1" dirty="0" smtClean="0"/>
            </a:br>
            <a:r>
              <a:rPr lang="en-GB" b="1" dirty="0" smtClean="0"/>
              <a:t>Join us on</a:t>
            </a:r>
            <a:br>
              <a:rPr lang="en-GB" b="1" dirty="0" smtClean="0"/>
            </a:br>
            <a:r>
              <a:rPr lang="en-GB" sz="1600" b="1" dirty="0" smtClean="0"/>
              <a:t/>
            </a:r>
            <a:br>
              <a:rPr lang="en-GB" sz="1600" b="1" dirty="0" smtClean="0"/>
            </a:br>
            <a:r>
              <a:rPr lang="en-GB" sz="4800" b="1" dirty="0" smtClean="0"/>
              <a:t/>
            </a:r>
            <a:br>
              <a:rPr lang="en-GB" sz="4800" b="1" dirty="0" smtClean="0"/>
            </a:br>
            <a:r>
              <a:rPr lang="en-GB" b="1" dirty="0" smtClean="0"/>
              <a:t>Thank you </a:t>
            </a:r>
            <a:r>
              <a:rPr lang="en-GB" dirty="0" smtClean="0"/>
              <a:t>!</a:t>
            </a:r>
          </a:p>
        </p:txBody>
      </p:sp>
      <p:pic>
        <p:nvPicPr>
          <p:cNvPr id="1030" name="Picture 6" descr="http://www.thedynamicsale.com/wp-content/uploads/2014/01/linkedin-groups-logo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31220" y="4222440"/>
            <a:ext cx="2120900" cy="7749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73358899"/>
      </p:ext>
    </p:extLst>
  </p:cSld>
  <p:clrMapOvr>
    <a:masterClrMapping/>
  </p:clrMapOvr>
  <p:transition spd="slow">
    <p:pull dir="r"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30968" y="3715381"/>
            <a:ext cx="1491209" cy="107121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" name="Picture 5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254122" y="3013307"/>
            <a:ext cx="1350326" cy="13517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2" name="Image 11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9242" y="1521846"/>
            <a:ext cx="954660" cy="1323599"/>
          </a:xfrm>
          <a:prstGeom prst="rect">
            <a:avLst/>
          </a:prstGeom>
        </p:spPr>
      </p:pic>
      <p:pic>
        <p:nvPicPr>
          <p:cNvPr id="14" name="Image 13"/>
          <p:cNvPicPr>
            <a:picLocks noChangeAspect="1"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7847"/>
          <a:stretch/>
        </p:blipFill>
        <p:spPr>
          <a:xfrm>
            <a:off x="3486862" y="1383221"/>
            <a:ext cx="1139152" cy="821643"/>
          </a:xfrm>
          <a:prstGeom prst="rect">
            <a:avLst/>
          </a:prstGeom>
        </p:spPr>
      </p:pic>
      <p:sp>
        <p:nvSpPr>
          <p:cNvPr id="15" name="ZoneTexte 14"/>
          <p:cNvSpPr txBox="1"/>
          <p:nvPr/>
        </p:nvSpPr>
        <p:spPr>
          <a:xfrm>
            <a:off x="6372200" y="5937028"/>
            <a:ext cx="2771801" cy="438572"/>
          </a:xfrm>
          <a:prstGeom prst="rect">
            <a:avLst/>
          </a:prstGeom>
          <a:noFill/>
        </p:spPr>
        <p:txBody>
          <a:bodyPr wrap="square" lIns="68571" tIns="34285" rIns="68571" bIns="34285" rtlCol="0">
            <a:spAutoFit/>
          </a:bodyPr>
          <a:lstStyle/>
          <a:p>
            <a:r>
              <a:rPr lang="fr-FR" sz="12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Credits</a:t>
            </a:r>
            <a:r>
              <a:rPr lang="fr-FR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fr-FR" sz="12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Infineon</a:t>
            </a:r>
            <a:r>
              <a:rPr lang="fr-FR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, CEA-</a:t>
            </a:r>
            <a:r>
              <a:rPr lang="fr-FR" sz="12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LETI</a:t>
            </a:r>
            <a:r>
              <a:rPr lang="fr-FR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fr-FR" sz="12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Eryma</a:t>
            </a:r>
            <a:r>
              <a:rPr lang="fr-FR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, STMicroelectronics, Continental, VTT</a:t>
            </a:r>
            <a:endParaRPr lang="fr-FR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6" name="Image 15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9160" y="4912503"/>
            <a:ext cx="1496616" cy="1320891"/>
          </a:xfrm>
          <a:prstGeom prst="rect">
            <a:avLst/>
          </a:prstGeom>
        </p:spPr>
      </p:pic>
      <p:sp>
        <p:nvSpPr>
          <p:cNvPr id="5" name="Titre 4"/>
          <p:cNvSpPr>
            <a:spLocks noGrp="1"/>
          </p:cNvSpPr>
          <p:nvPr>
            <p:ph type="title"/>
          </p:nvPr>
        </p:nvSpPr>
        <p:spPr>
          <a:xfrm>
            <a:off x="1259633" y="346725"/>
            <a:ext cx="6624736" cy="850028"/>
          </a:xfrm>
        </p:spPr>
        <p:txBody>
          <a:bodyPr>
            <a:normAutofit fontScale="90000"/>
          </a:bodyPr>
          <a:lstStyle/>
          <a:p>
            <a:r>
              <a:rPr lang="en-GB" spc="50" dirty="0">
                <a:solidFill>
                  <a:prstClr val="white"/>
                </a:solidFill>
              </a:rPr>
              <a:t>EURIPIDES² Smart Electronics Systems</a:t>
            </a:r>
          </a:p>
        </p:txBody>
      </p:sp>
      <p:sp>
        <p:nvSpPr>
          <p:cNvPr id="13" name="Slide Number Placeholder 5"/>
          <p:cNvSpPr txBox="1">
            <a:spLocks/>
          </p:cNvSpPr>
          <p:nvPr/>
        </p:nvSpPr>
        <p:spPr>
          <a:xfrm>
            <a:off x="8628418" y="6354457"/>
            <a:ext cx="343043" cy="36933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nl-NL"/>
            </a:defPPr>
            <a:lvl1pPr marL="0" algn="r" defTabSz="457200" rtl="0" eaLnBrk="1" latinLnBrk="0" hangingPunct="1">
              <a:defRPr sz="1800" b="0" i="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8C080AE-66C8-8249-B90B-B6D109566B0C}" type="slidenum">
              <a:rPr lang="en-US" sz="2400" b="1">
                <a:solidFill>
                  <a:schemeClr val="tx2"/>
                </a:solidFill>
              </a:rPr>
              <a:pPr/>
              <a:t>4</a:t>
            </a:fld>
            <a:endParaRPr lang="en-US" sz="2400" b="1" dirty="0">
              <a:solidFill>
                <a:schemeClr val="tx2"/>
              </a:solidFill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53902" y="2249956"/>
            <a:ext cx="5847896" cy="3052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Image 6"/>
          <p:cNvPicPr>
            <a:picLocks noChangeAspect="1"/>
          </p:cNvPicPr>
          <p:nvPr/>
        </p:nvPicPr>
        <p:blipFill rotWithShape="1"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7888" r="23847"/>
          <a:stretch/>
        </p:blipFill>
        <p:spPr>
          <a:xfrm>
            <a:off x="6512066" y="4635824"/>
            <a:ext cx="1973226" cy="1334157"/>
          </a:xfrm>
          <a:prstGeom prst="rect">
            <a:avLst/>
          </a:prstGeom>
        </p:spPr>
      </p:pic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732240" y="1211641"/>
            <a:ext cx="1644987" cy="158252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8825432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1000"/>
                            </p:stCondLst>
                            <p:childTnLst>
                              <p:par>
                                <p:cTn id="10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205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205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500"/>
                            </p:stCondLst>
                            <p:childTnLst>
                              <p:par>
                                <p:cTn id="15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2000"/>
                            </p:stCondLst>
                            <p:childTnLst>
                              <p:par>
                                <p:cTn id="20" presetID="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500"/>
                            </p:stCondLst>
                            <p:childTnLst>
                              <p:par>
                                <p:cTn id="25" presetID="2" presetClass="entr" presetSubtype="2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205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205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3500"/>
                            </p:stCondLst>
                            <p:childTnLst>
                              <p:par>
                                <p:cTn id="30" presetID="2" presetClass="entr" presetSubtype="2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4500"/>
                            </p:stCondLst>
                            <p:childTnLst>
                              <p:par>
                                <p:cTn id="35" presetID="2" presetClass="entr" presetSubtype="2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5500"/>
                            </p:stCondLst>
                            <p:childTnLst>
                              <p:par>
                                <p:cTn id="40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2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1"/>
          <p:cNvSpPr>
            <a:spLocks noChangeArrowheads="1"/>
          </p:cNvSpPr>
          <p:nvPr/>
        </p:nvSpPr>
        <p:spPr bwMode="auto">
          <a:xfrm>
            <a:off x="971600" y="495981"/>
            <a:ext cx="7202613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r>
              <a:rPr lang="en-GB" sz="2800" b="1" spc="50" dirty="0" smtClean="0">
                <a:solidFill>
                  <a:prstClr val="white"/>
                </a:solidFill>
                <a:latin typeface="Arial" pitchFamily="34" charset="0"/>
                <a:ea typeface="Tahoma" pitchFamily="34" charset="0"/>
                <a:cs typeface="Arial" pitchFamily="34" charset="0"/>
              </a:rPr>
              <a:t>EURIPIDES² Smart Electronics Systems</a:t>
            </a:r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7544" y="1268760"/>
            <a:ext cx="8208912" cy="45296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5" name="Groupe 4"/>
          <p:cNvGrpSpPr/>
          <p:nvPr/>
        </p:nvGrpSpPr>
        <p:grpSpPr>
          <a:xfrm>
            <a:off x="107504" y="5798396"/>
            <a:ext cx="8721884" cy="603228"/>
            <a:chOff x="107504" y="5798396"/>
            <a:chExt cx="8721884" cy="603228"/>
          </a:xfrm>
        </p:grpSpPr>
        <p:pic>
          <p:nvPicPr>
            <p:cNvPr id="1026" name="Picture 2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046238" y="5798396"/>
              <a:ext cx="783150" cy="60322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4" name="ZoneTexte 3"/>
            <p:cNvSpPr txBox="1"/>
            <p:nvPr/>
          </p:nvSpPr>
          <p:spPr>
            <a:xfrm>
              <a:off x="107504" y="5877272"/>
              <a:ext cx="7938734" cy="49244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130000"/>
                </a:lnSpc>
                <a:spcBef>
                  <a:spcPct val="20000"/>
                </a:spcBef>
                <a:buBlip>
                  <a:blip r:embed="rId5"/>
                </a:buBlip>
                <a:defRPr/>
              </a:pPr>
              <a:r>
                <a:rPr lang="en-GB" sz="2000" b="1" dirty="0" smtClean="0">
                  <a:solidFill>
                    <a:prstClr val="black"/>
                  </a:solidFill>
                  <a:latin typeface="Arial" pitchFamily="34" charset="0"/>
                  <a:ea typeface="Tahoma" pitchFamily="34" charset="0"/>
                  <a:cs typeface="Arial" pitchFamily="34" charset="0"/>
                </a:rPr>
                <a:t>Download the Vision Mission and Strategy document</a:t>
              </a:r>
              <a:endParaRPr lang="en-GB" sz="2000" b="1" dirty="0">
                <a:solidFill>
                  <a:prstClr val="black"/>
                </a:solidFill>
                <a:latin typeface="Arial" pitchFamily="34" charset="0"/>
                <a:ea typeface="Tahoma" pitchFamily="34" charset="0"/>
                <a:cs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50983880"/>
      </p:ext>
    </p:extLst>
  </p:cSld>
  <p:clrMapOvr>
    <a:masterClrMapping/>
  </p:clrMapOvr>
  <p:transition spd="slow">
    <p:pull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05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05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05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1" name="Group 60"/>
          <p:cNvGrpSpPr/>
          <p:nvPr/>
        </p:nvGrpSpPr>
        <p:grpSpPr>
          <a:xfrm>
            <a:off x="754289" y="5082851"/>
            <a:ext cx="7914485" cy="513745"/>
            <a:chOff x="1005719" y="5774095"/>
            <a:chExt cx="10552646" cy="684993"/>
          </a:xfrm>
        </p:grpSpPr>
        <p:sp>
          <p:nvSpPr>
            <p:cNvPr id="13" name="Rectangle 12">
              <a:extLst>
                <a:ext uri="{FF2B5EF4-FFF2-40B4-BE49-F238E27FC236}">
                  <a16:creationId xmlns="" xmlns:a16="http://schemas.microsoft.com/office/drawing/2014/main" id="{4EC256ED-66C4-4C8A-B152-D7D841E57B1A}"/>
                </a:ext>
              </a:extLst>
            </p:cNvPr>
            <p:cNvSpPr/>
            <p:nvPr/>
          </p:nvSpPr>
          <p:spPr>
            <a:xfrm>
              <a:off x="1525429" y="5813841"/>
              <a:ext cx="10032936" cy="608603"/>
            </a:xfrm>
            <a:prstGeom prst="rect">
              <a:avLst/>
            </a:prstGeom>
            <a:gradFill flip="none" rotWithShape="1">
              <a:gsLst>
                <a:gs pos="0">
                  <a:srgbClr val="3DAB9B"/>
                </a:gs>
                <a:gs pos="100000">
                  <a:srgbClr val="1C356E"/>
                </a:gs>
              </a:gsLst>
              <a:lin ang="21000000" scaled="0"/>
              <a:tileRect/>
            </a:gradFill>
            <a:ln w="158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lvl="0"/>
              <a:endParaRPr lang="en-US" sz="1050" dirty="0">
                <a:solidFill>
                  <a:schemeClr val="tx1"/>
                </a:solidFill>
                <a:cs typeface="Times New Roman" panose="02020603050405020304" pitchFamily="18" charset="0"/>
              </a:endParaRPr>
            </a:p>
          </p:txBody>
        </p:sp>
        <p:sp>
          <p:nvSpPr>
            <p:cNvPr id="32" name="Oval 16"/>
            <p:cNvSpPr>
              <a:spLocks noChangeArrowheads="1"/>
            </p:cNvSpPr>
            <p:nvPr/>
          </p:nvSpPr>
          <p:spPr bwMode="auto">
            <a:xfrm>
              <a:off x="1005719" y="5774095"/>
              <a:ext cx="684993" cy="684993"/>
            </a:xfrm>
            <a:prstGeom prst="ellipse">
              <a:avLst/>
            </a:prstGeom>
            <a:solidFill>
              <a:schemeClr val="bg2"/>
            </a:solidFill>
            <a:ln w="50800">
              <a:solidFill>
                <a:schemeClr val="accent2"/>
              </a:solidFill>
              <a:round/>
              <a:headEnd/>
              <a:tailEnd/>
            </a:ln>
            <a:extLst/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pic>
          <p:nvPicPr>
            <p:cNvPr id="16" name="Picture 15">
              <a:extLst>
                <a:ext uri="{FF2B5EF4-FFF2-40B4-BE49-F238E27FC236}">
                  <a16:creationId xmlns="" xmlns:a16="http://schemas.microsoft.com/office/drawing/2014/main" id="{379E0938-A5A6-4E21-9C44-016868FD4D20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02467" y="5882914"/>
              <a:ext cx="488916" cy="488916"/>
            </a:xfrm>
            <a:prstGeom prst="rect">
              <a:avLst/>
            </a:prstGeom>
          </p:spPr>
        </p:pic>
        <p:sp>
          <p:nvSpPr>
            <p:cNvPr id="38" name="Rectangle 37"/>
            <p:cNvSpPr/>
            <p:nvPr/>
          </p:nvSpPr>
          <p:spPr>
            <a:xfrm>
              <a:off x="1746619" y="5853518"/>
              <a:ext cx="3100296" cy="55399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GB" sz="1050" dirty="0">
                  <a:solidFill>
                    <a:schemeClr val="bg1"/>
                  </a:solidFill>
                </a:rPr>
                <a:t>ECS Process Technology, Equipment,</a:t>
              </a:r>
            </a:p>
            <a:p>
              <a:r>
                <a:rPr lang="en-GB" sz="1050" dirty="0">
                  <a:solidFill>
                    <a:schemeClr val="bg1"/>
                  </a:solidFill>
                </a:rPr>
                <a:t> Materials &amp; Manufacturing</a:t>
              </a:r>
            </a:p>
          </p:txBody>
        </p:sp>
      </p:grpSp>
      <p:grpSp>
        <p:nvGrpSpPr>
          <p:cNvPr id="60" name="Group 59"/>
          <p:cNvGrpSpPr/>
          <p:nvPr/>
        </p:nvGrpSpPr>
        <p:grpSpPr>
          <a:xfrm>
            <a:off x="754289" y="4486698"/>
            <a:ext cx="7914485" cy="513745"/>
            <a:chOff x="1005719" y="4979224"/>
            <a:chExt cx="10552646" cy="684993"/>
          </a:xfrm>
        </p:grpSpPr>
        <p:sp>
          <p:nvSpPr>
            <p:cNvPr id="14" name="Rectangle 13">
              <a:extLst>
                <a:ext uri="{FF2B5EF4-FFF2-40B4-BE49-F238E27FC236}">
                  <a16:creationId xmlns="" xmlns:a16="http://schemas.microsoft.com/office/drawing/2014/main" id="{4C11CE77-B531-4896-AA80-44106E3368C5}"/>
                </a:ext>
              </a:extLst>
            </p:cNvPr>
            <p:cNvSpPr/>
            <p:nvPr/>
          </p:nvSpPr>
          <p:spPr>
            <a:xfrm>
              <a:off x="1525429" y="5009279"/>
              <a:ext cx="10032936" cy="633842"/>
            </a:xfrm>
            <a:prstGeom prst="rect">
              <a:avLst/>
            </a:prstGeom>
            <a:gradFill flip="none" rotWithShape="1">
              <a:gsLst>
                <a:gs pos="0">
                  <a:srgbClr val="3DAB9B"/>
                </a:gs>
                <a:gs pos="100000">
                  <a:srgbClr val="1C356E"/>
                </a:gs>
              </a:gsLst>
              <a:lin ang="21000000" scaled="0"/>
              <a:tileRect/>
            </a:gradFill>
            <a:ln w="158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endParaRPr lang="en-GB" sz="1050" dirty="0">
                <a:solidFill>
                  <a:schemeClr val="tx1"/>
                </a:solidFill>
              </a:endParaRPr>
            </a:p>
          </p:txBody>
        </p:sp>
        <p:sp>
          <p:nvSpPr>
            <p:cNvPr id="31" name="Oval 16"/>
            <p:cNvSpPr>
              <a:spLocks noChangeArrowheads="1"/>
            </p:cNvSpPr>
            <p:nvPr/>
          </p:nvSpPr>
          <p:spPr bwMode="auto">
            <a:xfrm>
              <a:off x="1005719" y="4979224"/>
              <a:ext cx="684993" cy="684993"/>
            </a:xfrm>
            <a:prstGeom prst="ellipse">
              <a:avLst/>
            </a:prstGeom>
            <a:solidFill>
              <a:schemeClr val="bg2"/>
            </a:solidFill>
            <a:ln w="50800">
              <a:solidFill>
                <a:schemeClr val="accent2"/>
              </a:solidFill>
              <a:round/>
              <a:headEnd/>
              <a:tailEnd/>
            </a:ln>
            <a:extLst/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pic>
          <p:nvPicPr>
            <p:cNvPr id="24" name="Picture 23">
              <a:extLst>
                <a:ext uri="{FF2B5EF4-FFF2-40B4-BE49-F238E27FC236}">
                  <a16:creationId xmlns="" xmlns:a16="http://schemas.microsoft.com/office/drawing/2014/main" id="{195BE7B4-4924-4FE8-B0B2-EEF6C674211F}"/>
                </a:ext>
              </a:extLst>
            </p:cNvPr>
            <p:cNvPicPr>
              <a:picLocks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02125" y="5067771"/>
              <a:ext cx="489600" cy="489600"/>
            </a:xfrm>
            <a:prstGeom prst="rect">
              <a:avLst/>
            </a:prstGeom>
          </p:spPr>
        </p:pic>
        <p:sp>
          <p:nvSpPr>
            <p:cNvPr id="37" name="Rectangle 36"/>
            <p:cNvSpPr/>
            <p:nvPr/>
          </p:nvSpPr>
          <p:spPr>
            <a:xfrm>
              <a:off x="1743631" y="5160421"/>
              <a:ext cx="3100296" cy="33855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GB" sz="1050" dirty="0">
                  <a:solidFill>
                    <a:schemeClr val="bg1"/>
                  </a:solidFill>
                </a:rPr>
                <a:t>Computing &amp; Storage</a:t>
              </a:r>
            </a:p>
          </p:txBody>
        </p:sp>
      </p:grpSp>
      <p:grpSp>
        <p:nvGrpSpPr>
          <p:cNvPr id="58" name="Group 57"/>
          <p:cNvGrpSpPr/>
          <p:nvPr/>
        </p:nvGrpSpPr>
        <p:grpSpPr>
          <a:xfrm>
            <a:off x="754289" y="3890545"/>
            <a:ext cx="7914485" cy="513745"/>
            <a:chOff x="1005719" y="4184354"/>
            <a:chExt cx="10552646" cy="684993"/>
          </a:xfrm>
        </p:grpSpPr>
        <p:sp>
          <p:nvSpPr>
            <p:cNvPr id="12" name="Rectangle 11">
              <a:extLst>
                <a:ext uri="{FF2B5EF4-FFF2-40B4-BE49-F238E27FC236}">
                  <a16:creationId xmlns="" xmlns:a16="http://schemas.microsoft.com/office/drawing/2014/main" id="{D89CB5A4-F774-4400-AF26-FE970E7E5566}"/>
                </a:ext>
              </a:extLst>
            </p:cNvPr>
            <p:cNvSpPr/>
            <p:nvPr/>
          </p:nvSpPr>
          <p:spPr>
            <a:xfrm>
              <a:off x="1525429" y="4210190"/>
              <a:ext cx="10032936" cy="605956"/>
            </a:xfrm>
            <a:prstGeom prst="rect">
              <a:avLst/>
            </a:prstGeom>
            <a:gradFill flip="none" rotWithShape="1">
              <a:gsLst>
                <a:gs pos="0">
                  <a:srgbClr val="3DAB9B"/>
                </a:gs>
                <a:gs pos="100000">
                  <a:srgbClr val="1C356E"/>
                </a:gs>
              </a:gsLst>
              <a:lin ang="21000000" scaled="0"/>
              <a:tileRect/>
            </a:gradFill>
            <a:ln w="158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>
                <a:spcBef>
                  <a:spcPts val="900"/>
                </a:spcBef>
              </a:pPr>
              <a:endParaRPr lang="en-GB" sz="1050" dirty="0">
                <a:solidFill>
                  <a:schemeClr val="tx1"/>
                </a:solidFill>
                <a:cs typeface="Times New Roman" panose="02020603050405020304" pitchFamily="18" charset="0"/>
              </a:endParaRPr>
            </a:p>
          </p:txBody>
        </p:sp>
        <p:sp>
          <p:nvSpPr>
            <p:cNvPr id="30" name="Oval 16"/>
            <p:cNvSpPr>
              <a:spLocks noChangeArrowheads="1"/>
            </p:cNvSpPr>
            <p:nvPr/>
          </p:nvSpPr>
          <p:spPr bwMode="auto">
            <a:xfrm>
              <a:off x="1005719" y="4184354"/>
              <a:ext cx="684993" cy="684993"/>
            </a:xfrm>
            <a:prstGeom prst="ellipse">
              <a:avLst/>
            </a:prstGeom>
            <a:solidFill>
              <a:schemeClr val="bg2"/>
            </a:solidFill>
            <a:ln w="50800">
              <a:solidFill>
                <a:schemeClr val="accent2"/>
              </a:solidFill>
              <a:round/>
              <a:headEnd/>
              <a:tailEnd/>
            </a:ln>
            <a:extLst/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pic>
          <p:nvPicPr>
            <p:cNvPr id="17" name="Picture 16">
              <a:extLst>
                <a:ext uri="{FF2B5EF4-FFF2-40B4-BE49-F238E27FC236}">
                  <a16:creationId xmlns="" xmlns:a16="http://schemas.microsoft.com/office/drawing/2014/main" id="{9FDAD997-F921-454B-B370-6D328146F6F3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02467" y="4287983"/>
              <a:ext cx="488916" cy="488916"/>
            </a:xfrm>
            <a:prstGeom prst="rect">
              <a:avLst/>
            </a:prstGeom>
          </p:spPr>
        </p:pic>
        <p:sp>
          <p:nvSpPr>
            <p:cNvPr id="36" name="Rectangle 35"/>
            <p:cNvSpPr/>
            <p:nvPr/>
          </p:nvSpPr>
          <p:spPr>
            <a:xfrm>
              <a:off x="1743630" y="4352189"/>
              <a:ext cx="3100296" cy="33855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GB" sz="1050" dirty="0">
                  <a:solidFill>
                    <a:schemeClr val="bg1"/>
                  </a:solidFill>
                </a:rPr>
                <a:t>Safety, Security &amp; Reliability</a:t>
              </a:r>
            </a:p>
          </p:txBody>
        </p:sp>
      </p:grpSp>
      <p:grpSp>
        <p:nvGrpSpPr>
          <p:cNvPr id="57" name="Group 56"/>
          <p:cNvGrpSpPr/>
          <p:nvPr/>
        </p:nvGrpSpPr>
        <p:grpSpPr>
          <a:xfrm>
            <a:off x="754289" y="3294393"/>
            <a:ext cx="7914485" cy="513745"/>
            <a:chOff x="1005719" y="3389484"/>
            <a:chExt cx="10552646" cy="684993"/>
          </a:xfrm>
        </p:grpSpPr>
        <p:sp>
          <p:nvSpPr>
            <p:cNvPr id="11" name="Rectangle 10">
              <a:extLst>
                <a:ext uri="{FF2B5EF4-FFF2-40B4-BE49-F238E27FC236}">
                  <a16:creationId xmlns="" xmlns:a16="http://schemas.microsoft.com/office/drawing/2014/main" id="{ADEC11FB-F03E-4042-B377-312FBB014B34}"/>
                </a:ext>
              </a:extLst>
            </p:cNvPr>
            <p:cNvSpPr/>
            <p:nvPr/>
          </p:nvSpPr>
          <p:spPr>
            <a:xfrm>
              <a:off x="1525429" y="3411476"/>
              <a:ext cx="10032936" cy="610050"/>
            </a:xfrm>
            <a:prstGeom prst="rect">
              <a:avLst/>
            </a:prstGeom>
            <a:gradFill flip="none" rotWithShape="1">
              <a:gsLst>
                <a:gs pos="0">
                  <a:srgbClr val="3DAB9B"/>
                </a:gs>
                <a:gs pos="100000">
                  <a:srgbClr val="1C356E"/>
                </a:gs>
              </a:gsLst>
              <a:lin ang="21000000" scaled="0"/>
              <a:tileRect/>
            </a:gradFill>
            <a:ln w="158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>
                <a:spcBef>
                  <a:spcPts val="900"/>
                </a:spcBef>
              </a:pPr>
              <a:endParaRPr lang="en-US" sz="1050" dirty="0">
                <a:solidFill>
                  <a:schemeClr val="tx1"/>
                </a:solidFill>
                <a:cs typeface="Times New Roman" panose="02020603050405020304" pitchFamily="18" charset="0"/>
              </a:endParaRPr>
            </a:p>
          </p:txBody>
        </p:sp>
        <p:sp>
          <p:nvSpPr>
            <p:cNvPr id="29" name="Oval 16"/>
            <p:cNvSpPr>
              <a:spLocks noChangeArrowheads="1"/>
            </p:cNvSpPr>
            <p:nvPr/>
          </p:nvSpPr>
          <p:spPr bwMode="auto">
            <a:xfrm>
              <a:off x="1005719" y="3389484"/>
              <a:ext cx="684993" cy="684993"/>
            </a:xfrm>
            <a:prstGeom prst="ellipse">
              <a:avLst/>
            </a:prstGeom>
            <a:solidFill>
              <a:schemeClr val="bg2"/>
            </a:solidFill>
            <a:ln w="50800">
              <a:solidFill>
                <a:schemeClr val="accent2"/>
              </a:solidFill>
              <a:round/>
              <a:headEnd/>
              <a:tailEnd/>
            </a:ln>
            <a:extLst/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pic>
          <p:nvPicPr>
            <p:cNvPr id="18" name="Picture 17">
              <a:extLst>
                <a:ext uri="{FF2B5EF4-FFF2-40B4-BE49-F238E27FC236}">
                  <a16:creationId xmlns="" xmlns:a16="http://schemas.microsoft.com/office/drawing/2014/main" id="{6A82828D-3C38-4C4E-A98F-5CB448838B59}"/>
                </a:ext>
              </a:extLst>
            </p:cNvPr>
            <p:cNvPicPr>
              <a:picLocks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02125" y="3489216"/>
              <a:ext cx="489600" cy="489600"/>
            </a:xfrm>
            <a:prstGeom prst="rect">
              <a:avLst/>
            </a:prstGeom>
          </p:spPr>
        </p:pic>
        <p:sp>
          <p:nvSpPr>
            <p:cNvPr id="35" name="Rectangle 34"/>
            <p:cNvSpPr/>
            <p:nvPr/>
          </p:nvSpPr>
          <p:spPr>
            <a:xfrm>
              <a:off x="1743632" y="3539315"/>
              <a:ext cx="3100296" cy="33855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GB" sz="1050" dirty="0">
                  <a:solidFill>
                    <a:schemeClr val="bg1"/>
                  </a:solidFill>
                </a:rPr>
                <a:t>Connectivity &amp; Interoperability</a:t>
              </a:r>
            </a:p>
          </p:txBody>
        </p:sp>
      </p:grpSp>
      <p:grpSp>
        <p:nvGrpSpPr>
          <p:cNvPr id="56" name="Group 55"/>
          <p:cNvGrpSpPr/>
          <p:nvPr/>
        </p:nvGrpSpPr>
        <p:grpSpPr>
          <a:xfrm>
            <a:off x="754290" y="2698240"/>
            <a:ext cx="7932086" cy="513745"/>
            <a:chOff x="1005719" y="2594614"/>
            <a:chExt cx="10576115" cy="684993"/>
          </a:xfrm>
        </p:grpSpPr>
        <p:sp>
          <p:nvSpPr>
            <p:cNvPr id="10" name="Rectangle 9">
              <a:extLst>
                <a:ext uri="{FF2B5EF4-FFF2-40B4-BE49-F238E27FC236}">
                  <a16:creationId xmlns="" xmlns:a16="http://schemas.microsoft.com/office/drawing/2014/main" id="{8B2886B9-FBF3-4373-BFA3-3F35B48DFE95}"/>
                </a:ext>
              </a:extLst>
            </p:cNvPr>
            <p:cNvSpPr/>
            <p:nvPr/>
          </p:nvSpPr>
          <p:spPr>
            <a:xfrm>
              <a:off x="1525429" y="2650544"/>
              <a:ext cx="10056405" cy="580539"/>
            </a:xfrm>
            <a:prstGeom prst="rect">
              <a:avLst/>
            </a:prstGeom>
            <a:gradFill flip="none" rotWithShape="1">
              <a:gsLst>
                <a:gs pos="0">
                  <a:srgbClr val="3DAB9B"/>
                </a:gs>
                <a:gs pos="100000">
                  <a:srgbClr val="1C356E"/>
                </a:gs>
              </a:gsLst>
              <a:lin ang="21000000" scaled="0"/>
              <a:tileRect/>
            </a:gradFill>
            <a:ln w="158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endParaRPr lang="en-GB" sz="1050" dirty="0">
                <a:solidFill>
                  <a:schemeClr val="tx1"/>
                </a:solidFill>
                <a:cs typeface="Times New Roman" panose="02020603050405020304" pitchFamily="18" charset="0"/>
              </a:endParaRPr>
            </a:p>
          </p:txBody>
        </p:sp>
        <p:sp>
          <p:nvSpPr>
            <p:cNvPr id="27" name="Oval 16"/>
            <p:cNvSpPr>
              <a:spLocks noChangeArrowheads="1"/>
            </p:cNvSpPr>
            <p:nvPr/>
          </p:nvSpPr>
          <p:spPr bwMode="auto">
            <a:xfrm>
              <a:off x="1005719" y="2594614"/>
              <a:ext cx="684993" cy="684993"/>
            </a:xfrm>
            <a:prstGeom prst="ellipse">
              <a:avLst/>
            </a:prstGeom>
            <a:solidFill>
              <a:schemeClr val="bg2"/>
            </a:solidFill>
            <a:ln w="50800">
              <a:solidFill>
                <a:schemeClr val="accent2"/>
              </a:solidFill>
              <a:round/>
              <a:headEnd/>
              <a:tailEnd/>
            </a:ln>
            <a:extLst/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pic>
          <p:nvPicPr>
            <p:cNvPr id="15" name="Picture 14">
              <a:extLst>
                <a:ext uri="{FF2B5EF4-FFF2-40B4-BE49-F238E27FC236}">
                  <a16:creationId xmlns="" xmlns:a16="http://schemas.microsoft.com/office/drawing/2014/main" id="{3260A1B4-4399-49C9-8E3A-BCA382D61B4D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02467" y="2691202"/>
              <a:ext cx="488916" cy="488916"/>
            </a:xfrm>
            <a:prstGeom prst="rect">
              <a:avLst/>
            </a:prstGeom>
          </p:spPr>
        </p:pic>
        <p:sp>
          <p:nvSpPr>
            <p:cNvPr id="33" name="Rectangle 32"/>
            <p:cNvSpPr/>
            <p:nvPr/>
          </p:nvSpPr>
          <p:spPr>
            <a:xfrm>
              <a:off x="1748112" y="2687483"/>
              <a:ext cx="3100296" cy="55399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GB" sz="1050" dirty="0">
                  <a:solidFill>
                    <a:schemeClr val="bg1"/>
                  </a:solidFill>
                </a:rPr>
                <a:t>Systems and Components</a:t>
              </a:r>
            </a:p>
            <a:p>
              <a:r>
                <a:rPr lang="en-GB" sz="1050" dirty="0">
                  <a:solidFill>
                    <a:schemeClr val="bg1"/>
                  </a:solidFill>
                </a:rPr>
                <a:t>Architecture, Design &amp; Integration</a:t>
              </a:r>
              <a:endParaRPr lang="en-GB" sz="1050" dirty="0">
                <a:solidFill>
                  <a:schemeClr val="bg1"/>
                </a:solidFill>
                <a:cs typeface="Times New Roman" panose="02020603050405020304" pitchFamily="18" charset="0"/>
              </a:endParaRP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971600" y="344463"/>
            <a:ext cx="6347360" cy="852289"/>
          </a:xfrm>
        </p:spPr>
        <p:txBody>
          <a:bodyPr>
            <a:normAutofit/>
          </a:bodyPr>
          <a:lstStyle/>
          <a:p>
            <a:r>
              <a:rPr lang="en-US" sz="2800" dirty="0">
                <a:solidFill>
                  <a:prstClr val="white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R&amp;D&amp;I</a:t>
            </a: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800" dirty="0">
                <a:solidFill>
                  <a:prstClr val="white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Strategic Research Agenda Roadmap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="" xmlns:a16="http://schemas.microsoft.com/office/drawing/2014/main" id="{F3B87075-D538-44FB-9C6C-33F726E38B10}"/>
              </a:ext>
            </a:extLst>
          </p:cNvPr>
          <p:cNvSpPr/>
          <p:nvPr/>
        </p:nvSpPr>
        <p:spPr>
          <a:xfrm>
            <a:off x="1497867" y="2278404"/>
            <a:ext cx="2584425" cy="30008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350" b="1" dirty="0">
                <a:solidFill>
                  <a:srgbClr val="73B632"/>
                </a:solidFill>
                <a:latin typeface="Dosis Regular"/>
              </a:rPr>
              <a:t>KEY APPLICATION AREAS  </a:t>
            </a:r>
            <a:r>
              <a:rPr lang="en-US" sz="1350" dirty="0">
                <a:solidFill>
                  <a:srgbClr val="73B632"/>
                </a:solidFill>
                <a:latin typeface="Dosis Regular"/>
              </a:rPr>
              <a:t>&gt;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="" xmlns:a16="http://schemas.microsoft.com/office/drawing/2014/main" id="{340B0C6E-7A96-4679-BA7D-2BBEDB390620}"/>
              </a:ext>
            </a:extLst>
          </p:cNvPr>
          <p:cNvSpPr/>
          <p:nvPr/>
        </p:nvSpPr>
        <p:spPr>
          <a:xfrm rot="16200000">
            <a:off x="-814368" y="3983208"/>
            <a:ext cx="2390463" cy="30008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350" b="1" dirty="0">
                <a:solidFill>
                  <a:srgbClr val="0076BB"/>
                </a:solidFill>
                <a:latin typeface="Dosis Regular"/>
              </a:rPr>
              <a:t>ESSENTIAL CAPABILITIES</a:t>
            </a:r>
          </a:p>
        </p:txBody>
      </p:sp>
      <p:grpSp>
        <p:nvGrpSpPr>
          <p:cNvPr id="62" name="Group 61"/>
          <p:cNvGrpSpPr/>
          <p:nvPr/>
        </p:nvGrpSpPr>
        <p:grpSpPr>
          <a:xfrm>
            <a:off x="3634851" y="2110584"/>
            <a:ext cx="741044" cy="3914065"/>
            <a:chOff x="4846468" y="1811072"/>
            <a:chExt cx="988058" cy="5218753"/>
          </a:xfrm>
        </p:grpSpPr>
        <p:sp>
          <p:nvSpPr>
            <p:cNvPr id="5" name="Rectangle 1"/>
            <p:cNvSpPr>
              <a:spLocks noChangeArrowheads="1"/>
            </p:cNvSpPr>
            <p:nvPr/>
          </p:nvSpPr>
          <p:spPr bwMode="auto">
            <a:xfrm rot="5400000">
              <a:off x="3073191" y="4312794"/>
              <a:ext cx="4534613" cy="899450"/>
            </a:xfrm>
            <a:prstGeom prst="homePlate">
              <a:avLst/>
            </a:prstGeom>
            <a:solidFill>
              <a:schemeClr val="accent1"/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40" name="Oval 16"/>
            <p:cNvSpPr>
              <a:spLocks noChangeArrowheads="1"/>
            </p:cNvSpPr>
            <p:nvPr/>
          </p:nvSpPr>
          <p:spPr bwMode="auto">
            <a:xfrm>
              <a:off x="4846468" y="1811072"/>
              <a:ext cx="988058" cy="988056"/>
            </a:xfrm>
            <a:prstGeom prst="ellipse">
              <a:avLst/>
            </a:prstGeom>
            <a:solidFill>
              <a:schemeClr val="bg2"/>
            </a:solidFill>
            <a:ln w="50800">
              <a:solidFill>
                <a:srgbClr val="73B632"/>
              </a:solidFill>
              <a:round/>
              <a:headEnd/>
              <a:tailEnd/>
            </a:ln>
            <a:extLst/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 dirty="0"/>
            </a:p>
          </p:txBody>
        </p:sp>
        <p:pic>
          <p:nvPicPr>
            <p:cNvPr id="22" name="Picture 21">
              <a:extLst>
                <a:ext uri="{FF2B5EF4-FFF2-40B4-BE49-F238E27FC236}">
                  <a16:creationId xmlns="" xmlns:a16="http://schemas.microsoft.com/office/drawing/2014/main" id="{A4B48E7A-631A-4171-93F3-74247AAC18B9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044703" y="2007051"/>
              <a:ext cx="591589" cy="591589"/>
            </a:xfrm>
            <a:prstGeom prst="rect">
              <a:avLst/>
            </a:prstGeom>
          </p:spPr>
        </p:pic>
        <p:sp>
          <p:nvSpPr>
            <p:cNvPr id="45" name="Rectangle 44"/>
            <p:cNvSpPr/>
            <p:nvPr/>
          </p:nvSpPr>
          <p:spPr>
            <a:xfrm rot="5400000">
              <a:off x="3790570" y="4246592"/>
              <a:ext cx="3100296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GB" sz="1200" dirty="0">
                  <a:solidFill>
                    <a:schemeClr val="bg1"/>
                  </a:solidFill>
                  <a:cs typeface="Times New Roman" panose="02020603050405020304" pitchFamily="18" charset="0"/>
                </a:rPr>
                <a:t>Transport &amp; Smart Mobility</a:t>
              </a:r>
              <a:endParaRPr lang="en-GB" sz="12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63" name="Group 62"/>
          <p:cNvGrpSpPr/>
          <p:nvPr/>
        </p:nvGrpSpPr>
        <p:grpSpPr>
          <a:xfrm>
            <a:off x="4662430" y="2107221"/>
            <a:ext cx="741044" cy="3911822"/>
            <a:chOff x="6216574" y="1806589"/>
            <a:chExt cx="988058" cy="5215762"/>
          </a:xfrm>
        </p:grpSpPr>
        <p:sp>
          <p:nvSpPr>
            <p:cNvPr id="6" name="Rectangle 2"/>
            <p:cNvSpPr>
              <a:spLocks noChangeArrowheads="1"/>
            </p:cNvSpPr>
            <p:nvPr/>
          </p:nvSpPr>
          <p:spPr bwMode="auto">
            <a:xfrm rot="5400000">
              <a:off x="4447033" y="4309056"/>
              <a:ext cx="4527140" cy="899450"/>
            </a:xfrm>
            <a:prstGeom prst="homePlate">
              <a:avLst/>
            </a:prstGeom>
            <a:solidFill>
              <a:srgbClr val="73B632"/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41" name="Oval 16"/>
            <p:cNvSpPr>
              <a:spLocks noChangeArrowheads="1"/>
            </p:cNvSpPr>
            <p:nvPr/>
          </p:nvSpPr>
          <p:spPr bwMode="auto">
            <a:xfrm>
              <a:off x="6216574" y="1806589"/>
              <a:ext cx="988058" cy="988056"/>
            </a:xfrm>
            <a:prstGeom prst="ellipse">
              <a:avLst/>
            </a:prstGeom>
            <a:solidFill>
              <a:schemeClr val="bg2"/>
            </a:solidFill>
            <a:ln w="50800">
              <a:solidFill>
                <a:srgbClr val="73B632"/>
              </a:solidFill>
              <a:round/>
              <a:headEnd/>
              <a:tailEnd/>
            </a:ln>
            <a:extLst/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 dirty="0"/>
            </a:p>
          </p:txBody>
        </p:sp>
        <p:pic>
          <p:nvPicPr>
            <p:cNvPr id="20" name="Picture 19">
              <a:extLst>
                <a:ext uri="{FF2B5EF4-FFF2-40B4-BE49-F238E27FC236}">
                  <a16:creationId xmlns="" xmlns:a16="http://schemas.microsoft.com/office/drawing/2014/main" id="{939AD308-C875-44D7-AE81-5E6785D71964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414809" y="2007051"/>
              <a:ext cx="591589" cy="591589"/>
            </a:xfrm>
            <a:prstGeom prst="rect">
              <a:avLst/>
            </a:prstGeom>
          </p:spPr>
        </p:pic>
        <p:sp>
          <p:nvSpPr>
            <p:cNvPr id="50" name="Rectangle 49"/>
            <p:cNvSpPr/>
            <p:nvPr/>
          </p:nvSpPr>
          <p:spPr>
            <a:xfrm rot="5400000">
              <a:off x="5183090" y="4246593"/>
              <a:ext cx="3100296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GB" sz="1200" dirty="0">
                  <a:solidFill>
                    <a:schemeClr val="bg1"/>
                  </a:solidFill>
                  <a:cs typeface="Times New Roman" panose="02020603050405020304" pitchFamily="18" charset="0"/>
                </a:rPr>
                <a:t>Health &amp; Well-Being</a:t>
              </a:r>
            </a:p>
          </p:txBody>
        </p:sp>
      </p:grpSp>
      <p:grpSp>
        <p:nvGrpSpPr>
          <p:cNvPr id="64" name="Group 63"/>
          <p:cNvGrpSpPr/>
          <p:nvPr/>
        </p:nvGrpSpPr>
        <p:grpSpPr>
          <a:xfrm>
            <a:off x="5678804" y="2109462"/>
            <a:ext cx="741044" cy="3909581"/>
            <a:chOff x="7571739" y="1809577"/>
            <a:chExt cx="988058" cy="5212774"/>
          </a:xfrm>
        </p:grpSpPr>
        <p:sp>
          <p:nvSpPr>
            <p:cNvPr id="7" name="Rectangle 3"/>
            <p:cNvSpPr>
              <a:spLocks noChangeArrowheads="1"/>
            </p:cNvSpPr>
            <p:nvPr/>
          </p:nvSpPr>
          <p:spPr bwMode="auto">
            <a:xfrm rot="5400000">
              <a:off x="5802198" y="4309056"/>
              <a:ext cx="4527140" cy="899450"/>
            </a:xfrm>
            <a:prstGeom prst="homePlate">
              <a:avLst/>
            </a:prstGeom>
            <a:solidFill>
              <a:srgbClr val="73B632"/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42" name="Oval 16"/>
            <p:cNvSpPr>
              <a:spLocks noChangeArrowheads="1"/>
            </p:cNvSpPr>
            <p:nvPr/>
          </p:nvSpPr>
          <p:spPr bwMode="auto">
            <a:xfrm>
              <a:off x="7571739" y="1809577"/>
              <a:ext cx="988058" cy="988056"/>
            </a:xfrm>
            <a:prstGeom prst="ellipse">
              <a:avLst/>
            </a:prstGeom>
            <a:solidFill>
              <a:schemeClr val="bg2"/>
            </a:solidFill>
            <a:ln w="50800">
              <a:solidFill>
                <a:srgbClr val="73B632"/>
              </a:solidFill>
              <a:round/>
              <a:headEnd/>
              <a:tailEnd/>
            </a:ln>
            <a:extLst/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 dirty="0"/>
            </a:p>
          </p:txBody>
        </p:sp>
        <p:pic>
          <p:nvPicPr>
            <p:cNvPr id="19" name="Picture 18">
              <a:extLst>
                <a:ext uri="{FF2B5EF4-FFF2-40B4-BE49-F238E27FC236}">
                  <a16:creationId xmlns="" xmlns:a16="http://schemas.microsoft.com/office/drawing/2014/main" id="{C4859A94-BEBE-481C-8AC1-BF32A4F67B57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778855" y="2007051"/>
              <a:ext cx="591589" cy="591589"/>
            </a:xfrm>
            <a:prstGeom prst="rect">
              <a:avLst/>
            </a:prstGeom>
          </p:spPr>
        </p:pic>
        <p:sp>
          <p:nvSpPr>
            <p:cNvPr id="51" name="Rectangle 50"/>
            <p:cNvSpPr/>
            <p:nvPr/>
          </p:nvSpPr>
          <p:spPr>
            <a:xfrm rot="5400000">
              <a:off x="6530562" y="4246593"/>
              <a:ext cx="3100296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GB" sz="1200" dirty="0">
                  <a:solidFill>
                    <a:schemeClr val="bg1"/>
                  </a:solidFill>
                  <a:cs typeface="Times New Roman" panose="02020603050405020304" pitchFamily="18" charset="0"/>
                </a:rPr>
                <a:t>Energy</a:t>
              </a:r>
            </a:p>
          </p:txBody>
        </p:sp>
      </p:grpSp>
      <p:grpSp>
        <p:nvGrpSpPr>
          <p:cNvPr id="2" name="Group 1">
            <a:extLst>
              <a:ext uri="{FF2B5EF4-FFF2-40B4-BE49-F238E27FC236}">
                <a16:creationId xmlns="" xmlns:a16="http://schemas.microsoft.com/office/drawing/2014/main" id="{173A490E-E850-4919-A2F3-7190E1208BE7}"/>
              </a:ext>
            </a:extLst>
          </p:cNvPr>
          <p:cNvGrpSpPr/>
          <p:nvPr/>
        </p:nvGrpSpPr>
        <p:grpSpPr>
          <a:xfrm>
            <a:off x="6704142" y="2109463"/>
            <a:ext cx="741044" cy="3903980"/>
            <a:chOff x="8938856" y="1809577"/>
            <a:chExt cx="988058" cy="5205307"/>
          </a:xfrm>
        </p:grpSpPr>
        <p:grpSp>
          <p:nvGrpSpPr>
            <p:cNvPr id="65" name="Group 64"/>
            <p:cNvGrpSpPr/>
            <p:nvPr/>
          </p:nvGrpSpPr>
          <p:grpSpPr>
            <a:xfrm>
              <a:off x="8938856" y="1809577"/>
              <a:ext cx="988058" cy="5205307"/>
              <a:chOff x="8938856" y="1809577"/>
              <a:chExt cx="988058" cy="5205307"/>
            </a:xfrm>
          </p:grpSpPr>
          <p:sp>
            <p:nvSpPr>
              <p:cNvPr id="8" name="Rectangle 4"/>
              <p:cNvSpPr>
                <a:spLocks noChangeArrowheads="1"/>
              </p:cNvSpPr>
              <p:nvPr/>
            </p:nvSpPr>
            <p:spPr bwMode="auto">
              <a:xfrm rot="5400000">
                <a:off x="7173049" y="4305323"/>
                <a:ext cx="4519672" cy="899450"/>
              </a:xfrm>
              <a:prstGeom prst="homePlate">
                <a:avLst/>
              </a:prstGeom>
              <a:solidFill>
                <a:schemeClr val="accent4"/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43" name="Oval 16"/>
              <p:cNvSpPr>
                <a:spLocks noChangeArrowheads="1"/>
              </p:cNvSpPr>
              <p:nvPr/>
            </p:nvSpPr>
            <p:spPr bwMode="auto">
              <a:xfrm>
                <a:off x="8938856" y="1809577"/>
                <a:ext cx="988058" cy="988056"/>
              </a:xfrm>
              <a:prstGeom prst="ellipse">
                <a:avLst/>
              </a:prstGeom>
              <a:solidFill>
                <a:schemeClr val="bg2"/>
              </a:solidFill>
              <a:ln w="50800">
                <a:solidFill>
                  <a:srgbClr val="73B632"/>
                </a:solidFill>
                <a:round/>
                <a:headEnd/>
                <a:tailEnd/>
              </a:ln>
              <a:extLst/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 dirty="0"/>
              </a:p>
            </p:txBody>
          </p:sp>
          <p:sp>
            <p:nvSpPr>
              <p:cNvPr id="52" name="Rectangle 51"/>
              <p:cNvSpPr/>
              <p:nvPr/>
            </p:nvSpPr>
            <p:spPr>
              <a:xfrm rot="5400000">
                <a:off x="7897901" y="4246592"/>
                <a:ext cx="3100296" cy="369332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en-GB" sz="1200" dirty="0">
                    <a:solidFill>
                      <a:schemeClr val="bg1"/>
                    </a:solidFill>
                    <a:cs typeface="Times New Roman" panose="02020603050405020304" pitchFamily="18" charset="0"/>
                  </a:rPr>
                  <a:t>Digital Industry</a:t>
                </a:r>
              </a:p>
            </p:txBody>
          </p:sp>
        </p:grpSp>
        <p:pic>
          <p:nvPicPr>
            <p:cNvPr id="21" name="Picture 20">
              <a:extLst>
                <a:ext uri="{FF2B5EF4-FFF2-40B4-BE49-F238E27FC236}">
                  <a16:creationId xmlns="" xmlns:a16="http://schemas.microsoft.com/office/drawing/2014/main" id="{47D502F4-3140-485B-BA10-92A0B05A7399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145104" y="2007051"/>
              <a:ext cx="591589" cy="591589"/>
            </a:xfrm>
            <a:prstGeom prst="rect">
              <a:avLst/>
            </a:prstGeom>
          </p:spPr>
        </p:pic>
      </p:grpSp>
      <p:pic>
        <p:nvPicPr>
          <p:cNvPr id="59" name="Picture 58">
            <a:extLst>
              <a:ext uri="{FF2B5EF4-FFF2-40B4-BE49-F238E27FC236}">
                <a16:creationId xmlns="" xmlns:a16="http://schemas.microsoft.com/office/drawing/2014/main" id="{0F324F5D-4F1F-44EE-8EB0-96353452E101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45584" y="1473554"/>
            <a:ext cx="740844" cy="264024"/>
          </a:xfrm>
          <a:prstGeom prst="rect">
            <a:avLst/>
          </a:prstGeom>
        </p:spPr>
      </p:pic>
      <p:pic>
        <p:nvPicPr>
          <p:cNvPr id="67" name="Picture 66" descr="logo-aeneas-color.png">
            <a:extLst>
              <a:ext uri="{FF2B5EF4-FFF2-40B4-BE49-F238E27FC236}">
                <a16:creationId xmlns="" xmlns:a16="http://schemas.microsoft.com/office/drawing/2014/main" id="{2746A42E-7CE5-4404-9568-D899BB9AEDCF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0863" y="1397912"/>
            <a:ext cx="798749" cy="366389"/>
          </a:xfrm>
          <a:prstGeom prst="rect">
            <a:avLst/>
          </a:prstGeom>
        </p:spPr>
      </p:pic>
      <p:pic>
        <p:nvPicPr>
          <p:cNvPr id="68" name="Picture 67">
            <a:extLst>
              <a:ext uri="{FF2B5EF4-FFF2-40B4-BE49-F238E27FC236}">
                <a16:creationId xmlns="" xmlns:a16="http://schemas.microsoft.com/office/drawing/2014/main" id="{DA3918AA-C0BE-4889-9B74-365BE0FCC6FC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46416" y="1362038"/>
            <a:ext cx="502901" cy="422438"/>
          </a:xfrm>
          <a:prstGeom prst="rect">
            <a:avLst/>
          </a:prstGeom>
        </p:spPr>
      </p:pic>
      <p:grpSp>
        <p:nvGrpSpPr>
          <p:cNvPr id="28" name="Group 27">
            <a:extLst>
              <a:ext uri="{FF2B5EF4-FFF2-40B4-BE49-F238E27FC236}">
                <a16:creationId xmlns="" xmlns:a16="http://schemas.microsoft.com/office/drawing/2014/main" id="{4EF2E418-7490-488B-95A3-E7C5F2A16CB1}"/>
              </a:ext>
            </a:extLst>
          </p:cNvPr>
          <p:cNvGrpSpPr/>
          <p:nvPr/>
        </p:nvGrpSpPr>
        <p:grpSpPr>
          <a:xfrm>
            <a:off x="7720516" y="2111703"/>
            <a:ext cx="741044" cy="3890531"/>
            <a:chOff x="10294021" y="1812565"/>
            <a:chExt cx="988058" cy="5187374"/>
          </a:xfrm>
        </p:grpSpPr>
        <p:sp>
          <p:nvSpPr>
            <p:cNvPr id="9" name="Rectangle 5"/>
            <p:cNvSpPr>
              <a:spLocks noChangeArrowheads="1"/>
            </p:cNvSpPr>
            <p:nvPr/>
          </p:nvSpPr>
          <p:spPr bwMode="auto">
            <a:xfrm rot="5400000">
              <a:off x="8535686" y="4297850"/>
              <a:ext cx="4504729" cy="899450"/>
            </a:xfrm>
            <a:prstGeom prst="homePlate">
              <a:avLst/>
            </a:prstGeom>
            <a:solidFill>
              <a:srgbClr val="73B632"/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44" name="Oval 16"/>
            <p:cNvSpPr>
              <a:spLocks noChangeArrowheads="1"/>
            </p:cNvSpPr>
            <p:nvPr/>
          </p:nvSpPr>
          <p:spPr bwMode="auto">
            <a:xfrm>
              <a:off x="10294021" y="1812565"/>
              <a:ext cx="988058" cy="988056"/>
            </a:xfrm>
            <a:prstGeom prst="ellipse">
              <a:avLst/>
            </a:prstGeom>
            <a:solidFill>
              <a:schemeClr val="bg2"/>
            </a:solidFill>
            <a:ln w="50800">
              <a:solidFill>
                <a:srgbClr val="73B632"/>
              </a:solidFill>
              <a:round/>
              <a:headEnd/>
              <a:tailEnd/>
            </a:ln>
            <a:extLst/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 dirty="0"/>
            </a:p>
          </p:txBody>
        </p:sp>
        <p:sp>
          <p:nvSpPr>
            <p:cNvPr id="53" name="Rectangle 52"/>
            <p:cNvSpPr/>
            <p:nvPr/>
          </p:nvSpPr>
          <p:spPr>
            <a:xfrm rot="5400000">
              <a:off x="9268009" y="4246593"/>
              <a:ext cx="3100296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GB" sz="1200" dirty="0">
                  <a:solidFill>
                    <a:schemeClr val="bg1"/>
                  </a:solidFill>
                  <a:cs typeface="Times New Roman" panose="02020603050405020304" pitchFamily="18" charset="0"/>
                </a:rPr>
                <a:t>Digital Life</a:t>
              </a:r>
            </a:p>
          </p:txBody>
        </p:sp>
        <p:pic>
          <p:nvPicPr>
            <p:cNvPr id="69" name="Picture 68">
              <a:extLst>
                <a:ext uri="{FF2B5EF4-FFF2-40B4-BE49-F238E27FC236}">
                  <a16:creationId xmlns="" xmlns:a16="http://schemas.microsoft.com/office/drawing/2014/main" id="{5158D0E6-A595-4E08-B5A2-79AEA215EB67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478734" y="1986098"/>
              <a:ext cx="618632" cy="61863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53797846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0"/>
                            </p:stCondLst>
                            <p:childTnLst>
                              <p:par>
                                <p:cTn id="8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500"/>
                            </p:stCondLst>
                            <p:childTnLst>
                              <p:par>
                                <p:cTn id="20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1000"/>
                            </p:stCondLst>
                            <p:childTnLst>
                              <p:par>
                                <p:cTn id="24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6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1500"/>
                            </p:stCondLst>
                            <p:childTnLst>
                              <p:par>
                                <p:cTn id="28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0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2000"/>
                            </p:stCondLst>
                            <p:childTnLst>
                              <p:par>
                                <p:cTn id="32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4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2500"/>
                            </p:stCondLst>
                            <p:childTnLst>
                              <p:par>
                                <p:cTn id="36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8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3000"/>
                            </p:stCondLst>
                            <p:childTnLst>
                              <p:par>
                                <p:cTn id="40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2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5" fill="hold">
                            <p:stCondLst>
                              <p:cond delay="3500"/>
                            </p:stCondLst>
                            <p:childTnLst>
                              <p:par>
                                <p:cTn id="46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48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9" fill="hold">
                            <p:stCondLst>
                              <p:cond delay="4000"/>
                            </p:stCondLst>
                            <p:childTnLst>
                              <p:par>
                                <p:cTn id="50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52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3" fill="hold">
                            <p:stCondLst>
                              <p:cond delay="4500"/>
                            </p:stCondLst>
                            <p:childTnLst>
                              <p:par>
                                <p:cTn id="54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56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7" fill="hold">
                            <p:stCondLst>
                              <p:cond delay="5000"/>
                            </p:stCondLst>
                            <p:childTnLst>
                              <p:par>
                                <p:cTn id="58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60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1" fill="hold">
                            <p:stCondLst>
                              <p:cond delay="5500"/>
                            </p:stCondLst>
                            <p:childTnLst>
                              <p:par>
                                <p:cTn id="62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64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5" grpId="0"/>
      <p:bldP spid="26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oneTexte 2"/>
          <p:cNvSpPr txBox="1"/>
          <p:nvPr/>
        </p:nvSpPr>
        <p:spPr>
          <a:xfrm>
            <a:off x="2520280" y="4149080"/>
            <a:ext cx="6372200" cy="7694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en-GB" sz="4400" b="1" spc="50" dirty="0" smtClean="0">
                <a:solidFill>
                  <a:prstClr val="white"/>
                </a:solidFill>
                <a:latin typeface="Arial" pitchFamily="34" charset="0"/>
                <a:ea typeface="Tahoma" pitchFamily="34" charset="0"/>
                <a:cs typeface="Arial" pitchFamily="34" charset="0"/>
              </a:rPr>
              <a:t>2. </a:t>
            </a:r>
            <a:r>
              <a:rPr lang="en-GB" sz="4400" b="1" spc="50" dirty="0" smtClean="0">
                <a:solidFill>
                  <a:prstClr val="white"/>
                </a:solidFill>
                <a:latin typeface="Arial" pitchFamily="34" charset="0"/>
                <a:ea typeface="Tahoma" pitchFamily="34" charset="0"/>
                <a:cs typeface="Arial" pitchFamily="34" charset="0"/>
              </a:rPr>
              <a:t>International Board</a:t>
            </a:r>
            <a:endParaRPr lang="en-GB" sz="4400" b="1" spc="50" dirty="0">
              <a:solidFill>
                <a:prstClr val="white"/>
              </a:solidFill>
              <a:latin typeface="Arial" pitchFamily="34" charset="0"/>
              <a:ea typeface="Tahoma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99777141"/>
      </p:ext>
    </p:extLst>
  </p:cSld>
  <p:clrMapOvr>
    <a:masterClrMapping/>
  </p:clrMapOvr>
  <p:transition spd="slow">
    <p:pull dir="r"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Titre 6"/>
          <p:cNvSpPr txBox="1">
            <a:spLocks/>
          </p:cNvSpPr>
          <p:nvPr/>
        </p:nvSpPr>
        <p:spPr>
          <a:xfrm>
            <a:off x="1359784" y="457476"/>
            <a:ext cx="6681903" cy="571500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bg1"/>
                </a:solidFill>
                <a:latin typeface="Arial" pitchFamily="34" charset="0"/>
                <a:ea typeface="Tahoma" pitchFamily="34" charset="0"/>
                <a:cs typeface="Arial" pitchFamily="34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bg1"/>
                </a:solidFill>
                <a:latin typeface="Arial" charset="0"/>
                <a:ea typeface="Tahoma" pitchFamily="34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bg1"/>
                </a:solidFill>
                <a:latin typeface="Arial" charset="0"/>
                <a:ea typeface="Tahoma" pitchFamily="34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bg1"/>
                </a:solidFill>
                <a:latin typeface="Arial" charset="0"/>
                <a:ea typeface="Tahoma" pitchFamily="34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bg1"/>
                </a:solidFill>
                <a:latin typeface="Arial" charset="0"/>
                <a:ea typeface="Tahoma" pitchFamily="34" charset="0"/>
                <a:cs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chemeClr val="bg1"/>
                </a:solidFill>
                <a:latin typeface="Arial" charset="0"/>
                <a:ea typeface="Tahoma" pitchFamily="34" charset="0"/>
                <a:cs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chemeClr val="bg1"/>
                </a:solidFill>
                <a:latin typeface="Arial" charset="0"/>
                <a:ea typeface="Tahoma" pitchFamily="34" charset="0"/>
                <a:cs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chemeClr val="bg1"/>
                </a:solidFill>
                <a:latin typeface="Arial" charset="0"/>
                <a:ea typeface="Tahoma" pitchFamily="34" charset="0"/>
                <a:cs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chemeClr val="bg1"/>
                </a:solidFill>
                <a:latin typeface="Arial" charset="0"/>
                <a:ea typeface="Tahoma" pitchFamily="34" charset="0"/>
                <a:cs typeface="Arial" charset="0"/>
              </a:defRPr>
            </a:lvl9pPr>
          </a:lstStyle>
          <a:p>
            <a:pPr eaLnBrk="1" hangingPunct="1"/>
            <a:r>
              <a:rPr lang="en-GB" sz="3600" b="1" dirty="0" smtClean="0">
                <a:solidFill>
                  <a:prstClr val="white"/>
                </a:solidFill>
                <a:latin typeface="Arial" charset="0"/>
                <a:cs typeface="Arial" charset="0"/>
              </a:rPr>
              <a:t>From Canada to South Korea</a:t>
            </a:r>
          </a:p>
        </p:txBody>
      </p:sp>
      <p:pic>
        <p:nvPicPr>
          <p:cNvPr id="4" name="Image 3" descr="C:\Users\MOLLY\Dropbox\Projet Web Euripides\Logos &amp; Images\Logos &amp; Images Membres Council\Photos Membres\AT&amp;S_Heinz MOITZI.jpg"/>
          <p:cNvPicPr/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635896" y="1579336"/>
            <a:ext cx="561340" cy="688340"/>
          </a:xfrm>
          <a:prstGeom prst="rect">
            <a:avLst/>
          </a:prstGeom>
          <a:noFill/>
          <a:ln>
            <a:noFill/>
          </a:ln>
        </p:spPr>
      </p:pic>
      <p:pic>
        <p:nvPicPr>
          <p:cNvPr id="5" name="Image 4" descr="C:\Users\MOLLY\Dropbox\Projet Web Euripides\Logos &amp; Images\Logos &amp; Images Membres Council\Photos Membres\BIC-OSTRAVA_Marek Valdmann.jpg"/>
          <p:cNvPicPr/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730337" y="1595600"/>
            <a:ext cx="542290" cy="664845"/>
          </a:xfrm>
          <a:prstGeom prst="rect">
            <a:avLst/>
          </a:prstGeom>
          <a:noFill/>
          <a:ln>
            <a:noFill/>
          </a:ln>
        </p:spPr>
      </p:pic>
      <p:pic>
        <p:nvPicPr>
          <p:cNvPr id="6" name="Image 5" descr="C:\Users\MOLLY\Dropbox\Projet Web Euripides\Logos &amp; Images\Logos &amp; Images Membres Council\Photos Membres\CSEM_Andre PERRET.jpg"/>
          <p:cNvPicPr/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67544" y="2884676"/>
            <a:ext cx="571500" cy="688340"/>
          </a:xfrm>
          <a:prstGeom prst="rect">
            <a:avLst/>
          </a:prstGeom>
          <a:noFill/>
          <a:ln>
            <a:noFill/>
          </a:ln>
        </p:spPr>
      </p:pic>
      <p:pic>
        <p:nvPicPr>
          <p:cNvPr id="8" name="Image 7" descr="C:\Users\MOLLY\Dropbox\Projet Web Euripides\Logos &amp; Images\Logos &amp; Images Membres Council\Photos Membres\INFINEON_Klaus PRESSEL.jpg"/>
          <p:cNvPicPr/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748061" y="2924944"/>
            <a:ext cx="570865" cy="699770"/>
          </a:xfrm>
          <a:prstGeom prst="rect">
            <a:avLst/>
          </a:prstGeom>
          <a:noFill/>
          <a:ln>
            <a:noFill/>
          </a:ln>
        </p:spPr>
      </p:pic>
      <p:pic>
        <p:nvPicPr>
          <p:cNvPr id="12" name="Image 11" descr="C:\Users\MOLLY\Dropbox\Projet Web Euripides\Logos &amp; Images\Logos &amp; Images Membres Council\Photos Membres\RADIALL_julien legrand.jpg"/>
          <p:cNvPicPr/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515899" y="4174470"/>
            <a:ext cx="565150" cy="694690"/>
          </a:xfrm>
          <a:prstGeom prst="rect">
            <a:avLst/>
          </a:prstGeom>
          <a:noFill/>
          <a:ln>
            <a:noFill/>
          </a:ln>
        </p:spPr>
      </p:pic>
      <p:pic>
        <p:nvPicPr>
          <p:cNvPr id="14" name="Image 13" descr="C:\Users\MOLLY\Dropbox\Projet Web Euripides\Logos &amp; Images\Logos &amp; Images Membres Council\Photos Membres\THALES_Kertesz Philippe.jpg"/>
          <p:cNvPicPr/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732240" y="4196060"/>
            <a:ext cx="545465" cy="6731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5" name="Image 14" descr="C:\Users\MOLLY\Dropbox\Projet Web Euripides\Logos &amp; Images\Logos &amp; Images Membres Council\Photos Membres\Vermon_An NGUYEN DINH.jpg"/>
          <p:cNvPicPr/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53965" y="5477876"/>
            <a:ext cx="546100" cy="662940"/>
          </a:xfrm>
          <a:prstGeom prst="rect">
            <a:avLst/>
          </a:prstGeom>
          <a:noFill/>
          <a:ln>
            <a:noFill/>
          </a:ln>
        </p:spPr>
      </p:pic>
      <p:pic>
        <p:nvPicPr>
          <p:cNvPr id="16" name="Image 15" descr="C:\Users\MOLLY\Dropbox\Projet Web Euripides\Logos &amp; Images\Logos &amp; Images Membres Council\Photos Membres\TEC only\jyrki_kiihamaki.jpg"/>
          <p:cNvPicPr/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440660" y="5445224"/>
            <a:ext cx="571500" cy="672465"/>
          </a:xfrm>
          <a:prstGeom prst="rect">
            <a:avLst/>
          </a:prstGeom>
          <a:noFill/>
          <a:ln>
            <a:noFill/>
          </a:ln>
        </p:spPr>
      </p:pic>
      <p:pic>
        <p:nvPicPr>
          <p:cNvPr id="22" name="Image 21" descr="C:\Users\MOLLY\Dropbox\Projet Web Euripides\Logos &amp; Images\Logos &amp; Images Membres Council\NOVAPACK logo.gif"/>
          <p:cNvPicPr/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323628" y="3940165"/>
            <a:ext cx="923925" cy="208915"/>
          </a:xfrm>
          <a:prstGeom prst="rect">
            <a:avLst/>
          </a:prstGeom>
          <a:noFill/>
          <a:ln>
            <a:noFill/>
          </a:ln>
        </p:spPr>
      </p:pic>
      <p:sp>
        <p:nvSpPr>
          <p:cNvPr id="39" name="ZoneTexte 20"/>
          <p:cNvSpPr txBox="1"/>
          <p:nvPr/>
        </p:nvSpPr>
        <p:spPr>
          <a:xfrm>
            <a:off x="323528" y="2276872"/>
            <a:ext cx="8640960" cy="15759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fr-FR" sz="800" dirty="0" smtClean="0">
                <a:solidFill>
                  <a:srgbClr val="002060"/>
                </a:solidFill>
                <a:latin typeface="Arial"/>
                <a:ea typeface="Times New Roman"/>
              </a:rPr>
              <a:t>  Ken </a:t>
            </a:r>
            <a:r>
              <a:rPr lang="fr-FR" sz="800" dirty="0">
                <a:solidFill>
                  <a:srgbClr val="002060"/>
                </a:solidFill>
                <a:latin typeface="Arial"/>
                <a:ea typeface="Times New Roman"/>
              </a:rPr>
              <a:t>Brizel </a:t>
            </a:r>
            <a:r>
              <a:rPr lang="fr-FR" sz="800" dirty="0" smtClean="0">
                <a:solidFill>
                  <a:srgbClr val="002060"/>
                </a:solidFill>
                <a:latin typeface="Arial"/>
                <a:ea typeface="Times New Roman"/>
              </a:rPr>
              <a:t>	       Michael </a:t>
            </a:r>
            <a:r>
              <a:rPr lang="fr-FR" sz="800" dirty="0">
                <a:solidFill>
                  <a:srgbClr val="002060"/>
                </a:solidFill>
                <a:latin typeface="Arial"/>
                <a:ea typeface="Times New Roman"/>
              </a:rPr>
              <a:t>Salter	</a:t>
            </a:r>
            <a:r>
              <a:rPr lang="fr-FR" sz="800" dirty="0" smtClean="0">
                <a:solidFill>
                  <a:srgbClr val="002060"/>
                </a:solidFill>
                <a:latin typeface="Arial"/>
                <a:ea typeface="Times New Roman"/>
              </a:rPr>
              <a:t>            Hervé Mokrani                Heinz Moitzi             Marek Valdmann          Normand Bourbonnais</a:t>
            </a:r>
            <a:r>
              <a:rPr lang="fr-FR" sz="700" dirty="0" smtClean="0">
                <a:solidFill>
                  <a:srgbClr val="002060"/>
                </a:solidFill>
                <a:latin typeface="Arial"/>
                <a:ea typeface="Times New Roman"/>
              </a:rPr>
              <a:t>          Bernard </a:t>
            </a:r>
            <a:r>
              <a:rPr lang="fr-FR" sz="700" dirty="0" err="1" smtClean="0">
                <a:solidFill>
                  <a:srgbClr val="002060"/>
                </a:solidFill>
                <a:latin typeface="Arial"/>
                <a:ea typeface="Times New Roman"/>
              </a:rPr>
              <a:t>Stree</a:t>
            </a:r>
            <a:r>
              <a:rPr lang="fr-FR" sz="700" dirty="0" smtClean="0">
                <a:solidFill>
                  <a:srgbClr val="002060"/>
                </a:solidFill>
                <a:latin typeface="Arial"/>
                <a:ea typeface="Times New Roman"/>
              </a:rPr>
              <a:t>  </a:t>
            </a:r>
            <a:r>
              <a:rPr lang="fr-FR" sz="800" dirty="0" smtClean="0">
                <a:solidFill>
                  <a:srgbClr val="002060"/>
                </a:solidFill>
                <a:latin typeface="Arial"/>
                <a:ea typeface="Times New Roman"/>
              </a:rPr>
              <a:t>               Jochen Langheim          	 </a:t>
            </a:r>
            <a:endParaRPr lang="fr-FR" sz="800" dirty="0">
              <a:solidFill>
                <a:srgbClr val="002060"/>
              </a:solidFill>
              <a:latin typeface="Arial"/>
              <a:ea typeface="Times New Roman"/>
            </a:endParaRPr>
          </a:p>
        </p:txBody>
      </p:sp>
      <p:sp>
        <p:nvSpPr>
          <p:cNvPr id="40" name="ZoneTexte 20"/>
          <p:cNvSpPr txBox="1"/>
          <p:nvPr/>
        </p:nvSpPr>
        <p:spPr>
          <a:xfrm>
            <a:off x="1323628" y="3594070"/>
            <a:ext cx="7640860" cy="171249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es-ES" sz="800" dirty="0" smtClean="0">
                <a:solidFill>
                  <a:srgbClr val="002060"/>
                </a:solidFill>
                <a:latin typeface="Arial"/>
                <a:ea typeface="Times New Roman"/>
              </a:rPr>
              <a:t>Stefan </a:t>
            </a:r>
            <a:r>
              <a:rPr lang="es-ES" sz="800" dirty="0" err="1" smtClean="0">
                <a:solidFill>
                  <a:srgbClr val="002060"/>
                </a:solidFill>
                <a:latin typeface="Arial"/>
                <a:ea typeface="Times New Roman"/>
              </a:rPr>
              <a:t>Finkbeiner</a:t>
            </a:r>
            <a:r>
              <a:rPr lang="es-ES" sz="800" dirty="0" smtClean="0">
                <a:solidFill>
                  <a:srgbClr val="002060"/>
                </a:solidFill>
                <a:latin typeface="Arial"/>
                <a:ea typeface="Times New Roman"/>
              </a:rPr>
              <a:t>            Hoyoung Hwang            Johan de Baets</a:t>
            </a:r>
            <a:r>
              <a:rPr lang="fr-FR" sz="800" dirty="0" smtClean="0">
                <a:solidFill>
                  <a:srgbClr val="002060"/>
                </a:solidFill>
                <a:latin typeface="Arial"/>
                <a:ea typeface="Times New Roman"/>
              </a:rPr>
              <a:t>            Klaus Pressel</a:t>
            </a:r>
            <a:r>
              <a:rPr lang="fr-FR" sz="800" dirty="0">
                <a:solidFill>
                  <a:srgbClr val="002060"/>
                </a:solidFill>
                <a:latin typeface="Arial"/>
                <a:ea typeface="Times New Roman"/>
              </a:rPr>
              <a:t> </a:t>
            </a:r>
            <a:r>
              <a:rPr lang="fr-FR" sz="800" dirty="0" smtClean="0">
                <a:solidFill>
                  <a:srgbClr val="002060"/>
                </a:solidFill>
                <a:latin typeface="Arial"/>
                <a:ea typeface="Times New Roman"/>
              </a:rPr>
              <a:t>                   Klaus-Dieter Lang          Burak Aydin                  Ansi Korhonen</a:t>
            </a:r>
            <a:endParaRPr lang="fr-FR" sz="1200" dirty="0">
              <a:solidFill>
                <a:prstClr val="black"/>
              </a:solidFill>
              <a:latin typeface="Times New Roman"/>
              <a:ea typeface="Times New Roman"/>
            </a:endParaRPr>
          </a:p>
        </p:txBody>
      </p:sp>
      <p:sp>
        <p:nvSpPr>
          <p:cNvPr id="41" name="ZoneTexte 20"/>
          <p:cNvSpPr txBox="1"/>
          <p:nvPr/>
        </p:nvSpPr>
        <p:spPr>
          <a:xfrm>
            <a:off x="1403648" y="4869160"/>
            <a:ext cx="6300192" cy="136781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fr-FR" sz="800" dirty="0" smtClean="0">
                <a:solidFill>
                  <a:srgbClr val="002060"/>
                </a:solidFill>
                <a:latin typeface="Arial"/>
                <a:ea typeface="Times New Roman"/>
              </a:rPr>
              <a:t>Jean-Luc Diot           Julien legrand                  David Hania                     Cem Ulger                 Gilles </a:t>
            </a:r>
            <a:r>
              <a:rPr lang="fr-FR" sz="800" dirty="0">
                <a:solidFill>
                  <a:srgbClr val="002060"/>
                </a:solidFill>
                <a:latin typeface="Arial"/>
                <a:ea typeface="Times New Roman"/>
              </a:rPr>
              <a:t>P</a:t>
            </a:r>
            <a:r>
              <a:rPr lang="fr-FR" sz="800" dirty="0" smtClean="0">
                <a:solidFill>
                  <a:srgbClr val="002060"/>
                </a:solidFill>
                <a:latin typeface="Arial"/>
                <a:ea typeface="Times New Roman"/>
              </a:rPr>
              <a:t>radel             Philippe </a:t>
            </a:r>
            <a:r>
              <a:rPr lang="fr-FR" sz="800" dirty="0">
                <a:solidFill>
                  <a:srgbClr val="002060"/>
                </a:solidFill>
                <a:latin typeface="Arial"/>
                <a:ea typeface="Times New Roman"/>
              </a:rPr>
              <a:t>Kertesz </a:t>
            </a:r>
            <a:endParaRPr lang="fr-FR" sz="1200" dirty="0">
              <a:solidFill>
                <a:prstClr val="black"/>
              </a:solidFill>
              <a:latin typeface="Times New Roman"/>
              <a:ea typeface="Times New Roman"/>
            </a:endParaRPr>
          </a:p>
        </p:txBody>
      </p:sp>
      <p:pic>
        <p:nvPicPr>
          <p:cNvPr id="43" name="Image 42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2582622" y="2564904"/>
            <a:ext cx="620078" cy="239115"/>
          </a:xfrm>
          <a:prstGeom prst="rect">
            <a:avLst/>
          </a:prstGeom>
        </p:spPr>
      </p:pic>
      <p:pic>
        <p:nvPicPr>
          <p:cNvPr id="44" name="Image 43"/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82622" y="2905315"/>
            <a:ext cx="588094" cy="701115"/>
          </a:xfrm>
          <a:prstGeom prst="rect">
            <a:avLst/>
          </a:prstGeom>
        </p:spPr>
      </p:pic>
      <p:pic>
        <p:nvPicPr>
          <p:cNvPr id="70" name="Image 69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3528" y="1268760"/>
            <a:ext cx="855160" cy="201376"/>
          </a:xfrm>
          <a:prstGeom prst="rect">
            <a:avLst/>
          </a:prstGeom>
        </p:spPr>
      </p:pic>
      <p:pic>
        <p:nvPicPr>
          <p:cNvPr id="46" name="Image 45"/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448456" y="1587411"/>
            <a:ext cx="542591" cy="676715"/>
          </a:xfrm>
          <a:prstGeom prst="rect">
            <a:avLst/>
          </a:prstGeom>
        </p:spPr>
      </p:pic>
      <p:pic>
        <p:nvPicPr>
          <p:cNvPr id="37" name="Image 36"/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35497" y="1597694"/>
            <a:ext cx="552801" cy="677963"/>
          </a:xfrm>
          <a:prstGeom prst="rect">
            <a:avLst/>
          </a:prstGeom>
        </p:spPr>
      </p:pic>
      <p:pic>
        <p:nvPicPr>
          <p:cNvPr id="47" name="Image 46"/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24128" y="1268760"/>
            <a:ext cx="677635" cy="265842"/>
          </a:xfrm>
          <a:prstGeom prst="rect">
            <a:avLst/>
          </a:prstGeom>
        </p:spPr>
      </p:pic>
      <p:pic>
        <p:nvPicPr>
          <p:cNvPr id="61" name="Picture 4" descr="C:\Users\RENAUDIN\Pictures\Drapeaux\225px-Flag_of_Austria.svg.png"/>
          <p:cNvPicPr/>
          <p:nvPr/>
        </p:nvPicPr>
        <p:blipFill>
          <a:blip r:embed="rId1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494113" y="2293466"/>
            <a:ext cx="162029" cy="120501"/>
          </a:xfrm>
          <a:prstGeom prst="rect">
            <a:avLst/>
          </a:prstGeom>
          <a:noFill/>
          <a:extLst/>
        </p:spPr>
      </p:pic>
      <p:pic>
        <p:nvPicPr>
          <p:cNvPr id="62" name="Picture 3" descr="C:\Users\RENAUDIN\Pictures\Drapeaux\225px-Flag_of_Sweden.svg.png"/>
          <p:cNvPicPr/>
          <p:nvPr/>
        </p:nvPicPr>
        <p:blipFill>
          <a:blip r:embed="rId1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302415" y="2307474"/>
            <a:ext cx="173241" cy="1134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4" name="Picture 5" descr="C:\Users\RENAUDIN\Pictures\Drapeaux\225px-Flag_of_the_Czech_Republic.svg.png"/>
          <p:cNvPicPr/>
          <p:nvPr/>
        </p:nvPicPr>
        <p:blipFill>
          <a:blip r:embed="rId2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434158" y="2304696"/>
            <a:ext cx="172160" cy="1161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7" name="Picture 8" descr="C:\Users\RENAUDIN\Pictures\Drapeaux\225px-Flag_of_Germany.svg.png"/>
          <p:cNvPicPr/>
          <p:nvPr/>
        </p:nvPicPr>
        <p:blipFill>
          <a:blip r:embed="rId2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04991" y="3645024"/>
            <a:ext cx="172160" cy="1161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8" name="Picture 11" descr="http://cdn1.drapazur.com/21-thickbox/drapeau-belgique-100150-cm.jpg"/>
          <p:cNvPicPr/>
          <p:nvPr/>
        </p:nvPicPr>
        <p:blipFill rotWithShape="1">
          <a:blip r:embed="rId2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9692" t="23653" r="9991" b="24765"/>
          <a:stretch/>
        </p:blipFill>
        <p:spPr bwMode="auto">
          <a:xfrm>
            <a:off x="3424871" y="3645024"/>
            <a:ext cx="192490" cy="114684"/>
          </a:xfrm>
          <a:prstGeom prst="rect">
            <a:avLst/>
          </a:prstGeom>
          <a:noFill/>
          <a:extLst/>
        </p:spPr>
      </p:pic>
      <p:pic>
        <p:nvPicPr>
          <p:cNvPr id="69" name="Picture 13" descr="http://ecx.images-amazon.com/images/I/61UzZMvXzDL.gif"/>
          <p:cNvPicPr/>
          <p:nvPr/>
        </p:nvPicPr>
        <p:blipFill rotWithShape="1">
          <a:blip r:embed="rId2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8270" t="9693" r="13751" b="13029"/>
          <a:stretch/>
        </p:blipFill>
        <p:spPr bwMode="auto">
          <a:xfrm>
            <a:off x="237448" y="3645024"/>
            <a:ext cx="172160" cy="1159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3" name="Image 82"/>
          <p:cNvPicPr/>
          <p:nvPr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72895" y="3645024"/>
            <a:ext cx="170862" cy="116408"/>
          </a:xfrm>
          <a:prstGeom prst="rect">
            <a:avLst/>
          </a:prstGeom>
        </p:spPr>
      </p:pic>
      <p:pic>
        <p:nvPicPr>
          <p:cNvPr id="84" name="Image 83"/>
          <p:cNvPicPr/>
          <p:nvPr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1520" y="2348880"/>
            <a:ext cx="191233" cy="114684"/>
          </a:xfrm>
          <a:prstGeom prst="rect">
            <a:avLst/>
          </a:prstGeom>
        </p:spPr>
      </p:pic>
      <p:pic>
        <p:nvPicPr>
          <p:cNvPr id="85" name="Image 84"/>
          <p:cNvPicPr/>
          <p:nvPr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70414" y="2318777"/>
            <a:ext cx="191233" cy="114684"/>
          </a:xfrm>
          <a:prstGeom prst="rect">
            <a:avLst/>
          </a:prstGeom>
        </p:spPr>
      </p:pic>
      <p:pic>
        <p:nvPicPr>
          <p:cNvPr id="86" name="Picture 6" descr="C:\Users\RENAUDIN\Pictures\Drapeaux\225px-Flag_of_France.svg.png"/>
          <p:cNvPicPr/>
          <p:nvPr/>
        </p:nvPicPr>
        <p:blipFill>
          <a:blip r:embed="rId2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776104" y="2311873"/>
            <a:ext cx="172160" cy="1161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7" name="Picture 6" descr="C:\Users\RENAUDIN\Pictures\Drapeaux\225px-Flag_of_France.svg.png"/>
          <p:cNvPicPr/>
          <p:nvPr/>
        </p:nvPicPr>
        <p:blipFill>
          <a:blip r:embed="rId2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385362" y="4906955"/>
            <a:ext cx="172160" cy="1161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8" name="Picture 6" descr="C:\Users\RENAUDIN\Pictures\Drapeaux\225px-Flag_of_France.svg.png"/>
          <p:cNvPicPr/>
          <p:nvPr/>
        </p:nvPicPr>
        <p:blipFill>
          <a:blip r:embed="rId2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508104" y="4910693"/>
            <a:ext cx="172160" cy="1161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9" name="Picture 6" descr="C:\Users\RENAUDIN\Pictures\Drapeaux\225px-Flag_of_France.svg.png"/>
          <p:cNvPicPr/>
          <p:nvPr/>
        </p:nvPicPr>
        <p:blipFill>
          <a:blip r:embed="rId2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255565" y="4913032"/>
            <a:ext cx="172160" cy="1161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2" name="Picture 6" descr="C:\Users\RENAUDIN\Pictures\Drapeaux\225px-Flag_of_France.svg.png"/>
          <p:cNvPicPr/>
          <p:nvPr/>
        </p:nvPicPr>
        <p:blipFill>
          <a:blip r:embed="rId2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297082" y="4912514"/>
            <a:ext cx="172160" cy="1161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5" name="Picture 8" descr="C:\Users\RENAUDIN\Pictures\Drapeaux\225px-Flag_of_Germany.svg.png"/>
          <p:cNvPicPr/>
          <p:nvPr/>
        </p:nvPicPr>
        <p:blipFill>
          <a:blip r:embed="rId2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662318" y="3645024"/>
            <a:ext cx="172160" cy="1161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6" name="Picture 2"/>
          <p:cNvPicPr>
            <a:picLocks noChangeAspect="1" noChangeArrowheads="1"/>
          </p:cNvPicPr>
          <p:nvPr/>
        </p:nvPicPr>
        <p:blipFill rotWithShape="1"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961" r="12314"/>
          <a:stretch/>
        </p:blipFill>
        <p:spPr bwMode="auto">
          <a:xfrm>
            <a:off x="4761028" y="4180448"/>
            <a:ext cx="528416" cy="6887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0" name="Image 49"/>
          <p:cNvPicPr>
            <a:picLocks noChangeAspect="1"/>
          </p:cNvPicPr>
          <p:nvPr/>
        </p:nvPicPr>
        <p:blipFill rotWithShape="1">
          <a:blip r:embed="rId2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96" t="16417" r="4640" b="12428"/>
          <a:stretch/>
        </p:blipFill>
        <p:spPr>
          <a:xfrm>
            <a:off x="4583268" y="3878001"/>
            <a:ext cx="862044" cy="217030"/>
          </a:xfrm>
          <a:prstGeom prst="rect">
            <a:avLst/>
          </a:prstGeom>
        </p:spPr>
      </p:pic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48354" y="4915937"/>
            <a:ext cx="171450" cy="115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2" name="Image 81"/>
          <p:cNvPicPr>
            <a:picLocks noChangeAspect="1"/>
          </p:cNvPicPr>
          <p:nvPr/>
        </p:nvPicPr>
        <p:blipFill>
          <a:blip r:embed="rId3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56254" y="1268760"/>
            <a:ext cx="806087" cy="233901"/>
          </a:xfrm>
          <a:prstGeom prst="rect">
            <a:avLst/>
          </a:prstGeom>
        </p:spPr>
      </p:pic>
      <p:pic>
        <p:nvPicPr>
          <p:cNvPr id="90" name="Image 89"/>
          <p:cNvPicPr>
            <a:picLocks noChangeAspect="1"/>
          </p:cNvPicPr>
          <p:nvPr/>
        </p:nvPicPr>
        <p:blipFill>
          <a:blip r:embed="rId3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35896" y="1268760"/>
            <a:ext cx="613608" cy="245443"/>
          </a:xfrm>
          <a:prstGeom prst="rect">
            <a:avLst/>
          </a:prstGeom>
        </p:spPr>
      </p:pic>
      <p:pic>
        <p:nvPicPr>
          <p:cNvPr id="96" name="Image 95"/>
          <p:cNvPicPr>
            <a:picLocks noChangeAspect="1"/>
          </p:cNvPicPr>
          <p:nvPr/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86321" y="1268760"/>
            <a:ext cx="875991" cy="211207"/>
          </a:xfrm>
          <a:prstGeom prst="rect">
            <a:avLst/>
          </a:prstGeom>
        </p:spPr>
      </p:pic>
      <p:pic>
        <p:nvPicPr>
          <p:cNvPr id="98" name="Image 97"/>
          <p:cNvPicPr>
            <a:picLocks noChangeAspect="1"/>
          </p:cNvPicPr>
          <p:nvPr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1520" y="2564904"/>
            <a:ext cx="933431" cy="210323"/>
          </a:xfrm>
          <a:prstGeom prst="rect">
            <a:avLst/>
          </a:prstGeom>
        </p:spPr>
      </p:pic>
      <p:pic>
        <p:nvPicPr>
          <p:cNvPr id="101" name="Image 100" descr="C:\Users\MOLLY\Dropbox\Projet Web Euripides\Logos &amp; Images\Logos &amp; Images Membres Council\Infineon logo.gif"/>
          <p:cNvPicPr/>
          <p:nvPr/>
        </p:nvPicPr>
        <p:blipFill>
          <a:blip r:embed="rId3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634079" y="2558266"/>
            <a:ext cx="684847" cy="294670"/>
          </a:xfrm>
          <a:prstGeom prst="rect">
            <a:avLst/>
          </a:prstGeom>
          <a:noFill/>
          <a:ln>
            <a:noFill/>
          </a:ln>
        </p:spPr>
      </p:pic>
      <p:pic>
        <p:nvPicPr>
          <p:cNvPr id="104" name="Image 103"/>
          <p:cNvPicPr>
            <a:picLocks noChangeAspect="1"/>
          </p:cNvPicPr>
          <p:nvPr/>
        </p:nvPicPr>
        <p:blipFill>
          <a:blip r:embed="rId3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78966" y="2624645"/>
            <a:ext cx="835545" cy="228291"/>
          </a:xfrm>
          <a:prstGeom prst="rect">
            <a:avLst/>
          </a:prstGeom>
        </p:spPr>
      </p:pic>
      <p:pic>
        <p:nvPicPr>
          <p:cNvPr id="106" name="Image 105"/>
          <p:cNvPicPr>
            <a:picLocks noChangeAspect="1"/>
          </p:cNvPicPr>
          <p:nvPr/>
        </p:nvPicPr>
        <p:blipFill rotWithShape="1"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039" t="15736" r="7037" b="14426"/>
          <a:stretch/>
        </p:blipFill>
        <p:spPr>
          <a:xfrm>
            <a:off x="2504985" y="3918172"/>
            <a:ext cx="769029" cy="230908"/>
          </a:xfrm>
          <a:prstGeom prst="rect">
            <a:avLst/>
          </a:prstGeom>
        </p:spPr>
      </p:pic>
      <p:pic>
        <p:nvPicPr>
          <p:cNvPr id="112" name="Image 111"/>
          <p:cNvPicPr>
            <a:picLocks noChangeAspect="1"/>
          </p:cNvPicPr>
          <p:nvPr/>
        </p:nvPicPr>
        <p:blipFill>
          <a:blip r:embed="rId3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76528" y="4177590"/>
            <a:ext cx="563895" cy="691570"/>
          </a:xfrm>
          <a:prstGeom prst="rect">
            <a:avLst/>
          </a:prstGeom>
        </p:spPr>
      </p:pic>
      <p:sp>
        <p:nvSpPr>
          <p:cNvPr id="2" name="Rectangle 1"/>
          <p:cNvSpPr/>
          <p:nvPr/>
        </p:nvSpPr>
        <p:spPr>
          <a:xfrm>
            <a:off x="366226" y="3600416"/>
            <a:ext cx="769763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sz="800" dirty="0">
                <a:solidFill>
                  <a:srgbClr val="002060"/>
                </a:solidFill>
                <a:latin typeface="Arial"/>
                <a:ea typeface="Times New Roman"/>
              </a:rPr>
              <a:t>André Perret</a:t>
            </a:r>
            <a:endParaRPr lang="fr-FR" dirty="0"/>
          </a:p>
        </p:txBody>
      </p:sp>
      <p:pic>
        <p:nvPicPr>
          <p:cNvPr id="71" name="Image 70"/>
          <p:cNvPicPr>
            <a:picLocks noChangeAspect="1"/>
          </p:cNvPicPr>
          <p:nvPr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24331" y="2492896"/>
            <a:ext cx="765795" cy="347001"/>
          </a:xfrm>
          <a:prstGeom prst="rect">
            <a:avLst/>
          </a:prstGeom>
        </p:spPr>
      </p:pic>
      <p:pic>
        <p:nvPicPr>
          <p:cNvPr id="72" name="Image 71"/>
          <p:cNvPicPr>
            <a:picLocks noChangeAspect="1"/>
          </p:cNvPicPr>
          <p:nvPr/>
        </p:nvPicPr>
        <p:blipFill rotWithShape="1">
          <a:blip r:embed="rId3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073" b="14079"/>
          <a:stretch/>
        </p:blipFill>
        <p:spPr>
          <a:xfrm>
            <a:off x="7994372" y="2852936"/>
            <a:ext cx="607100" cy="720080"/>
          </a:xfrm>
          <a:prstGeom prst="rect">
            <a:avLst/>
          </a:prstGeom>
        </p:spPr>
      </p:pic>
      <p:pic>
        <p:nvPicPr>
          <p:cNvPr id="73" name="Picture 14" descr="C:\Users\RENAUDIN\Pictures\Drapeaux\225px-Flag_of_Finland.svg.png"/>
          <p:cNvPicPr/>
          <p:nvPr/>
        </p:nvPicPr>
        <p:blipFill>
          <a:blip r:embed="rId4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838251" y="3636827"/>
            <a:ext cx="172160" cy="1159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4" name="Image 73"/>
          <p:cNvPicPr>
            <a:picLocks noChangeAspect="1"/>
          </p:cNvPicPr>
          <p:nvPr/>
        </p:nvPicPr>
        <p:blipFill>
          <a:blip r:embed="rId41"/>
          <a:stretch>
            <a:fillRect/>
          </a:stretch>
        </p:blipFill>
        <p:spPr>
          <a:xfrm>
            <a:off x="5724128" y="3933056"/>
            <a:ext cx="664874" cy="187374"/>
          </a:xfrm>
          <a:prstGeom prst="rect">
            <a:avLst/>
          </a:prstGeom>
        </p:spPr>
      </p:pic>
      <p:pic>
        <p:nvPicPr>
          <p:cNvPr id="76" name="Image 75"/>
          <p:cNvPicPr>
            <a:picLocks noChangeAspect="1"/>
          </p:cNvPicPr>
          <p:nvPr/>
        </p:nvPicPr>
        <p:blipFill>
          <a:blip r:embed="rId4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94905" y="2575318"/>
            <a:ext cx="900285" cy="193908"/>
          </a:xfrm>
          <a:prstGeom prst="rect">
            <a:avLst/>
          </a:prstGeom>
        </p:spPr>
      </p:pic>
      <p:pic>
        <p:nvPicPr>
          <p:cNvPr id="77" name="Image 76"/>
          <p:cNvPicPr>
            <a:picLocks noChangeAspect="1"/>
          </p:cNvPicPr>
          <p:nvPr/>
        </p:nvPicPr>
        <p:blipFill>
          <a:blip r:embed="rId4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61566" y="2852936"/>
            <a:ext cx="562762" cy="759198"/>
          </a:xfrm>
          <a:prstGeom prst="rect">
            <a:avLst/>
          </a:prstGeom>
        </p:spPr>
      </p:pic>
      <p:pic>
        <p:nvPicPr>
          <p:cNvPr id="80" name="Picture 6" descr="C:\Users\RENAUDIN\Pictures\Drapeaux\225px-Flag_of_France.svg.png"/>
          <p:cNvPicPr/>
          <p:nvPr/>
        </p:nvPicPr>
        <p:blipFill>
          <a:blip r:embed="rId2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810464" y="2299783"/>
            <a:ext cx="172160" cy="1161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1" name="Image 44"/>
          <p:cNvPicPr>
            <a:picLocks noChangeAspect="1"/>
          </p:cNvPicPr>
          <p:nvPr/>
        </p:nvPicPr>
        <p:blipFill>
          <a:blip r:embed="rId44"/>
          <a:srcRect/>
          <a:stretch>
            <a:fillRect/>
          </a:stretch>
        </p:blipFill>
        <p:spPr bwMode="auto">
          <a:xfrm>
            <a:off x="2570657" y="1587411"/>
            <a:ext cx="561183" cy="6767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7" name="Image 106"/>
          <p:cNvPicPr>
            <a:picLocks noChangeAspect="1"/>
          </p:cNvPicPr>
          <p:nvPr/>
        </p:nvPicPr>
        <p:blipFill>
          <a:blip r:embed="rId4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13999" y="1268760"/>
            <a:ext cx="1014143" cy="246839"/>
          </a:xfrm>
          <a:prstGeom prst="rect">
            <a:avLst/>
          </a:prstGeom>
        </p:spPr>
      </p:pic>
      <p:pic>
        <p:nvPicPr>
          <p:cNvPr id="109" name="Picture 5"/>
          <p:cNvPicPr>
            <a:picLocks noChangeAspect="1" noChangeArrowheads="1"/>
          </p:cNvPicPr>
          <p:nvPr/>
        </p:nvPicPr>
        <p:blipFill>
          <a:blip r:embed="rId4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27276" y="4208905"/>
            <a:ext cx="523944" cy="6602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10" name="Picture 6" descr="C:\Users\RENAUDIN\Pictures\Drapeaux\225px-Flag_of_France.svg.png"/>
          <p:cNvPicPr/>
          <p:nvPr/>
        </p:nvPicPr>
        <p:blipFill>
          <a:blip r:embed="rId2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391476" y="2310592"/>
            <a:ext cx="172160" cy="1161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3" name="Picture 3"/>
          <p:cNvPicPr>
            <a:picLocks noChangeAspect="1" noChangeArrowheads="1"/>
          </p:cNvPicPr>
          <p:nvPr/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71150" y="3641284"/>
            <a:ext cx="177114" cy="1197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15" name="ZoneTexte 20"/>
          <p:cNvSpPr txBox="1"/>
          <p:nvPr/>
        </p:nvSpPr>
        <p:spPr>
          <a:xfrm>
            <a:off x="1763688" y="6165304"/>
            <a:ext cx="4625868" cy="20250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fr-FR" sz="800" dirty="0">
                <a:solidFill>
                  <a:srgbClr val="002060"/>
                </a:solidFill>
                <a:latin typeface="Arial"/>
                <a:ea typeface="Times New Roman"/>
              </a:rPr>
              <a:t> </a:t>
            </a:r>
            <a:r>
              <a:rPr lang="fr-FR" sz="800" dirty="0" smtClean="0">
                <a:solidFill>
                  <a:srgbClr val="002060"/>
                </a:solidFill>
                <a:latin typeface="Arial"/>
                <a:ea typeface="Times New Roman"/>
              </a:rPr>
              <a:t>                                         An </a:t>
            </a:r>
            <a:r>
              <a:rPr lang="fr-FR" sz="800" dirty="0">
                <a:solidFill>
                  <a:srgbClr val="002060"/>
                </a:solidFill>
                <a:latin typeface="Arial"/>
                <a:ea typeface="Times New Roman"/>
              </a:rPr>
              <a:t>Nguyen-Dinh       </a:t>
            </a:r>
            <a:r>
              <a:rPr lang="fr-FR" sz="800" dirty="0" smtClean="0">
                <a:solidFill>
                  <a:srgbClr val="002060"/>
                </a:solidFill>
                <a:latin typeface="Arial"/>
                <a:ea typeface="Times New Roman"/>
              </a:rPr>
              <a:t>          Eric Poyeton                     Jyrki </a:t>
            </a:r>
            <a:r>
              <a:rPr lang="fr-FR" sz="800" dirty="0">
                <a:solidFill>
                  <a:srgbClr val="002060"/>
                </a:solidFill>
                <a:latin typeface="Arial"/>
                <a:ea typeface="Times New Roman"/>
              </a:rPr>
              <a:t>Kiihamaki</a:t>
            </a:r>
            <a:endParaRPr lang="fr-FR" sz="1200" dirty="0">
              <a:solidFill>
                <a:prstClr val="black"/>
              </a:solidFill>
              <a:latin typeface="Times New Roman"/>
              <a:ea typeface="Times New Roman"/>
            </a:endParaRPr>
          </a:p>
        </p:txBody>
      </p:sp>
      <p:pic>
        <p:nvPicPr>
          <p:cNvPr id="117" name="Picture 6" descr="C:\Users\RENAUDIN\Pictures\Drapeaux\225px-Flag_of_France.svg.png"/>
          <p:cNvPicPr/>
          <p:nvPr/>
        </p:nvPicPr>
        <p:blipFill>
          <a:blip r:embed="rId2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468564" y="4924682"/>
            <a:ext cx="172160" cy="1161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8" name="Picture 6" descr="C:\Users\RENAUDIN\Pictures\Drapeaux\225px-Flag_of_France.svg.png"/>
          <p:cNvPicPr/>
          <p:nvPr/>
        </p:nvPicPr>
        <p:blipFill>
          <a:blip r:embed="rId2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843808" y="6208461"/>
            <a:ext cx="172160" cy="1161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3" name="Picture 14" descr="C:\Users\RENAUDIN\Pictures\Drapeaux\225px-Flag_of_Finland.svg.png"/>
          <p:cNvPicPr/>
          <p:nvPr/>
        </p:nvPicPr>
        <p:blipFill>
          <a:blip r:embed="rId4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286429" y="6207116"/>
            <a:ext cx="172160" cy="1159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1" name="Picture 5" descr="Mr Johan DE BAETS"/>
          <p:cNvPicPr>
            <a:picLocks noChangeAspect="1" noChangeArrowheads="1"/>
          </p:cNvPicPr>
          <p:nvPr/>
        </p:nvPicPr>
        <p:blipFill>
          <a:blip r:embed="rId4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62742" y="2852936"/>
            <a:ext cx="604185" cy="7409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9" name="Ellipse 118"/>
          <p:cNvSpPr/>
          <p:nvPr/>
        </p:nvSpPr>
        <p:spPr>
          <a:xfrm>
            <a:off x="6614209" y="5266493"/>
            <a:ext cx="2194049" cy="812955"/>
          </a:xfrm>
          <a:prstGeom prst="ellipse">
            <a:avLst/>
          </a:prstGeom>
          <a:solidFill>
            <a:srgbClr val="00A0D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6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pen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6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novation Club</a:t>
            </a:r>
          </a:p>
        </p:txBody>
      </p:sp>
      <p:pic>
        <p:nvPicPr>
          <p:cNvPr id="7" name="Image 6"/>
          <p:cNvPicPr>
            <a:picLocks noChangeAspect="1"/>
          </p:cNvPicPr>
          <p:nvPr/>
        </p:nvPicPr>
        <p:blipFill>
          <a:blip r:embed="rId4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84296" y="3861048"/>
            <a:ext cx="910940" cy="285093"/>
          </a:xfrm>
          <a:prstGeom prst="rect">
            <a:avLst/>
          </a:prstGeom>
        </p:spPr>
      </p:pic>
      <p:pic>
        <p:nvPicPr>
          <p:cNvPr id="11" name="Image 10"/>
          <p:cNvPicPr>
            <a:picLocks noChangeAspect="1"/>
          </p:cNvPicPr>
          <p:nvPr/>
        </p:nvPicPr>
        <p:blipFill>
          <a:blip r:embed="rId49"/>
          <a:stretch>
            <a:fillRect/>
          </a:stretch>
        </p:blipFill>
        <p:spPr>
          <a:xfrm>
            <a:off x="8108695" y="1214601"/>
            <a:ext cx="397065" cy="282909"/>
          </a:xfrm>
          <a:prstGeom prst="rect">
            <a:avLst/>
          </a:prstGeom>
        </p:spPr>
      </p:pic>
      <p:pic>
        <p:nvPicPr>
          <p:cNvPr id="18" name="Image 17"/>
          <p:cNvPicPr>
            <a:picLocks noChangeAspect="1"/>
          </p:cNvPicPr>
          <p:nvPr/>
        </p:nvPicPr>
        <p:blipFill>
          <a:blip r:embed="rId5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77121" y="5177193"/>
            <a:ext cx="936000" cy="154585"/>
          </a:xfrm>
          <a:prstGeom prst="rect">
            <a:avLst/>
          </a:prstGeom>
        </p:spPr>
      </p:pic>
      <p:pic>
        <p:nvPicPr>
          <p:cNvPr id="19" name="Image 18"/>
          <p:cNvPicPr>
            <a:picLocks noChangeAspect="1"/>
          </p:cNvPicPr>
          <p:nvPr/>
        </p:nvPicPr>
        <p:blipFill>
          <a:blip r:embed="rId5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98185" y="5445224"/>
            <a:ext cx="570920" cy="667540"/>
          </a:xfrm>
          <a:prstGeom prst="rect">
            <a:avLst/>
          </a:prstGeom>
        </p:spPr>
      </p:pic>
      <p:pic>
        <p:nvPicPr>
          <p:cNvPr id="105" name="Picture 3" descr="C:\Users\RENAUDIN\Pictures\Drapeaux\225px-Flag_of_Sweden.svg.png"/>
          <p:cNvPicPr/>
          <p:nvPr/>
        </p:nvPicPr>
        <p:blipFill>
          <a:blip r:embed="rId1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079837" y="6221240"/>
            <a:ext cx="173241" cy="1134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Image 19"/>
          <p:cNvPicPr>
            <a:picLocks noChangeAspect="1"/>
          </p:cNvPicPr>
          <p:nvPr/>
        </p:nvPicPr>
        <p:blipFill rotWithShape="1">
          <a:blip r:embed="rId5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5761" b="35761"/>
          <a:stretch/>
        </p:blipFill>
        <p:spPr>
          <a:xfrm>
            <a:off x="6554644" y="3967312"/>
            <a:ext cx="972000" cy="168386"/>
          </a:xfrm>
          <a:prstGeom prst="rect">
            <a:avLst/>
          </a:prstGeom>
        </p:spPr>
      </p:pic>
      <p:pic>
        <p:nvPicPr>
          <p:cNvPr id="21" name="Image 20"/>
          <p:cNvPicPr>
            <a:picLocks noChangeAspect="1"/>
          </p:cNvPicPr>
          <p:nvPr/>
        </p:nvPicPr>
        <p:blipFill>
          <a:blip r:embed="rId5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64168" y="5088954"/>
            <a:ext cx="720000" cy="254530"/>
          </a:xfrm>
          <a:prstGeom prst="rect">
            <a:avLst/>
          </a:prstGeom>
        </p:spPr>
      </p:pic>
      <p:pic>
        <p:nvPicPr>
          <p:cNvPr id="23" name="Image 22"/>
          <p:cNvPicPr>
            <a:picLocks noChangeAspect="1"/>
          </p:cNvPicPr>
          <p:nvPr/>
        </p:nvPicPr>
        <p:blipFill rotWithShape="1">
          <a:blip r:embed="rId5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0396"/>
          <a:stretch/>
        </p:blipFill>
        <p:spPr>
          <a:xfrm>
            <a:off x="2925001" y="5124167"/>
            <a:ext cx="1008000" cy="279305"/>
          </a:xfrm>
          <a:prstGeom prst="rect">
            <a:avLst/>
          </a:prstGeom>
        </p:spPr>
      </p:pic>
      <p:pic>
        <p:nvPicPr>
          <p:cNvPr id="26" name="Image 25"/>
          <p:cNvPicPr>
            <a:picLocks noChangeAspect="1"/>
          </p:cNvPicPr>
          <p:nvPr/>
        </p:nvPicPr>
        <p:blipFill>
          <a:blip r:embed="rId5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07639" y="2928549"/>
            <a:ext cx="464561" cy="698152"/>
          </a:xfrm>
          <a:prstGeom prst="rect">
            <a:avLst/>
          </a:prstGeom>
        </p:spPr>
      </p:pic>
      <p:pic>
        <p:nvPicPr>
          <p:cNvPr id="27" name="Image 26"/>
          <p:cNvPicPr>
            <a:picLocks noChangeAspect="1"/>
          </p:cNvPicPr>
          <p:nvPr/>
        </p:nvPicPr>
        <p:blipFill rotWithShape="1">
          <a:blip r:embed="rId5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674" r="12317"/>
          <a:stretch/>
        </p:blipFill>
        <p:spPr>
          <a:xfrm>
            <a:off x="1497558" y="1580964"/>
            <a:ext cx="576063" cy="720000"/>
          </a:xfrm>
          <a:prstGeom prst="rect">
            <a:avLst/>
          </a:prstGeom>
        </p:spPr>
      </p:pic>
      <p:pic>
        <p:nvPicPr>
          <p:cNvPr id="3" name="Image 2"/>
          <p:cNvPicPr>
            <a:picLocks noChangeAspect="1"/>
          </p:cNvPicPr>
          <p:nvPr/>
        </p:nvPicPr>
        <p:blipFill>
          <a:blip r:embed="rId5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51587" y="4146779"/>
            <a:ext cx="622715" cy="669033"/>
          </a:xfrm>
          <a:prstGeom prst="rect">
            <a:avLst/>
          </a:prstGeom>
        </p:spPr>
      </p:pic>
      <p:sp>
        <p:nvSpPr>
          <p:cNvPr id="91" name="Slide Number Placeholder 5"/>
          <p:cNvSpPr txBox="1">
            <a:spLocks/>
          </p:cNvSpPr>
          <p:nvPr/>
        </p:nvSpPr>
        <p:spPr>
          <a:xfrm>
            <a:off x="8628418" y="6354457"/>
            <a:ext cx="343043" cy="36933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nl-NL"/>
            </a:defPPr>
            <a:lvl1pPr marL="0" algn="r" defTabSz="457200" rtl="0" eaLnBrk="1" latinLnBrk="0" hangingPunct="1">
              <a:defRPr sz="1800" b="0" i="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400" b="1" dirty="0" smtClean="0">
                <a:solidFill>
                  <a:srgbClr val="1F497D"/>
                </a:solidFill>
              </a:rPr>
              <a:t>18</a:t>
            </a:r>
            <a:endParaRPr lang="en-US" sz="2400" b="1" dirty="0">
              <a:solidFill>
                <a:srgbClr val="1F497D"/>
              </a:solidFill>
            </a:endParaRPr>
          </a:p>
        </p:txBody>
      </p:sp>
      <p:pic>
        <p:nvPicPr>
          <p:cNvPr id="10" name="Image 9"/>
          <p:cNvPicPr>
            <a:picLocks noChangeAspect="1"/>
          </p:cNvPicPr>
          <p:nvPr/>
        </p:nvPicPr>
        <p:blipFill>
          <a:blip r:embed="rId58"/>
          <a:stretch>
            <a:fillRect/>
          </a:stretch>
        </p:blipFill>
        <p:spPr>
          <a:xfrm>
            <a:off x="8866360" y="2314337"/>
            <a:ext cx="170703" cy="115834"/>
          </a:xfrm>
          <a:prstGeom prst="rect">
            <a:avLst/>
          </a:prstGeom>
        </p:spPr>
      </p:pic>
      <p:pic>
        <p:nvPicPr>
          <p:cNvPr id="24" name="Image 23"/>
          <p:cNvPicPr>
            <a:picLocks noChangeAspect="1"/>
          </p:cNvPicPr>
          <p:nvPr/>
        </p:nvPicPr>
        <p:blipFill>
          <a:blip r:embed="rId59"/>
          <a:stretch>
            <a:fillRect/>
          </a:stretch>
        </p:blipFill>
        <p:spPr>
          <a:xfrm>
            <a:off x="4916130" y="6207116"/>
            <a:ext cx="170703" cy="115834"/>
          </a:xfrm>
          <a:prstGeom prst="rect">
            <a:avLst/>
          </a:prstGeom>
        </p:spPr>
      </p:pic>
      <p:pic>
        <p:nvPicPr>
          <p:cNvPr id="9" name="Image 8"/>
          <p:cNvPicPr>
            <a:picLocks noChangeAspect="1"/>
          </p:cNvPicPr>
          <p:nvPr/>
        </p:nvPicPr>
        <p:blipFill>
          <a:blip r:embed="rId6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40644" y="1238326"/>
            <a:ext cx="363353" cy="294768"/>
          </a:xfrm>
          <a:prstGeom prst="rect">
            <a:avLst/>
          </a:prstGeom>
        </p:spPr>
      </p:pic>
      <p:pic>
        <p:nvPicPr>
          <p:cNvPr id="25" name="Image 24"/>
          <p:cNvPicPr>
            <a:picLocks noChangeAspect="1"/>
          </p:cNvPicPr>
          <p:nvPr/>
        </p:nvPicPr>
        <p:blipFill>
          <a:blip r:embed="rId6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95750" y="1546718"/>
            <a:ext cx="532831" cy="720000"/>
          </a:xfrm>
          <a:prstGeom prst="rect">
            <a:avLst/>
          </a:prstGeom>
        </p:spPr>
      </p:pic>
      <p:pic>
        <p:nvPicPr>
          <p:cNvPr id="94" name="Image 93"/>
          <p:cNvPicPr>
            <a:picLocks noChangeAspect="1"/>
          </p:cNvPicPr>
          <p:nvPr/>
        </p:nvPicPr>
        <p:blipFill>
          <a:blip r:embed="rId6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79698" y="2527412"/>
            <a:ext cx="776278" cy="233453"/>
          </a:xfrm>
          <a:prstGeom prst="rect">
            <a:avLst/>
          </a:prstGeom>
        </p:spPr>
      </p:pic>
      <p:pic>
        <p:nvPicPr>
          <p:cNvPr id="17" name="Image 16"/>
          <p:cNvPicPr>
            <a:picLocks noChangeAspect="1"/>
          </p:cNvPicPr>
          <p:nvPr/>
        </p:nvPicPr>
        <p:blipFill rotWithShape="1">
          <a:blip r:embed="rId6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420" r="8420"/>
          <a:stretch/>
        </p:blipFill>
        <p:spPr>
          <a:xfrm>
            <a:off x="6941457" y="1551471"/>
            <a:ext cx="608176" cy="731342"/>
          </a:xfrm>
          <a:prstGeom prst="rect">
            <a:avLst/>
          </a:prstGeom>
        </p:spPr>
      </p:pic>
      <p:pic>
        <p:nvPicPr>
          <p:cNvPr id="28" name="Image 27"/>
          <p:cNvPicPr>
            <a:picLocks noChangeAspect="1"/>
          </p:cNvPicPr>
          <p:nvPr/>
        </p:nvPicPr>
        <p:blipFill>
          <a:blip r:embed="rId6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61302" y="2877156"/>
            <a:ext cx="666384" cy="710810"/>
          </a:xfrm>
          <a:prstGeom prst="rect">
            <a:avLst/>
          </a:prstGeom>
        </p:spPr>
      </p:pic>
      <p:pic>
        <p:nvPicPr>
          <p:cNvPr id="29" name="Image 28"/>
          <p:cNvPicPr>
            <a:picLocks noChangeAspect="1"/>
          </p:cNvPicPr>
          <p:nvPr/>
        </p:nvPicPr>
        <p:blipFill>
          <a:blip r:embed="rId6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77331" y="2508944"/>
            <a:ext cx="1010608" cy="36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70366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256" name="Titre 6"/>
          <p:cNvSpPr>
            <a:spLocks noGrp="1"/>
          </p:cNvSpPr>
          <p:nvPr>
            <p:ph type="title"/>
          </p:nvPr>
        </p:nvSpPr>
        <p:spPr>
          <a:xfrm>
            <a:off x="1607119" y="346725"/>
            <a:ext cx="6277249" cy="850028"/>
          </a:xfrm>
        </p:spPr>
        <p:txBody>
          <a:bodyPr>
            <a:normAutofit fontScale="90000"/>
          </a:bodyPr>
          <a:lstStyle/>
          <a:p>
            <a:pPr eaLnBrk="1" hangingPunct="1"/>
            <a:r>
              <a:rPr lang="en-GB" sz="3600" dirty="0" smtClean="0">
                <a:latin typeface="Arial" charset="0"/>
                <a:cs typeface="Arial" charset="0"/>
              </a:rPr>
              <a:t>Coaching Application domains</a:t>
            </a:r>
          </a:p>
        </p:txBody>
      </p:sp>
      <p:grpSp>
        <p:nvGrpSpPr>
          <p:cNvPr id="53262" name="Groupe 47"/>
          <p:cNvGrpSpPr>
            <a:grpSpLocks/>
          </p:cNvGrpSpPr>
          <p:nvPr/>
        </p:nvGrpSpPr>
        <p:grpSpPr bwMode="auto">
          <a:xfrm>
            <a:off x="3851919" y="1760408"/>
            <a:ext cx="2281673" cy="539828"/>
            <a:chOff x="3482555" y="1623467"/>
            <a:chExt cx="2281944" cy="539696"/>
          </a:xfrm>
        </p:grpSpPr>
        <p:sp>
          <p:nvSpPr>
            <p:cNvPr id="53263" name="ZoneTexte 13"/>
            <p:cNvSpPr txBox="1">
              <a:spLocks noChangeArrowheads="1"/>
            </p:cNvSpPr>
            <p:nvPr/>
          </p:nvSpPr>
          <p:spPr bwMode="auto">
            <a:xfrm>
              <a:off x="3529980" y="1623467"/>
              <a:ext cx="2234519" cy="30770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r>
                <a:rPr lang="fr-FR" sz="1400" b="1" dirty="0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EURIPIDES</a:t>
              </a:r>
              <a:r>
                <a:rPr lang="en-GB" sz="1400" b="1" dirty="0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²</a:t>
              </a:r>
              <a:r>
                <a:rPr lang="fr-FR" sz="1400" b="1" dirty="0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Chairman</a:t>
              </a:r>
            </a:p>
          </p:txBody>
        </p:sp>
        <p:sp>
          <p:nvSpPr>
            <p:cNvPr id="53264" name="ZoneTexte 14"/>
            <p:cNvSpPr txBox="1">
              <a:spLocks noChangeArrowheads="1"/>
            </p:cNvSpPr>
            <p:nvPr/>
          </p:nvSpPr>
          <p:spPr bwMode="auto">
            <a:xfrm>
              <a:off x="3482555" y="1855462"/>
              <a:ext cx="1800413" cy="30770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algn="ctr"/>
              <a:r>
                <a:rPr lang="fr-FR" sz="1400" dirty="0" smtClean="0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Jochen Langheim</a:t>
              </a:r>
              <a:endParaRPr lang="fr-FR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39" name="Slide Number Placeholder 5"/>
          <p:cNvSpPr txBox="1">
            <a:spLocks/>
          </p:cNvSpPr>
          <p:nvPr/>
        </p:nvSpPr>
        <p:spPr>
          <a:xfrm>
            <a:off x="8628418" y="6354457"/>
            <a:ext cx="343043" cy="36933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nl-NL"/>
            </a:defPPr>
            <a:lvl1pPr marL="0" algn="r" defTabSz="457200" rtl="0" eaLnBrk="1" latinLnBrk="0" hangingPunct="1">
              <a:defRPr sz="1800" b="0" i="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8C080AE-66C8-8249-B90B-B6D109566B0C}" type="slidenum">
              <a:rPr lang="en-US" sz="2400" b="1">
                <a:solidFill>
                  <a:srgbClr val="1F497D"/>
                </a:solidFill>
              </a:rPr>
              <a:pPr/>
              <a:t>9</a:t>
            </a:fld>
            <a:endParaRPr lang="en-US" sz="2400" b="1" dirty="0">
              <a:solidFill>
                <a:srgbClr val="1F497D"/>
              </a:solidFill>
            </a:endParaRPr>
          </a:p>
        </p:txBody>
      </p:sp>
      <p:grpSp>
        <p:nvGrpSpPr>
          <p:cNvPr id="12" name="Groupe 11"/>
          <p:cNvGrpSpPr/>
          <p:nvPr/>
        </p:nvGrpSpPr>
        <p:grpSpPr>
          <a:xfrm>
            <a:off x="323528" y="2331799"/>
            <a:ext cx="8240318" cy="3617482"/>
            <a:chOff x="109895" y="2331799"/>
            <a:chExt cx="8240318" cy="3617482"/>
          </a:xfrm>
        </p:grpSpPr>
        <p:grpSp>
          <p:nvGrpSpPr>
            <p:cNvPr id="38" name="Groupe 37"/>
            <p:cNvGrpSpPr>
              <a:grpSpLocks/>
            </p:cNvGrpSpPr>
            <p:nvPr/>
          </p:nvGrpSpPr>
          <p:grpSpPr bwMode="auto">
            <a:xfrm>
              <a:off x="3347896" y="2331799"/>
              <a:ext cx="1658547" cy="3617482"/>
              <a:chOff x="5179023" y="1910104"/>
              <a:chExt cx="1658728" cy="3617995"/>
            </a:xfrm>
          </p:grpSpPr>
          <p:grpSp>
            <p:nvGrpSpPr>
              <p:cNvPr id="53283" name="Groupe 31"/>
              <p:cNvGrpSpPr>
                <a:grpSpLocks/>
              </p:cNvGrpSpPr>
              <p:nvPr/>
            </p:nvGrpSpPr>
            <p:grpSpPr bwMode="auto">
              <a:xfrm>
                <a:off x="5179023" y="4549341"/>
                <a:ext cx="1658728" cy="978758"/>
                <a:chOff x="3738864" y="4549341"/>
                <a:chExt cx="1658728" cy="978758"/>
              </a:xfrm>
            </p:grpSpPr>
            <p:sp>
              <p:nvSpPr>
                <p:cNvPr id="53286" name="ZoneTexte 35"/>
                <p:cNvSpPr txBox="1">
                  <a:spLocks noChangeArrowheads="1"/>
                </p:cNvSpPr>
                <p:nvPr/>
              </p:nvSpPr>
              <p:spPr bwMode="auto">
                <a:xfrm>
                  <a:off x="3738864" y="4549341"/>
                  <a:ext cx="1658728" cy="646423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wrap="square">
                  <a:spAutoFit/>
                </a:bodyPr>
                <a:lstStyle/>
                <a:p>
                  <a:pPr algn="ctr"/>
                  <a:r>
                    <a:rPr lang="fr-FR" sz="1200" b="1" dirty="0">
                      <a:solidFill>
                        <a:srgbClr val="002060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Vice Chairman</a:t>
                  </a:r>
                </a:p>
                <a:p>
                  <a:pPr algn="ctr"/>
                  <a:r>
                    <a:rPr lang="en-GB" sz="1200" b="1" dirty="0" smtClean="0">
                      <a:solidFill>
                        <a:srgbClr val="002060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International Relations and SMEs</a:t>
                  </a:r>
                  <a:endParaRPr lang="en-GB" sz="1200" b="1" dirty="0">
                    <a:solidFill>
                      <a:srgbClr val="00206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53287" name="ZoneTexte 36"/>
                <p:cNvSpPr txBox="1">
                  <a:spLocks noChangeArrowheads="1"/>
                </p:cNvSpPr>
                <p:nvPr/>
              </p:nvSpPr>
              <p:spPr bwMode="auto">
                <a:xfrm>
                  <a:off x="3957271" y="5220278"/>
                  <a:ext cx="1378375" cy="307821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wrap="square">
                  <a:spAutoFit/>
                </a:bodyPr>
                <a:lstStyle/>
                <a:p>
                  <a:pPr algn="ctr"/>
                  <a:r>
                    <a:rPr lang="fr-FR" sz="1400" dirty="0" smtClean="0">
                      <a:solidFill>
                        <a:srgbClr val="002060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Ken Brizel</a:t>
                  </a:r>
                  <a:endParaRPr lang="fr-FR" sz="1400" dirty="0">
                    <a:solidFill>
                      <a:srgbClr val="00206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</p:grpSp>
          <p:pic>
            <p:nvPicPr>
              <p:cNvPr id="53285" name="Image 25"/>
              <p:cNvPicPr>
                <a:picLocks noChangeAspect="1"/>
              </p:cNvPicPr>
              <p:nvPr/>
            </p:nvPicPr>
            <p:blipFill>
              <a:blip r:embed="rId3"/>
              <a:srcRect/>
              <a:stretch>
                <a:fillRect/>
              </a:stretch>
            </p:blipFill>
            <p:spPr bwMode="auto">
              <a:xfrm>
                <a:off x="5995229" y="1910104"/>
                <a:ext cx="736274" cy="52059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</p:grpSp>
        <p:grpSp>
          <p:nvGrpSpPr>
            <p:cNvPr id="53267" name="Groupe 39"/>
            <p:cNvGrpSpPr>
              <a:grpSpLocks/>
            </p:cNvGrpSpPr>
            <p:nvPr/>
          </p:nvGrpSpPr>
          <p:grpSpPr bwMode="auto">
            <a:xfrm>
              <a:off x="7022649" y="5055568"/>
              <a:ext cx="1327564" cy="893710"/>
              <a:chOff x="9543128" y="4699987"/>
              <a:chExt cx="1327439" cy="893473"/>
            </a:xfrm>
          </p:grpSpPr>
          <p:sp>
            <p:nvSpPr>
              <p:cNvPr id="53270" name="ZoneTexte 45"/>
              <p:cNvSpPr txBox="1">
                <a:spLocks noChangeArrowheads="1"/>
              </p:cNvSpPr>
              <p:nvPr/>
            </p:nvSpPr>
            <p:spPr bwMode="auto">
              <a:xfrm>
                <a:off x="9543128" y="4699987"/>
                <a:ext cx="1327439" cy="461543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fr-FR" sz="1200" b="1" dirty="0">
                    <a:solidFill>
                      <a:srgbClr val="00206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Vice Chairman</a:t>
                </a:r>
              </a:p>
              <a:p>
                <a:pPr algn="ctr"/>
                <a:r>
                  <a:rPr lang="en-GB" sz="1200" b="1" dirty="0" smtClean="0">
                    <a:solidFill>
                      <a:srgbClr val="00206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Smart Home</a:t>
                </a:r>
                <a:endParaRPr lang="en-GB" sz="1200" b="1" dirty="0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3271" name="ZoneTexte 46"/>
              <p:cNvSpPr txBox="1">
                <a:spLocks noChangeArrowheads="1"/>
              </p:cNvSpPr>
              <p:nvPr/>
            </p:nvSpPr>
            <p:spPr bwMode="auto">
              <a:xfrm>
                <a:off x="9543128" y="5285765"/>
                <a:ext cx="1296036" cy="30769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fr-FR" sz="1400" dirty="0">
                    <a:solidFill>
                      <a:srgbClr val="00206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Gilles </a:t>
                </a:r>
                <a:r>
                  <a:rPr lang="fr-FR" sz="1400" dirty="0" smtClean="0">
                    <a:solidFill>
                      <a:srgbClr val="00206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Pradel</a:t>
                </a:r>
                <a:endParaRPr lang="fr-FR" sz="1400" dirty="0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4" name="Groupe 3"/>
            <p:cNvGrpSpPr/>
            <p:nvPr/>
          </p:nvGrpSpPr>
          <p:grpSpPr>
            <a:xfrm>
              <a:off x="109895" y="3286978"/>
              <a:ext cx="1544250" cy="2662302"/>
              <a:chOff x="977303" y="2787637"/>
              <a:chExt cx="1544250" cy="2662302"/>
            </a:xfrm>
          </p:grpSpPr>
          <p:grpSp>
            <p:nvGrpSpPr>
              <p:cNvPr id="34" name="Groupe 33"/>
              <p:cNvGrpSpPr>
                <a:grpSpLocks/>
              </p:cNvGrpSpPr>
              <p:nvPr/>
            </p:nvGrpSpPr>
            <p:grpSpPr bwMode="auto">
              <a:xfrm>
                <a:off x="1121319" y="3335240"/>
                <a:ext cx="1400234" cy="2114699"/>
                <a:chOff x="229826" y="3478965"/>
                <a:chExt cx="1400001" cy="2114999"/>
              </a:xfrm>
            </p:grpSpPr>
            <p:grpSp>
              <p:nvGrpSpPr>
                <p:cNvPr id="53275" name="Groupe 5"/>
                <p:cNvGrpSpPr>
                  <a:grpSpLocks/>
                </p:cNvGrpSpPr>
                <p:nvPr/>
              </p:nvGrpSpPr>
              <p:grpSpPr bwMode="auto">
                <a:xfrm>
                  <a:off x="229826" y="4623519"/>
                  <a:ext cx="1400001" cy="970445"/>
                  <a:chOff x="368509" y="4623519"/>
                  <a:chExt cx="1400001" cy="970445"/>
                </a:xfrm>
              </p:grpSpPr>
              <p:sp>
                <p:nvSpPr>
                  <p:cNvPr id="53276" name="ZoneTexte 19"/>
                  <p:cNvSpPr txBox="1">
                    <a:spLocks noChangeArrowheads="1"/>
                  </p:cNvSpPr>
                  <p:nvPr/>
                </p:nvSpPr>
                <p:spPr bwMode="auto">
                  <a:xfrm>
                    <a:off x="372896" y="4623519"/>
                    <a:ext cx="1265513" cy="461731"/>
                  </a:xfrm>
                  <a:prstGeom prst="rect">
                    <a:avLst/>
                  </a:prstGeom>
                  <a:no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 wrap="square">
                    <a:spAutoFit/>
                  </a:bodyPr>
                  <a:lstStyle/>
                  <a:p>
                    <a:pPr algn="ctr"/>
                    <a:r>
                      <a:rPr lang="en-GB" sz="1200" b="1" dirty="0">
                        <a:solidFill>
                          <a:srgbClr val="00206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t>Vice Chairman</a:t>
                    </a:r>
                  </a:p>
                  <a:p>
                    <a:pPr algn="ctr"/>
                    <a:r>
                      <a:rPr lang="en-GB" sz="1200" b="1" dirty="0" smtClean="0">
                        <a:solidFill>
                          <a:srgbClr val="00206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t>Security</a:t>
                    </a:r>
                    <a:endParaRPr lang="en-GB" sz="1200" b="1" dirty="0">
                      <a:solidFill>
                        <a:srgbClr val="002060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53277" name="ZoneTexte 20"/>
                  <p:cNvSpPr txBox="1">
                    <a:spLocks noChangeArrowheads="1"/>
                  </p:cNvSpPr>
                  <p:nvPr/>
                </p:nvSpPr>
                <p:spPr bwMode="auto">
                  <a:xfrm>
                    <a:off x="368509" y="5286143"/>
                    <a:ext cx="1400001" cy="307821"/>
                  </a:xfrm>
                  <a:prstGeom prst="rect">
                    <a:avLst/>
                  </a:prstGeom>
                  <a:no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 wrap="square">
                    <a:spAutoFit/>
                  </a:bodyPr>
                  <a:lstStyle/>
                  <a:p>
                    <a:pPr algn="ctr"/>
                    <a:r>
                      <a:rPr lang="fr-FR" sz="1400" dirty="0">
                        <a:solidFill>
                          <a:srgbClr val="00206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t>Hervé Mokrani</a:t>
                    </a:r>
                  </a:p>
                </p:txBody>
              </p:sp>
            </p:grpSp>
            <p:pic>
              <p:nvPicPr>
                <p:cNvPr id="53273" name="Image 44"/>
                <p:cNvPicPr>
                  <a:picLocks noChangeAspect="1"/>
                </p:cNvPicPr>
                <p:nvPr/>
              </p:nvPicPr>
              <p:blipFill>
                <a:blip r:embed="rId4"/>
                <a:srcRect/>
                <a:stretch>
                  <a:fillRect/>
                </a:stretch>
              </p:blipFill>
              <p:spPr bwMode="auto">
                <a:xfrm>
                  <a:off x="450201" y="3478965"/>
                  <a:ext cx="919010" cy="1108548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</p:pic>
          </p:grpSp>
          <p:pic>
            <p:nvPicPr>
              <p:cNvPr id="3" name="Image 2"/>
              <p:cNvPicPr>
                <a:picLocks noChangeAspect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977303" y="2787637"/>
                <a:ext cx="1471041" cy="358046"/>
              </a:xfrm>
              <a:prstGeom prst="rect">
                <a:avLst/>
              </a:prstGeom>
            </p:spPr>
          </p:pic>
        </p:grpSp>
        <p:pic>
          <p:nvPicPr>
            <p:cNvPr id="7" name="Image 6"/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7057471" y="3222866"/>
              <a:ext cx="1277560" cy="360040"/>
            </a:xfrm>
            <a:prstGeom prst="rect">
              <a:avLst/>
            </a:prstGeom>
          </p:spPr>
        </p:pic>
        <p:sp>
          <p:nvSpPr>
            <p:cNvPr id="43" name="ZoneTexte 45"/>
            <p:cNvSpPr txBox="1">
              <a:spLocks noChangeArrowheads="1"/>
            </p:cNvSpPr>
            <p:nvPr/>
          </p:nvSpPr>
          <p:spPr bwMode="auto">
            <a:xfrm>
              <a:off x="4934431" y="4942908"/>
              <a:ext cx="2123040" cy="64633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algn="ctr"/>
              <a:r>
                <a:rPr lang="fr-FR" sz="1200" b="1" dirty="0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Vice Chairman</a:t>
              </a:r>
            </a:p>
            <a:p>
              <a:pPr algn="ctr"/>
              <a:r>
                <a:rPr lang="en-GB" sz="1200" b="1" dirty="0" smtClean="0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ntelligent Transportation Systems</a:t>
              </a:r>
            </a:p>
          </p:txBody>
        </p:sp>
        <p:sp>
          <p:nvSpPr>
            <p:cNvPr id="9" name="Rectangle 8"/>
            <p:cNvSpPr/>
            <p:nvPr/>
          </p:nvSpPr>
          <p:spPr>
            <a:xfrm>
              <a:off x="5315762" y="5641503"/>
              <a:ext cx="1183048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fr-FR" sz="1400" dirty="0">
                  <a:solidFill>
                    <a:srgbClr val="002060"/>
                  </a:solidFill>
                  <a:latin typeface="Arial"/>
                  <a:ea typeface="Times New Roman"/>
                </a:rPr>
                <a:t>Burak Aydin</a:t>
              </a:r>
              <a:endParaRPr lang="fr-FR" sz="1400" dirty="0"/>
            </a:p>
          </p:txBody>
        </p:sp>
        <p:pic>
          <p:nvPicPr>
            <p:cNvPr id="1029" name="Picture 5"/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159209" y="3834582"/>
              <a:ext cx="882806" cy="111248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50" name="ZoneTexte 19"/>
            <p:cNvSpPr txBox="1">
              <a:spLocks noChangeArrowheads="1"/>
            </p:cNvSpPr>
            <p:nvPr/>
          </p:nvSpPr>
          <p:spPr bwMode="auto">
            <a:xfrm>
              <a:off x="1808002" y="5013176"/>
              <a:ext cx="1618649" cy="4616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algn="ctr"/>
              <a:r>
                <a:rPr lang="en-GB" sz="1200" b="1" dirty="0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Vice </a:t>
              </a:r>
              <a:r>
                <a:rPr lang="en-GB" sz="1200" b="1" dirty="0" smtClean="0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hairman</a:t>
              </a:r>
            </a:p>
            <a:p>
              <a:pPr algn="ctr"/>
              <a:r>
                <a:rPr lang="en-GB" sz="1200" b="1" dirty="0" smtClean="0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eronautic</a:t>
              </a:r>
              <a:endParaRPr lang="en-GB" sz="1200" b="1" dirty="0">
                <a:solidFill>
                  <a:srgbClr val="002060"/>
                </a:solidFill>
                <a:cs typeface="Arial" charset="0"/>
              </a:endParaRPr>
            </a:p>
          </p:txBody>
        </p:sp>
        <p:sp>
          <p:nvSpPr>
            <p:cNvPr id="10" name="Rectangle 9"/>
            <p:cNvSpPr/>
            <p:nvPr/>
          </p:nvSpPr>
          <p:spPr>
            <a:xfrm>
              <a:off x="1982103" y="5641503"/>
              <a:ext cx="1258575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fr-FR" sz="1400" dirty="0">
                  <a:solidFill>
                    <a:srgbClr val="002060"/>
                  </a:solidFill>
                  <a:latin typeface="Arial"/>
                  <a:ea typeface="Times New Roman"/>
                </a:rPr>
                <a:t>David Hania </a:t>
              </a:r>
              <a:endParaRPr lang="fr-FR" sz="1400" dirty="0"/>
            </a:p>
          </p:txBody>
        </p:sp>
      </p:grpSp>
      <p:pic>
        <p:nvPicPr>
          <p:cNvPr id="52" name="Image 51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29395" y="3249863"/>
            <a:ext cx="1546265" cy="333043"/>
          </a:xfrm>
          <a:prstGeom prst="rect">
            <a:avLst/>
          </a:prstGeom>
        </p:spPr>
      </p:pic>
      <p:pic>
        <p:nvPicPr>
          <p:cNvPr id="54" name="Image 53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97444" y="3834581"/>
            <a:ext cx="820267" cy="1106587"/>
          </a:xfrm>
          <a:prstGeom prst="rect">
            <a:avLst/>
          </a:prstGeom>
        </p:spPr>
      </p:pic>
      <p:pic>
        <p:nvPicPr>
          <p:cNvPr id="2" name="Image 1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53618" y="3232511"/>
            <a:ext cx="1607911" cy="503221"/>
          </a:xfrm>
          <a:prstGeom prst="rect">
            <a:avLst/>
          </a:prstGeom>
        </p:spPr>
      </p:pic>
      <p:pic>
        <p:nvPicPr>
          <p:cNvPr id="5" name="Image 4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4021371" y="3824557"/>
            <a:ext cx="887418" cy="1106780"/>
          </a:xfrm>
          <a:prstGeom prst="rect">
            <a:avLst/>
          </a:prstGeom>
        </p:spPr>
      </p:pic>
      <p:pic>
        <p:nvPicPr>
          <p:cNvPr id="11" name="Image 10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3720578" y="3222866"/>
            <a:ext cx="1616902" cy="381126"/>
          </a:xfrm>
          <a:prstGeom prst="rect">
            <a:avLst/>
          </a:prstGeom>
        </p:spPr>
      </p:pic>
      <p:pic>
        <p:nvPicPr>
          <p:cNvPr id="13" name="Image 12"/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12681" y="3834580"/>
            <a:ext cx="1023134" cy="1099235"/>
          </a:xfrm>
          <a:prstGeom prst="rect">
            <a:avLst/>
          </a:prstGeom>
        </p:spPr>
      </p:pic>
      <p:pic>
        <p:nvPicPr>
          <p:cNvPr id="36" name="Image 35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22606" y="1445859"/>
            <a:ext cx="1257306" cy="16989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44706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Wt4xj7U7kClNC3foFazo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a1_9Cg6EkyVps3nOi70BA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kwOggn15USZCCzNqdefwQ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hgqIgscpkGYWr5g9JoVxA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DPmZTpDUeYIzbn0Jb0gg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JOQyINIE2hWqpqIZKhPg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2APsZY7UyuapJTiZvGEw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UDgOE4MGk.mrwh4qyDW3g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1O1ABoiAEWr_BTQ1LE7CA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r3Fy05q2kS2xnuRbWgMDg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Bww18KPVU6aQbQuHbXGQQ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YqnJSxjEUWHKvXa83Zkz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ZZ0isQK0kiTvQOVRW3MwA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Q9JHMeIUiMk8oyoRisDg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pq.3zDmkSx7CTl.T46TQ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APVYBbRl0qv8HdjTXjU7Q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Gpe3ds09kqRC36uMJyVqA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KPu_r3.dEy2P8YDwWaROA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mpjSJuip06YNxTsDcyIcg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yrifwEtv02plr2AV1E77Q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GihATCBkawWi_zDFQ4xg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2heCJz6EeyidZojWfZ7w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U2Lm98Uae5MfeCt3E_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eAOARhnYk2ibDlYG4u.nw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ymaIRfgECW5m7gmtLA7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AT5kTTD0i9luD6Dhjtr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MAKslXLb0K2nTFDcWwEw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2SCF7K5jUuBzXH.I6CYa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Az7A8sUfUOGPiZPb.CZY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ktNkkwBB0Sohg.bE8xpi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7NIpEOq70yXpfDsMKS7N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v46AO9COkaW3CJRme37F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c06pAfgfkGaGKC0r.FCO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7j9aM.AUmasam1Ylp5S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AM28NAukyygFCnfmIp6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HW49Gaz3kGnDJlYf1sgn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QWfQzDBEkG3zGMvAL.7R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Eb4_aSbkKoc46CN9Fuj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HC9sdKopEyj5pFXagmUS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xvsdx3xr0qUPSFTvNdYx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N8ZnrTSH0eH8zJ5gvuzv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SpYUF6P8UizPLPJWKUrT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Bxc7kAlq0q..2dF7dqiD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j1HqgCLkOQAJDVF0h7U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9lPJkC1Dkax6XCCXHdCI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O9xSqAF3UGld20e.g4Ly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C3idTAd5Eu6LuYB7xBlr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mP8qHwef0G.fg4PWFFGn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ZbShBBuJ0yr3OeWYNIot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GzZfAXkOkydw1BdBsdlr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j0e1blbkWu4f6TdSanV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omRUV5NbUqjnSHfgDsvy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ZPJyxl6k2TCZpUqGWns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QrhhhNNHEa2Dx_sYknyu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rgY6VK6k6XEP4QJuqA8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fSDorybkOoezonnCQ0.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3nr5L510u.7WzFx5Lsr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gwqcWv.UW.2DecAAyT_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dtAtmc46UmWdtrA4QwIB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eubUT6Fl0CUWNvRn1Nlh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3hzDNxW9kCsPNJYAel5n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wBbXqgF0yqhoayw7_5Z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5GgXnkU2kOj.r2j7WhGf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U8RhCYG1kmWNu9kTwt6m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MxqV4gGA0eWbkOH9h5zm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xQot1yjK0a0X7j9vp1YaQ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4_hxAhcjUefUAIIgw.gN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ywlHZDYCEi9xlWFjucmY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XqfoHOS0yWW27hxOl2T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B2TJvopvk2urLl3s3eOI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f6jgdkqU6sOY1JRsk9y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pr1D0u90mZAqeOV1hIv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KZrXYSsP0KXDbwb5C2Xw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krrDj9u2U6xdwgmwsFcQ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5zhrVzTJE2N2zcidPpao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ZNZMPm7F0aPDmajKXJyX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sY0nDBg0OB3p3RNEHmG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mXTNduWUS3aG3YYnHkv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BN4imiM702igRhJXF8hY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0Icd.4Hl06ADxfuz7gkm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B6i8eG6lkGsuxSfvVbBY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I9HZfPJck.YT3cB21ZUq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6SiZgU5C0KRJ3NRUQDb1Q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bOqv1clkCej3WHUe6Kg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F7pTu4.SEO1a0Bu.GBDF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ndrP9MIuUCjSTrOJ858R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A3SRqmCUOiCH2e3vAy8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21wUj2l90uG3EoegeRN.w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7QFIgC202wKh8rIsuw5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pFegCkXUECt7yR3ZWznN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TcseZ8lS0WMYUPYrrdGxg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ai5H1HpYEeJcR1.RzDOg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eiKrwBt0ieShaGvjOnDw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GkBHvZd6kGvxSEKsKfLrQ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LuQXjGFSESzNYPEjU2nKA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iK_YmSSEuaO.5_TwUneg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eiCRjzDck24YT2fwPZFTA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X7poSVEz0WtgcKiPhdCP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vpgm6x2_EeDmf0g_DV_6Q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RXsWDufES_7Sh6NEWIIw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7h1ByZc.06ZjuZn7e2g1w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pzWRg8dku8Jb3gf2zWkw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wJusvZu9kCC6ak2cuBQVw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Y4D23bzEaNrzydBSYADQ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_mDKyA86kOM0bjedfvEZQ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Rj7h1sDUymoNuEnkwJzg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Wx6YloDkGy_kS_F_XBgQ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VsWh42skWMQ9rV_qByXQ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Z0XmBs8kegmRrj4i83s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aEbxMsa9067IFHyYdGAkw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xKVKGmdkSUA61x9_QId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VpKX5g2QkKz9LKmgklIcA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oMuHCIbUC8w1k_PM3w6g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lEQhkPPUEeVf3ZSAl8LOg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5laaMDQPUKLYGpNiTkikw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9yV47rAOUqQYlqECp1hM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9o4ke5zBUiGKFcxAndRgg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19E2Y3OdEa2Pd0jMPX1og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C9L9y7KnkG7xKWXIUTRrQ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8fePBBRZkirfsCZZkwHPg"/>
</p:tagLst>
</file>

<file path=ppt/theme/_rels/theme7.xml.rels><?xml version="1.0" encoding="UTF-8" standalone="yes"?>
<Relationships xmlns="http://schemas.openxmlformats.org/package/2006/relationships"><Relationship Id="rId1" Type="http://schemas.openxmlformats.org/officeDocument/2006/relationships/image" Target="../media/image17.png"/></Relationships>
</file>

<file path=ppt/theme/_rels/theme8.xml.rels><?xml version="1.0" encoding="UTF-8" standalone="yes"?>
<Relationships xmlns="http://schemas.openxmlformats.org/package/2006/relationships"><Relationship Id="rId1" Type="http://schemas.openxmlformats.org/officeDocument/2006/relationships/image" Target="../media/image17.png"/></Relationships>
</file>

<file path=ppt/theme/theme1.xml><?xml version="1.0" encoding="utf-8"?>
<a:theme xmlns:a="http://schemas.openxmlformats.org/drawingml/2006/main" name="Dernière de couv.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0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Page Titre Chapitre Intermediair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7_Barre de titr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1_Page Titre Chapitre Intermediair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Couvertur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8_Barre de titr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1_Office Theme">
  <a:themeElements>
    <a:clrScheme name="Aeneas 2">
      <a:dk1>
        <a:srgbClr val="494949"/>
      </a:dk1>
      <a:lt1>
        <a:srgbClr val="FFFFFF"/>
      </a:lt1>
      <a:dk2>
        <a:srgbClr val="999999"/>
      </a:dk2>
      <a:lt2>
        <a:srgbClr val="FFFFFF"/>
      </a:lt2>
      <a:accent1>
        <a:srgbClr val="73B632"/>
      </a:accent1>
      <a:accent2>
        <a:srgbClr val="0076BB"/>
      </a:accent2>
      <a:accent3>
        <a:srgbClr val="005796"/>
      </a:accent3>
      <a:accent4>
        <a:srgbClr val="73B632"/>
      </a:accent4>
      <a:accent5>
        <a:srgbClr val="4175A9"/>
      </a:accent5>
      <a:accent6>
        <a:srgbClr val="5267A5"/>
      </a:accent6>
      <a:hlink>
        <a:srgbClr val="73B632"/>
      </a:hlink>
      <a:folHlink>
        <a:srgbClr val="0076BB"/>
      </a:folHlink>
    </a:clrScheme>
    <a:fontScheme name="Custom 20">
      <a:majorFont>
        <a:latin typeface="Poppins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lIns="72000" tIns="36000" rIns="72000" bIns="36000" rtlCol="0" anchor="t">
        <a:normAutofit fontScale="92500" lnSpcReduction="20000"/>
      </a:bodyPr>
      <a:lstStyle>
        <a:defPPr marL="342900" indent="-342900">
          <a:spcAft>
            <a:spcPts val="600"/>
          </a:spcAft>
          <a:buSzPct val="100000"/>
          <a:buBlip>
            <a:blip xmlns:r="http://schemas.openxmlformats.org/officeDocument/2006/relationships" r:embed="rId1"/>
          </a:buBlip>
          <a:defRPr sz="2000" dirty="0" smtClean="0">
            <a:solidFill>
              <a:schemeClr val="tx2">
                <a:lumMod val="50000"/>
              </a:schemeClr>
            </a:solidFill>
            <a:latin typeface="Dosis Regular"/>
            <a:cs typeface="Dosis Regular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Office Theme">
  <a:themeElements>
    <a:clrScheme name="Aeneas 2">
      <a:dk1>
        <a:srgbClr val="494949"/>
      </a:dk1>
      <a:lt1>
        <a:srgbClr val="FFFFFF"/>
      </a:lt1>
      <a:dk2>
        <a:srgbClr val="999999"/>
      </a:dk2>
      <a:lt2>
        <a:srgbClr val="FFFFFF"/>
      </a:lt2>
      <a:accent1>
        <a:srgbClr val="73B632"/>
      </a:accent1>
      <a:accent2>
        <a:srgbClr val="0076BB"/>
      </a:accent2>
      <a:accent3>
        <a:srgbClr val="005796"/>
      </a:accent3>
      <a:accent4>
        <a:srgbClr val="73B632"/>
      </a:accent4>
      <a:accent5>
        <a:srgbClr val="4175A9"/>
      </a:accent5>
      <a:accent6>
        <a:srgbClr val="5267A5"/>
      </a:accent6>
      <a:hlink>
        <a:srgbClr val="73B632"/>
      </a:hlink>
      <a:folHlink>
        <a:srgbClr val="0076BB"/>
      </a:folHlink>
    </a:clrScheme>
    <a:fontScheme name="Custom 20">
      <a:majorFont>
        <a:latin typeface="Poppins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lIns="72000" tIns="36000" rIns="72000" bIns="36000" rtlCol="0" anchor="t">
        <a:normAutofit fontScale="92500" lnSpcReduction="20000"/>
      </a:bodyPr>
      <a:lstStyle>
        <a:defPPr marL="342900" indent="-342900">
          <a:spcAft>
            <a:spcPts val="600"/>
          </a:spcAft>
          <a:buSzPct val="100000"/>
          <a:buBlip>
            <a:blip xmlns:r="http://schemas.openxmlformats.org/officeDocument/2006/relationships" r:embed="rId1"/>
          </a:buBlip>
          <a:defRPr sz="2000" dirty="0" smtClean="0">
            <a:solidFill>
              <a:schemeClr val="tx2">
                <a:lumMod val="50000"/>
              </a:schemeClr>
            </a:solidFill>
            <a:latin typeface="Dosis Regular"/>
            <a:cs typeface="Dosis Regular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9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Vision Mission and Strategy</Template>
  <TotalTime>12726</TotalTime>
  <Words>942</Words>
  <Application>Microsoft Office PowerPoint</Application>
  <PresentationFormat>Affichage à l'écran (4:3)</PresentationFormat>
  <Paragraphs>299</Paragraphs>
  <Slides>30</Slides>
  <Notes>21</Notes>
  <HiddenSlides>0</HiddenSlides>
  <MMClips>0</MMClips>
  <ScaleCrop>false</ScaleCrop>
  <HeadingPairs>
    <vt:vector size="6" baseType="variant">
      <vt:variant>
        <vt:lpstr>Polices utilisées</vt:lpstr>
      </vt:variant>
      <vt:variant>
        <vt:i4>16</vt:i4>
      </vt:variant>
      <vt:variant>
        <vt:lpstr>Thème</vt:lpstr>
      </vt:variant>
      <vt:variant>
        <vt:i4>8</vt:i4>
      </vt:variant>
      <vt:variant>
        <vt:lpstr>Titres des diapositives</vt:lpstr>
      </vt:variant>
      <vt:variant>
        <vt:i4>30</vt:i4>
      </vt:variant>
    </vt:vector>
  </HeadingPairs>
  <TitlesOfParts>
    <vt:vector size="54" baseType="lpstr">
      <vt:lpstr>ＭＳ Ｐゴシック</vt:lpstr>
      <vt:lpstr>ＭＳ Ｐゴシック</vt:lpstr>
      <vt:lpstr>Arial</vt:lpstr>
      <vt:lpstr>Arial Narrow</vt:lpstr>
      <vt:lpstr>Calibri</vt:lpstr>
      <vt:lpstr>Dosis</vt:lpstr>
      <vt:lpstr>Dosis Bold</vt:lpstr>
      <vt:lpstr>Dosis Regular</vt:lpstr>
      <vt:lpstr>Dosis SemiBold</vt:lpstr>
      <vt:lpstr>Lato</vt:lpstr>
      <vt:lpstr>Open Sans Extrabold</vt:lpstr>
      <vt:lpstr>Open Sans Light</vt:lpstr>
      <vt:lpstr>Poppins</vt:lpstr>
      <vt:lpstr>Tahoma</vt:lpstr>
      <vt:lpstr>Times New Roman</vt:lpstr>
      <vt:lpstr>Wingdings</vt:lpstr>
      <vt:lpstr>Dernière de couv.</vt:lpstr>
      <vt:lpstr>Page Titre Chapitre Intermediaire</vt:lpstr>
      <vt:lpstr>7_Barre de titre</vt:lpstr>
      <vt:lpstr>1_Page Titre Chapitre Intermediaire</vt:lpstr>
      <vt:lpstr>Couverture</vt:lpstr>
      <vt:lpstr>8_Barre de titre</vt:lpstr>
      <vt:lpstr>1_Office Theme</vt:lpstr>
      <vt:lpstr>Office Theme</vt:lpstr>
      <vt:lpstr>EURIPIDES², Smart Digital Embedded Systems</vt:lpstr>
      <vt:lpstr>Présentation PowerPoint</vt:lpstr>
      <vt:lpstr>Présentation PowerPoint</vt:lpstr>
      <vt:lpstr>EURIPIDES² Smart Electronics Systems</vt:lpstr>
      <vt:lpstr>Présentation PowerPoint</vt:lpstr>
      <vt:lpstr>Présentation PowerPoint</vt:lpstr>
      <vt:lpstr>Présentation PowerPoint</vt:lpstr>
      <vt:lpstr>Présentation PowerPoint</vt:lpstr>
      <vt:lpstr>Coaching Application domains</vt:lpstr>
      <vt:lpstr>Présentation PowerPoint</vt:lpstr>
      <vt:lpstr>The equation</vt:lpstr>
      <vt:lpstr>Check list</vt:lpstr>
      <vt:lpstr>Présentation PowerPoint</vt:lpstr>
      <vt:lpstr>Ensuring maximum success</vt:lpstr>
      <vt:lpstr>Call process</vt:lpstr>
      <vt:lpstr>Call For Proposal Process</vt:lpstr>
      <vt:lpstr>Présentation PowerPoint</vt:lpstr>
      <vt:lpstr>EUREKA members commitment</vt:lpstr>
      <vt:lpstr>Funding</vt:lpstr>
      <vt:lpstr>Présentation PowerPoint</vt:lpstr>
      <vt:lpstr>Running projects</vt:lpstr>
      <vt:lpstr>ADORAS – Improving security on railways</vt:lpstr>
      <vt:lpstr>ADORAS: Advanced Onboard Data Recording and System Analysis</vt:lpstr>
      <vt:lpstr>Présentation PowerPoint</vt:lpstr>
      <vt:lpstr>Présentation PowerPoint</vt:lpstr>
      <vt:lpstr>Call 2018</vt:lpstr>
      <vt:lpstr>Présentation PowerPoint</vt:lpstr>
      <vt:lpstr>Présentation PowerPoint</vt:lpstr>
      <vt:lpstr>Looking for partners</vt:lpstr>
      <vt:lpstr>Contact  remy.renaudin@euripides-eureka.eu  www.euripides-eureka.eu  Join us on   Thank you !</vt:lpstr>
    </vt:vector>
  </TitlesOfParts>
  <Company>Hewlett-Packard Company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Vision, Mission and Strategy</dc:title>
  <dc:creator>Remy RENAUDIN</dc:creator>
  <cp:lastModifiedBy>euripides@euripides-eureka.eu</cp:lastModifiedBy>
  <cp:revision>334</cp:revision>
  <cp:lastPrinted>2017-05-11T14:25:58Z</cp:lastPrinted>
  <dcterms:created xsi:type="dcterms:W3CDTF">2013-02-24T15:59:20Z</dcterms:created>
  <dcterms:modified xsi:type="dcterms:W3CDTF">2018-05-30T13:30:24Z</dcterms:modified>
</cp:coreProperties>
</file>